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7.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14" r:id="rId5"/>
    <p:sldMasterId id="2147483766" r:id="rId6"/>
    <p:sldMasterId id="2147483800" r:id="rId7"/>
    <p:sldMasterId id="2147483833" r:id="rId8"/>
    <p:sldMasterId id="2147483856" r:id="rId9"/>
    <p:sldMasterId id="2147483888" r:id="rId10"/>
    <p:sldMasterId id="2147483920" r:id="rId11"/>
  </p:sldMasterIdLst>
  <p:notesMasterIdLst>
    <p:notesMasterId r:id="rId31"/>
  </p:notesMasterIdLst>
  <p:sldIdLst>
    <p:sldId id="257" r:id="rId12"/>
    <p:sldId id="314" r:id="rId13"/>
    <p:sldId id="315" r:id="rId14"/>
    <p:sldId id="2147378817" r:id="rId15"/>
    <p:sldId id="316" r:id="rId16"/>
    <p:sldId id="273" r:id="rId17"/>
    <p:sldId id="283" r:id="rId18"/>
    <p:sldId id="2147379079" r:id="rId19"/>
    <p:sldId id="2147379080" r:id="rId20"/>
    <p:sldId id="317" r:id="rId21"/>
    <p:sldId id="297" r:id="rId22"/>
    <p:sldId id="324" r:id="rId23"/>
    <p:sldId id="303" r:id="rId24"/>
    <p:sldId id="305" r:id="rId25"/>
    <p:sldId id="320" r:id="rId26"/>
    <p:sldId id="296" r:id="rId27"/>
    <p:sldId id="310" r:id="rId28"/>
    <p:sldId id="308" r:id="rId29"/>
    <p:sldId id="2147379081" r:id="rId30"/>
  </p:sldIdLst>
  <p:sldSz cx="12192000" cy="6858000"/>
  <p:notesSz cx="6858000" cy="9144000"/>
  <p:embeddedFontLst>
    <p:embeddedFont>
      <p:font typeface="Arial Narrow" panose="020B0606020202030204" pitchFamily="34" charset="0"/>
      <p:regular r:id="rId32"/>
      <p:bold r:id="rId33"/>
      <p:italic r:id="rId34"/>
      <p:boldItalic r:id="rId35"/>
    </p:embeddedFont>
    <p:embeddedFont>
      <p:font typeface="Calibri" panose="020F0502020204030204" pitchFamily="34" charset="0"/>
      <p:regular r:id="rId36"/>
      <p:bold r:id="rId37"/>
      <p:italic r:id="rId38"/>
      <p:boldItalic r:id="rId39"/>
    </p:embeddedFont>
    <p:embeddedFont>
      <p:font typeface="SLB Sans" panose="02000503040000020004" pitchFamily="50" charset="0"/>
      <p:bold r:id="rId40"/>
      <p:boldItalic r:id="rId41"/>
    </p:embeddedFont>
    <p:embeddedFont>
      <p:font typeface="SLB Sans Book" panose="02000503040000020004" pitchFamily="50" charset="0"/>
      <p:regular r:id="rId42"/>
      <p:italic r:id="rId43"/>
    </p:embeddedFont>
    <p:embeddedFont>
      <p:font typeface="SLB Sans Light" panose="02000503040000020004" pitchFamily="50" charset="0"/>
      <p:regular r:id="rId44"/>
      <p:italic r:id="rId45"/>
    </p:embeddedFont>
    <p:embeddedFont>
      <p:font typeface="Tahoma" panose="020B0604030504040204" pitchFamily="34" charset="0"/>
      <p:regular r:id="rId46"/>
      <p:bold r:id="rId4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10101"/>
    <a:srgbClr val="EF5980"/>
    <a:srgbClr val="FFFFCC"/>
    <a:srgbClr val="333385"/>
    <a:srgbClr val="FF6600"/>
    <a:srgbClr val="0014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4BC7DA-616F-4A60-8FB7-72C0D436928B}" v="269" dt="2023-08-07T08:30:43.209"/>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563" autoAdjust="0"/>
    <p:restoredTop sz="67909" autoAdjust="0"/>
  </p:normalViewPr>
  <p:slideViewPr>
    <p:cSldViewPr snapToGrid="0">
      <p:cViewPr varScale="1">
        <p:scale>
          <a:sx n="78" d="100"/>
          <a:sy n="78" d="100"/>
        </p:scale>
        <p:origin x="1380" y="90"/>
      </p:cViewPr>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font" Target="fonts/font5.fntdata"/><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e-Laure Mauborgne" userId="717f1e20-c968-4716-94d0-7143ffa6b39a" providerId="ADAL" clId="{FF3342EC-F74B-47A2-B8F8-E74622A8CE81}"/>
    <pc:docChg chg="undo custSel addSld delSld modSld sldOrd">
      <pc:chgData name="Marie-Laure Mauborgne" userId="717f1e20-c968-4716-94d0-7143ffa6b39a" providerId="ADAL" clId="{FF3342EC-F74B-47A2-B8F8-E74622A8CE81}" dt="2023-06-15T13:14:04.413" v="1530"/>
      <pc:docMkLst>
        <pc:docMk/>
      </pc:docMkLst>
      <pc:sldChg chg="addSp delSp modSp new mod modClrScheme chgLayout">
        <pc:chgData name="Marie-Laure Mauborgne" userId="717f1e20-c968-4716-94d0-7143ffa6b39a" providerId="ADAL" clId="{FF3342EC-F74B-47A2-B8F8-E74622A8CE81}" dt="2023-06-14T13:25:32.178" v="1237" actId="1036"/>
        <pc:sldMkLst>
          <pc:docMk/>
          <pc:sldMk cId="415078590" sldId="258"/>
        </pc:sldMkLst>
        <pc:spChg chg="del mod ord">
          <ac:chgData name="Marie-Laure Mauborgne" userId="717f1e20-c968-4716-94d0-7143ffa6b39a" providerId="ADAL" clId="{FF3342EC-F74B-47A2-B8F8-E74622A8CE81}" dt="2023-06-12T07:41:56.737" v="2" actId="700"/>
          <ac:spMkLst>
            <pc:docMk/>
            <pc:sldMk cId="415078590" sldId="258"/>
            <ac:spMk id="2" creationId="{89A8CD28-4DE5-AE2A-1ADA-CF6F75462079}"/>
          </ac:spMkLst>
        </pc:spChg>
        <pc:spChg chg="del mod ord">
          <ac:chgData name="Marie-Laure Mauborgne" userId="717f1e20-c968-4716-94d0-7143ffa6b39a" providerId="ADAL" clId="{FF3342EC-F74B-47A2-B8F8-E74622A8CE81}" dt="2023-06-12T07:41:56.737" v="2" actId="700"/>
          <ac:spMkLst>
            <pc:docMk/>
            <pc:sldMk cId="415078590" sldId="258"/>
            <ac:spMk id="3" creationId="{F6265B1C-1AE3-0C0B-C864-2C3AD278BECF}"/>
          </ac:spMkLst>
        </pc:spChg>
        <pc:spChg chg="del">
          <ac:chgData name="Marie-Laure Mauborgne" userId="717f1e20-c968-4716-94d0-7143ffa6b39a" providerId="ADAL" clId="{FF3342EC-F74B-47A2-B8F8-E74622A8CE81}" dt="2023-06-12T07:41:56.737" v="2" actId="700"/>
          <ac:spMkLst>
            <pc:docMk/>
            <pc:sldMk cId="415078590" sldId="258"/>
            <ac:spMk id="4" creationId="{73B22A73-023A-4C80-3CD7-D925619BCBDC}"/>
          </ac:spMkLst>
        </pc:spChg>
        <pc:spChg chg="add mod ord">
          <ac:chgData name="Marie-Laure Mauborgne" userId="717f1e20-c968-4716-94d0-7143ffa6b39a" providerId="ADAL" clId="{FF3342EC-F74B-47A2-B8F8-E74622A8CE81}" dt="2023-06-12T13:35:16.810" v="425" actId="20577"/>
          <ac:spMkLst>
            <pc:docMk/>
            <pc:sldMk cId="415078590" sldId="258"/>
            <ac:spMk id="5" creationId="{63727183-3A39-CC82-4C81-BB922B452D83}"/>
          </ac:spMkLst>
        </pc:spChg>
        <pc:spChg chg="add mod ord">
          <ac:chgData name="Marie-Laure Mauborgne" userId="717f1e20-c968-4716-94d0-7143ffa6b39a" providerId="ADAL" clId="{FF3342EC-F74B-47A2-B8F8-E74622A8CE81}" dt="2023-06-12T08:07:03.637" v="150" actId="5793"/>
          <ac:spMkLst>
            <pc:docMk/>
            <pc:sldMk cId="415078590" sldId="258"/>
            <ac:spMk id="6" creationId="{553E99D6-9CEA-59BA-8E93-15E036BCA5CE}"/>
          </ac:spMkLst>
        </pc:spChg>
        <pc:graphicFrameChg chg="add mod modGraphic">
          <ac:chgData name="Marie-Laure Mauborgne" userId="717f1e20-c968-4716-94d0-7143ffa6b39a" providerId="ADAL" clId="{FF3342EC-F74B-47A2-B8F8-E74622A8CE81}" dt="2023-06-14T13:25:32.178" v="1237" actId="1036"/>
          <ac:graphicFrameMkLst>
            <pc:docMk/>
            <pc:sldMk cId="415078590" sldId="258"/>
            <ac:graphicFrameMk id="7" creationId="{E7CE85AB-DAB5-409E-2A1A-C03787B54DC8}"/>
          </ac:graphicFrameMkLst>
        </pc:graphicFrameChg>
        <pc:picChg chg="add del mod">
          <ac:chgData name="Marie-Laure Mauborgne" userId="717f1e20-c968-4716-94d0-7143ffa6b39a" providerId="ADAL" clId="{FF3342EC-F74B-47A2-B8F8-E74622A8CE81}" dt="2023-06-12T14:30:45.573" v="796" actId="478"/>
          <ac:picMkLst>
            <pc:docMk/>
            <pc:sldMk cId="415078590" sldId="258"/>
            <ac:picMk id="3" creationId="{EDAC6E3E-F98A-C632-B095-33772465BB43}"/>
          </ac:picMkLst>
        </pc:picChg>
        <pc:picChg chg="add mod modCrop">
          <ac:chgData name="Marie-Laure Mauborgne" userId="717f1e20-c968-4716-94d0-7143ffa6b39a" providerId="ADAL" clId="{FF3342EC-F74B-47A2-B8F8-E74622A8CE81}" dt="2023-06-12T14:31:15.672" v="800" actId="1076"/>
          <ac:picMkLst>
            <pc:docMk/>
            <pc:sldMk cId="415078590" sldId="258"/>
            <ac:picMk id="8" creationId="{D8B39261-911D-185C-9A10-D8A50FF4A02A}"/>
          </ac:picMkLst>
        </pc:picChg>
      </pc:sldChg>
      <pc:sldChg chg="del">
        <pc:chgData name="Marie-Laure Mauborgne" userId="717f1e20-c968-4716-94d0-7143ffa6b39a" providerId="ADAL" clId="{FF3342EC-F74B-47A2-B8F8-E74622A8CE81}" dt="2023-06-12T07:30:43.475" v="0" actId="47"/>
        <pc:sldMkLst>
          <pc:docMk/>
          <pc:sldMk cId="2420150595" sldId="258"/>
        </pc:sldMkLst>
      </pc:sldChg>
      <pc:sldChg chg="del">
        <pc:chgData name="Marie-Laure Mauborgne" userId="717f1e20-c968-4716-94d0-7143ffa6b39a" providerId="ADAL" clId="{FF3342EC-F74B-47A2-B8F8-E74622A8CE81}" dt="2023-06-12T07:30:43.475" v="0" actId="47"/>
        <pc:sldMkLst>
          <pc:docMk/>
          <pc:sldMk cId="2026068563" sldId="276"/>
        </pc:sldMkLst>
      </pc:sldChg>
      <pc:sldChg chg="del">
        <pc:chgData name="Marie-Laure Mauborgne" userId="717f1e20-c968-4716-94d0-7143ffa6b39a" providerId="ADAL" clId="{FF3342EC-F74B-47A2-B8F8-E74622A8CE81}" dt="2023-06-12T07:30:43.475" v="0" actId="47"/>
        <pc:sldMkLst>
          <pc:docMk/>
          <pc:sldMk cId="3783733359" sldId="278"/>
        </pc:sldMkLst>
      </pc:sldChg>
      <pc:sldChg chg="addSp delSp modSp add mod modClrScheme chgLayout">
        <pc:chgData name="Marie-Laure Mauborgne" userId="717f1e20-c968-4716-94d0-7143ffa6b39a" providerId="ADAL" clId="{FF3342EC-F74B-47A2-B8F8-E74622A8CE81}" dt="2023-06-15T11:33:21.996" v="1529" actId="478"/>
        <pc:sldMkLst>
          <pc:docMk/>
          <pc:sldMk cId="3105222305" sldId="286"/>
        </pc:sldMkLst>
        <pc:spChg chg="mod ord">
          <ac:chgData name="Marie-Laure Mauborgne" userId="717f1e20-c968-4716-94d0-7143ffa6b39a" providerId="ADAL" clId="{FF3342EC-F74B-47A2-B8F8-E74622A8CE81}" dt="2023-06-12T12:23:15.431" v="394" actId="700"/>
          <ac:spMkLst>
            <pc:docMk/>
            <pc:sldMk cId="3105222305" sldId="286"/>
            <ac:spMk id="2" creationId="{65528352-470E-BC6D-BD46-72B8AA0AB0AF}"/>
          </ac:spMkLst>
        </pc:spChg>
        <pc:spChg chg="mod ord">
          <ac:chgData name="Marie-Laure Mauborgne" userId="717f1e20-c968-4716-94d0-7143ffa6b39a" providerId="ADAL" clId="{FF3342EC-F74B-47A2-B8F8-E74622A8CE81}" dt="2023-06-12T12:23:15.431" v="394" actId="700"/>
          <ac:spMkLst>
            <pc:docMk/>
            <pc:sldMk cId="3105222305" sldId="286"/>
            <ac:spMk id="3" creationId="{C17611A9-F4D3-FDFF-44B9-C3291F1104AC}"/>
          </ac:spMkLst>
        </pc:spChg>
        <pc:picChg chg="add del mod">
          <ac:chgData name="Marie-Laure Mauborgne" userId="717f1e20-c968-4716-94d0-7143ffa6b39a" providerId="ADAL" clId="{FF3342EC-F74B-47A2-B8F8-E74622A8CE81}" dt="2023-06-15T11:33:21.996" v="1529" actId="478"/>
          <ac:picMkLst>
            <pc:docMk/>
            <pc:sldMk cId="3105222305" sldId="286"/>
            <ac:picMk id="1026" creationId="{61B651FC-4FE1-6056-018F-52A38873AE5D}"/>
          </ac:picMkLst>
        </pc:picChg>
        <pc:picChg chg="add del">
          <ac:chgData name="Marie-Laure Mauborgne" userId="717f1e20-c968-4716-94d0-7143ffa6b39a" providerId="ADAL" clId="{FF3342EC-F74B-47A2-B8F8-E74622A8CE81}" dt="2023-06-15T11:31:28.821" v="1516" actId="478"/>
          <ac:picMkLst>
            <pc:docMk/>
            <pc:sldMk cId="3105222305" sldId="286"/>
            <ac:picMk id="1028" creationId="{1EA83841-7228-1B4F-9EAE-09F00C2A6224}"/>
          </ac:picMkLst>
        </pc:picChg>
        <pc:picChg chg="add del mod">
          <ac:chgData name="Marie-Laure Mauborgne" userId="717f1e20-c968-4716-94d0-7143ffa6b39a" providerId="ADAL" clId="{FF3342EC-F74B-47A2-B8F8-E74622A8CE81}" dt="2023-06-15T11:32:59.140" v="1525" actId="478"/>
          <ac:picMkLst>
            <pc:docMk/>
            <pc:sldMk cId="3105222305" sldId="286"/>
            <ac:picMk id="1030" creationId="{5C216BA7-0142-DFDA-3E7C-A812C173FE03}"/>
          </ac:picMkLst>
        </pc:picChg>
        <pc:picChg chg="add mod">
          <ac:chgData name="Marie-Laure Mauborgne" userId="717f1e20-c968-4716-94d0-7143ffa6b39a" providerId="ADAL" clId="{FF3342EC-F74B-47A2-B8F8-E74622A8CE81}" dt="2023-06-15T11:32:58.023" v="1524" actId="167"/>
          <ac:picMkLst>
            <pc:docMk/>
            <pc:sldMk cId="3105222305" sldId="286"/>
            <ac:picMk id="1032" creationId="{53E2622B-0C86-5BEF-3CC1-19730A6CA203}"/>
          </ac:picMkLst>
        </pc:picChg>
        <pc:picChg chg="add mod">
          <ac:chgData name="Marie-Laure Mauborgne" userId="717f1e20-c968-4716-94d0-7143ffa6b39a" providerId="ADAL" clId="{FF3342EC-F74B-47A2-B8F8-E74622A8CE81}" dt="2023-06-15T11:33:20.692" v="1528" actId="167"/>
          <ac:picMkLst>
            <pc:docMk/>
            <pc:sldMk cId="3105222305" sldId="286"/>
            <ac:picMk id="1034" creationId="{196E99F1-807C-55DF-727B-24A9AF902F4A}"/>
          </ac:picMkLst>
        </pc:picChg>
        <pc:picChg chg="del">
          <ac:chgData name="Marie-Laure Mauborgne" userId="717f1e20-c968-4716-94d0-7143ffa6b39a" providerId="ADAL" clId="{FF3342EC-F74B-47A2-B8F8-E74622A8CE81}" dt="2023-06-15T11:31:08.921" v="1514" actId="478"/>
          <ac:picMkLst>
            <pc:docMk/>
            <pc:sldMk cId="3105222305" sldId="286"/>
            <ac:picMk id="3074" creationId="{49F719F2-454D-FE70-36BB-B0DC4DCDB57C}"/>
          </ac:picMkLst>
        </pc:picChg>
        <pc:picChg chg="del">
          <ac:chgData name="Marie-Laure Mauborgne" userId="717f1e20-c968-4716-94d0-7143ffa6b39a" providerId="ADAL" clId="{FF3342EC-F74B-47A2-B8F8-E74622A8CE81}" dt="2023-06-15T11:32:09.792" v="1521" actId="478"/>
          <ac:picMkLst>
            <pc:docMk/>
            <pc:sldMk cId="3105222305" sldId="286"/>
            <ac:picMk id="3078" creationId="{6DD7B422-5EEC-9A27-A7A6-1EE24A81B769}"/>
          </ac:picMkLst>
        </pc:picChg>
      </pc:sldChg>
      <pc:sldChg chg="addSp modSp new mod">
        <pc:chgData name="Marie-Laure Mauborgne" userId="717f1e20-c968-4716-94d0-7143ffa6b39a" providerId="ADAL" clId="{FF3342EC-F74B-47A2-B8F8-E74622A8CE81}" dt="2023-06-12T13:36:28.387" v="515" actId="1038"/>
        <pc:sldMkLst>
          <pc:docMk/>
          <pc:sldMk cId="2363756804" sldId="287"/>
        </pc:sldMkLst>
        <pc:spChg chg="mod">
          <ac:chgData name="Marie-Laure Mauborgne" userId="717f1e20-c968-4716-94d0-7143ffa6b39a" providerId="ADAL" clId="{FF3342EC-F74B-47A2-B8F8-E74622A8CE81}" dt="2023-06-12T13:35:21.604" v="426"/>
          <ac:spMkLst>
            <pc:docMk/>
            <pc:sldMk cId="2363756804" sldId="287"/>
            <ac:spMk id="2" creationId="{CBC5FFF2-8F05-94E2-C3C9-A3EEB3167AA3}"/>
          </ac:spMkLst>
        </pc:spChg>
        <pc:spChg chg="mod">
          <ac:chgData name="Marie-Laure Mauborgne" userId="717f1e20-c968-4716-94d0-7143ffa6b39a" providerId="ADAL" clId="{FF3342EC-F74B-47A2-B8F8-E74622A8CE81}" dt="2023-06-12T13:35:47.325" v="503" actId="5793"/>
          <ac:spMkLst>
            <pc:docMk/>
            <pc:sldMk cId="2363756804" sldId="287"/>
            <ac:spMk id="3" creationId="{CC0723CF-B15C-73AF-7AC9-5CA49B91E443}"/>
          </ac:spMkLst>
        </pc:spChg>
        <pc:picChg chg="add mod">
          <ac:chgData name="Marie-Laure Mauborgne" userId="717f1e20-c968-4716-94d0-7143ffa6b39a" providerId="ADAL" clId="{FF3342EC-F74B-47A2-B8F8-E74622A8CE81}" dt="2023-06-12T13:36:20.056" v="510" actId="1076"/>
          <ac:picMkLst>
            <pc:docMk/>
            <pc:sldMk cId="2363756804" sldId="287"/>
            <ac:picMk id="6" creationId="{7EAAF1EC-50D6-D27C-2A55-8152FBC640CE}"/>
          </ac:picMkLst>
        </pc:picChg>
        <pc:picChg chg="add mod">
          <ac:chgData name="Marie-Laure Mauborgne" userId="717f1e20-c968-4716-94d0-7143ffa6b39a" providerId="ADAL" clId="{FF3342EC-F74B-47A2-B8F8-E74622A8CE81}" dt="2023-06-12T13:36:28.387" v="515" actId="1038"/>
          <ac:picMkLst>
            <pc:docMk/>
            <pc:sldMk cId="2363756804" sldId="287"/>
            <ac:picMk id="7" creationId="{1FEED1C7-0E3E-6EDA-AE2B-AC3E5A36E3D7}"/>
          </ac:picMkLst>
        </pc:picChg>
        <pc:picChg chg="add mod">
          <ac:chgData name="Marie-Laure Mauborgne" userId="717f1e20-c968-4716-94d0-7143ffa6b39a" providerId="ADAL" clId="{FF3342EC-F74B-47A2-B8F8-E74622A8CE81}" dt="2023-06-12T13:36:25.601" v="512" actId="1076"/>
          <ac:picMkLst>
            <pc:docMk/>
            <pc:sldMk cId="2363756804" sldId="287"/>
            <ac:picMk id="8" creationId="{EB5DB48B-1DEC-DDFB-77AA-EBCF16648F12}"/>
          </ac:picMkLst>
        </pc:picChg>
      </pc:sldChg>
      <pc:sldChg chg="addSp modSp new mod modAnim">
        <pc:chgData name="Marie-Laure Mauborgne" userId="717f1e20-c968-4716-94d0-7143ffa6b39a" providerId="ADAL" clId="{FF3342EC-F74B-47A2-B8F8-E74622A8CE81}" dt="2023-06-12T14:34:17.234" v="872" actId="20577"/>
        <pc:sldMkLst>
          <pc:docMk/>
          <pc:sldMk cId="1188002441" sldId="288"/>
        </pc:sldMkLst>
        <pc:spChg chg="mod">
          <ac:chgData name="Marie-Laure Mauborgne" userId="717f1e20-c968-4716-94d0-7143ffa6b39a" providerId="ADAL" clId="{FF3342EC-F74B-47A2-B8F8-E74622A8CE81}" dt="2023-06-12T13:53:25.647" v="601" actId="20577"/>
          <ac:spMkLst>
            <pc:docMk/>
            <pc:sldMk cId="1188002441" sldId="288"/>
            <ac:spMk id="2" creationId="{6488A5F9-EA92-993E-8C0A-76F135A449D1}"/>
          </ac:spMkLst>
        </pc:spChg>
        <pc:spChg chg="mod">
          <ac:chgData name="Marie-Laure Mauborgne" userId="717f1e20-c968-4716-94d0-7143ffa6b39a" providerId="ADAL" clId="{FF3342EC-F74B-47A2-B8F8-E74622A8CE81}" dt="2023-06-12T14:34:17.234" v="872" actId="20577"/>
          <ac:spMkLst>
            <pc:docMk/>
            <pc:sldMk cId="1188002441" sldId="288"/>
            <ac:spMk id="3" creationId="{93867A33-F358-4A03-AC8E-B7AE464A89B7}"/>
          </ac:spMkLst>
        </pc:spChg>
        <pc:spChg chg="add mod">
          <ac:chgData name="Marie-Laure Mauborgne" userId="717f1e20-c968-4716-94d0-7143ffa6b39a" providerId="ADAL" clId="{FF3342EC-F74B-47A2-B8F8-E74622A8CE81}" dt="2023-06-12T14:34:03.599" v="824" actId="1036"/>
          <ac:spMkLst>
            <pc:docMk/>
            <pc:sldMk cId="1188002441" sldId="288"/>
            <ac:spMk id="15" creationId="{BFA881DE-2682-AC0A-3E41-77755915CB1E}"/>
          </ac:spMkLst>
        </pc:spChg>
        <pc:spChg chg="add mod">
          <ac:chgData name="Marie-Laure Mauborgne" userId="717f1e20-c968-4716-94d0-7143ffa6b39a" providerId="ADAL" clId="{FF3342EC-F74B-47A2-B8F8-E74622A8CE81}" dt="2023-06-12T14:34:03.599" v="824" actId="1036"/>
          <ac:spMkLst>
            <pc:docMk/>
            <pc:sldMk cId="1188002441" sldId="288"/>
            <ac:spMk id="19" creationId="{6BC3B061-1A1D-9BA0-2491-7DD49B1FCB59}"/>
          </ac:spMkLst>
        </pc:spChg>
        <pc:picChg chg="add mod">
          <ac:chgData name="Marie-Laure Mauborgne" userId="717f1e20-c968-4716-94d0-7143ffa6b39a" providerId="ADAL" clId="{FF3342EC-F74B-47A2-B8F8-E74622A8CE81}" dt="2023-06-12T14:34:03.599" v="824" actId="1036"/>
          <ac:picMkLst>
            <pc:docMk/>
            <pc:sldMk cId="1188002441" sldId="288"/>
            <ac:picMk id="6" creationId="{6FEA9A0C-6DDC-C79F-84DC-C4AA27F8AF21}"/>
          </ac:picMkLst>
        </pc:picChg>
        <pc:cxnChg chg="add mod">
          <ac:chgData name="Marie-Laure Mauborgne" userId="717f1e20-c968-4716-94d0-7143ffa6b39a" providerId="ADAL" clId="{FF3342EC-F74B-47A2-B8F8-E74622A8CE81}" dt="2023-06-12T14:34:03.599" v="824" actId="1036"/>
          <ac:cxnSpMkLst>
            <pc:docMk/>
            <pc:sldMk cId="1188002441" sldId="288"/>
            <ac:cxnSpMk id="8" creationId="{94CA200F-A236-D85E-FC77-90ED860F92DA}"/>
          </ac:cxnSpMkLst>
        </pc:cxnChg>
        <pc:cxnChg chg="add mod">
          <ac:chgData name="Marie-Laure Mauborgne" userId="717f1e20-c968-4716-94d0-7143ffa6b39a" providerId="ADAL" clId="{FF3342EC-F74B-47A2-B8F8-E74622A8CE81}" dt="2023-06-12T14:34:03.599" v="824" actId="1036"/>
          <ac:cxnSpMkLst>
            <pc:docMk/>
            <pc:sldMk cId="1188002441" sldId="288"/>
            <ac:cxnSpMk id="9" creationId="{DEB1D84D-70FA-6D9F-BD62-BF9DE73F7673}"/>
          </ac:cxnSpMkLst>
        </pc:cxnChg>
        <pc:cxnChg chg="add mod">
          <ac:chgData name="Marie-Laure Mauborgne" userId="717f1e20-c968-4716-94d0-7143ffa6b39a" providerId="ADAL" clId="{FF3342EC-F74B-47A2-B8F8-E74622A8CE81}" dt="2023-06-12T14:34:03.599" v="824" actId="1036"/>
          <ac:cxnSpMkLst>
            <pc:docMk/>
            <pc:sldMk cId="1188002441" sldId="288"/>
            <ac:cxnSpMk id="10" creationId="{D56C8556-70C8-2DE6-49F2-7D8ACE371C04}"/>
          </ac:cxnSpMkLst>
        </pc:cxnChg>
        <pc:cxnChg chg="add mod">
          <ac:chgData name="Marie-Laure Mauborgne" userId="717f1e20-c968-4716-94d0-7143ffa6b39a" providerId="ADAL" clId="{FF3342EC-F74B-47A2-B8F8-E74622A8CE81}" dt="2023-06-12T14:34:03.599" v="824" actId="1036"/>
          <ac:cxnSpMkLst>
            <pc:docMk/>
            <pc:sldMk cId="1188002441" sldId="288"/>
            <ac:cxnSpMk id="18" creationId="{E3D521E1-DE64-812F-3067-563E02F44ED6}"/>
          </ac:cxnSpMkLst>
        </pc:cxnChg>
      </pc:sldChg>
      <pc:sldChg chg="addSp modSp new mod">
        <pc:chgData name="Marie-Laure Mauborgne" userId="717f1e20-c968-4716-94d0-7143ffa6b39a" providerId="ADAL" clId="{FF3342EC-F74B-47A2-B8F8-E74622A8CE81}" dt="2023-06-14T13:39:35.462" v="1241" actId="20577"/>
        <pc:sldMkLst>
          <pc:docMk/>
          <pc:sldMk cId="698867902" sldId="289"/>
        </pc:sldMkLst>
        <pc:spChg chg="mod">
          <ac:chgData name="Marie-Laure Mauborgne" userId="717f1e20-c968-4716-94d0-7143ffa6b39a" providerId="ADAL" clId="{FF3342EC-F74B-47A2-B8F8-E74622A8CE81}" dt="2023-06-14T13:39:35.462" v="1241" actId="20577"/>
          <ac:spMkLst>
            <pc:docMk/>
            <pc:sldMk cId="698867902" sldId="289"/>
            <ac:spMk id="3" creationId="{3AAFF60C-AE81-E3B8-1234-06484E7F56E7}"/>
          </ac:spMkLst>
        </pc:spChg>
        <pc:picChg chg="add mod">
          <ac:chgData name="Marie-Laure Mauborgne" userId="717f1e20-c968-4716-94d0-7143ffa6b39a" providerId="ADAL" clId="{FF3342EC-F74B-47A2-B8F8-E74622A8CE81}" dt="2023-06-12T15:02:00.486" v="883" actId="1076"/>
          <ac:picMkLst>
            <pc:docMk/>
            <pc:sldMk cId="698867902" sldId="289"/>
            <ac:picMk id="7" creationId="{3C61D263-72A3-2312-B975-517BBAA376EE}"/>
          </ac:picMkLst>
        </pc:picChg>
        <pc:picChg chg="add mod">
          <ac:chgData name="Marie-Laure Mauborgne" userId="717f1e20-c968-4716-94d0-7143ffa6b39a" providerId="ADAL" clId="{FF3342EC-F74B-47A2-B8F8-E74622A8CE81}" dt="2023-06-12T15:01:34.866" v="880" actId="1076"/>
          <ac:picMkLst>
            <pc:docMk/>
            <pc:sldMk cId="698867902" sldId="289"/>
            <ac:picMk id="1025" creationId="{CD9CF3BF-A745-08CF-701A-10942D21B154}"/>
          </ac:picMkLst>
        </pc:picChg>
        <pc:picChg chg="add mod">
          <ac:chgData name="Marie-Laure Mauborgne" userId="717f1e20-c968-4716-94d0-7143ffa6b39a" providerId="ADAL" clId="{FF3342EC-F74B-47A2-B8F8-E74622A8CE81}" dt="2023-06-12T15:01:37.653" v="881" actId="1076"/>
          <ac:picMkLst>
            <pc:docMk/>
            <pc:sldMk cId="698867902" sldId="289"/>
            <ac:picMk id="1026" creationId="{76BEEC48-2661-0D5A-7030-378D064F7FA2}"/>
          </ac:picMkLst>
        </pc:picChg>
      </pc:sldChg>
      <pc:sldChg chg="addSp delSp modSp new mod">
        <pc:chgData name="Marie-Laure Mauborgne" userId="717f1e20-c968-4716-94d0-7143ffa6b39a" providerId="ADAL" clId="{FF3342EC-F74B-47A2-B8F8-E74622A8CE81}" dt="2023-06-13T08:52:21.968" v="1058" actId="20577"/>
        <pc:sldMkLst>
          <pc:docMk/>
          <pc:sldMk cId="72630265" sldId="290"/>
        </pc:sldMkLst>
        <pc:spChg chg="mod">
          <ac:chgData name="Marie-Laure Mauborgne" userId="717f1e20-c968-4716-94d0-7143ffa6b39a" providerId="ADAL" clId="{FF3342EC-F74B-47A2-B8F8-E74622A8CE81}" dt="2023-06-13T08:50:32.248" v="993" actId="20577"/>
          <ac:spMkLst>
            <pc:docMk/>
            <pc:sldMk cId="72630265" sldId="290"/>
            <ac:spMk id="2" creationId="{C4423553-AB5D-03E2-88DC-D29B5BF5D791}"/>
          </ac:spMkLst>
        </pc:spChg>
        <pc:spChg chg="del">
          <ac:chgData name="Marie-Laure Mauborgne" userId="717f1e20-c968-4716-94d0-7143ffa6b39a" providerId="ADAL" clId="{FF3342EC-F74B-47A2-B8F8-E74622A8CE81}" dt="2023-06-13T08:52:10.442" v="1041" actId="478"/>
          <ac:spMkLst>
            <pc:docMk/>
            <pc:sldMk cId="72630265" sldId="290"/>
            <ac:spMk id="3" creationId="{053241C1-E653-0DFE-2E1B-96923EC5BFD8}"/>
          </ac:spMkLst>
        </pc:spChg>
        <pc:spChg chg="add mod">
          <ac:chgData name="Marie-Laure Mauborgne" userId="717f1e20-c968-4716-94d0-7143ffa6b39a" providerId="ADAL" clId="{FF3342EC-F74B-47A2-B8F8-E74622A8CE81}" dt="2023-06-13T08:52:03.548" v="1040" actId="122"/>
          <ac:spMkLst>
            <pc:docMk/>
            <pc:sldMk cId="72630265" sldId="290"/>
            <ac:spMk id="8" creationId="{4399F9E3-BF03-662F-3880-877023D4505E}"/>
          </ac:spMkLst>
        </pc:spChg>
        <pc:spChg chg="add mod">
          <ac:chgData name="Marie-Laure Mauborgne" userId="717f1e20-c968-4716-94d0-7143ffa6b39a" providerId="ADAL" clId="{FF3342EC-F74B-47A2-B8F8-E74622A8CE81}" dt="2023-06-13T08:52:21.968" v="1058" actId="20577"/>
          <ac:spMkLst>
            <pc:docMk/>
            <pc:sldMk cId="72630265" sldId="290"/>
            <ac:spMk id="9" creationId="{510AABAD-C475-864A-ABC8-366298BE4CBE}"/>
          </ac:spMkLst>
        </pc:spChg>
        <pc:picChg chg="add mod">
          <ac:chgData name="Marie-Laure Mauborgne" userId="717f1e20-c968-4716-94d0-7143ffa6b39a" providerId="ADAL" clId="{FF3342EC-F74B-47A2-B8F8-E74622A8CE81}" dt="2023-06-13T08:50:24.909" v="961" actId="1076"/>
          <ac:picMkLst>
            <pc:docMk/>
            <pc:sldMk cId="72630265" sldId="290"/>
            <ac:picMk id="7" creationId="{E17F2FBC-B220-018E-8DC0-C1567D43710A}"/>
          </ac:picMkLst>
        </pc:picChg>
        <pc:picChg chg="add mod">
          <ac:chgData name="Marie-Laure Mauborgne" userId="717f1e20-c968-4716-94d0-7143ffa6b39a" providerId="ADAL" clId="{FF3342EC-F74B-47A2-B8F8-E74622A8CE81}" dt="2023-06-13T08:51:54.286" v="1028" actId="1035"/>
          <ac:picMkLst>
            <pc:docMk/>
            <pc:sldMk cId="72630265" sldId="290"/>
            <ac:picMk id="2050" creationId="{406D13FD-BAC7-75A3-CC6E-3232BB56763B}"/>
          </ac:picMkLst>
        </pc:picChg>
        <pc:picChg chg="add mod">
          <ac:chgData name="Marie-Laure Mauborgne" userId="717f1e20-c968-4716-94d0-7143ffa6b39a" providerId="ADAL" clId="{FF3342EC-F74B-47A2-B8F8-E74622A8CE81}" dt="2023-06-13T08:51:54.286" v="1028" actId="1035"/>
          <ac:picMkLst>
            <pc:docMk/>
            <pc:sldMk cId="72630265" sldId="290"/>
            <ac:picMk id="2052" creationId="{2DCA9479-9D8C-EBB4-B02C-078B9AE10ADA}"/>
          </ac:picMkLst>
        </pc:picChg>
        <pc:picChg chg="add mod">
          <ac:chgData name="Marie-Laure Mauborgne" userId="717f1e20-c968-4716-94d0-7143ffa6b39a" providerId="ADAL" clId="{FF3342EC-F74B-47A2-B8F8-E74622A8CE81}" dt="2023-06-13T08:51:54.286" v="1028" actId="1035"/>
          <ac:picMkLst>
            <pc:docMk/>
            <pc:sldMk cId="72630265" sldId="290"/>
            <ac:picMk id="2054" creationId="{559CEC9A-02D9-1ABA-4F40-CECDBAE04AA2}"/>
          </ac:picMkLst>
        </pc:picChg>
        <pc:picChg chg="add mod">
          <ac:chgData name="Marie-Laure Mauborgne" userId="717f1e20-c968-4716-94d0-7143ffa6b39a" providerId="ADAL" clId="{FF3342EC-F74B-47A2-B8F8-E74622A8CE81}" dt="2023-06-13T08:51:54.286" v="1028" actId="1035"/>
          <ac:picMkLst>
            <pc:docMk/>
            <pc:sldMk cId="72630265" sldId="290"/>
            <ac:picMk id="2056" creationId="{57865990-9684-940D-DE90-F4A006AD227D}"/>
          </ac:picMkLst>
        </pc:picChg>
      </pc:sldChg>
      <pc:sldChg chg="addSp delSp modSp new mod ord">
        <pc:chgData name="Marie-Laure Mauborgne" userId="717f1e20-c968-4716-94d0-7143ffa6b39a" providerId="ADAL" clId="{FF3342EC-F74B-47A2-B8F8-E74622A8CE81}" dt="2023-06-13T10:00:30.791" v="1221" actId="1036"/>
        <pc:sldMkLst>
          <pc:docMk/>
          <pc:sldMk cId="2602141407" sldId="291"/>
        </pc:sldMkLst>
        <pc:spChg chg="del mod">
          <ac:chgData name="Marie-Laure Mauborgne" userId="717f1e20-c968-4716-94d0-7143ffa6b39a" providerId="ADAL" clId="{FF3342EC-F74B-47A2-B8F8-E74622A8CE81}" dt="2023-06-13T09:51:32.874" v="1173" actId="478"/>
          <ac:spMkLst>
            <pc:docMk/>
            <pc:sldMk cId="2602141407" sldId="291"/>
            <ac:spMk id="2" creationId="{D91163F9-A256-3815-B39A-0FC0BDCD68DF}"/>
          </ac:spMkLst>
        </pc:spChg>
        <pc:spChg chg="mod">
          <ac:chgData name="Marie-Laure Mauborgne" userId="717f1e20-c968-4716-94d0-7143ffa6b39a" providerId="ADAL" clId="{FF3342EC-F74B-47A2-B8F8-E74622A8CE81}" dt="2023-06-13T09:50:09.649" v="1140" actId="1076"/>
          <ac:spMkLst>
            <pc:docMk/>
            <pc:sldMk cId="2602141407" sldId="291"/>
            <ac:spMk id="5" creationId="{83518426-451E-7282-C7DD-6F106161E724}"/>
          </ac:spMkLst>
        </pc:spChg>
        <pc:spChg chg="add mod">
          <ac:chgData name="Marie-Laure Mauborgne" userId="717f1e20-c968-4716-94d0-7143ffa6b39a" providerId="ADAL" clId="{FF3342EC-F74B-47A2-B8F8-E74622A8CE81}" dt="2023-06-13T09:27:37.309" v="1061"/>
          <ac:spMkLst>
            <pc:docMk/>
            <pc:sldMk cId="2602141407" sldId="291"/>
            <ac:spMk id="6" creationId="{4399F9E3-BF03-662F-3880-877023D4505E}"/>
          </ac:spMkLst>
        </pc:spChg>
        <pc:spChg chg="add mod">
          <ac:chgData name="Marie-Laure Mauborgne" userId="717f1e20-c968-4716-94d0-7143ffa6b39a" providerId="ADAL" clId="{FF3342EC-F74B-47A2-B8F8-E74622A8CE81}" dt="2023-06-13T09:50:03.781" v="1139" actId="1076"/>
          <ac:spMkLst>
            <pc:docMk/>
            <pc:sldMk cId="2602141407" sldId="291"/>
            <ac:spMk id="12" creationId="{36F7FB92-7D3C-C53C-5634-366519C1AB54}"/>
          </ac:spMkLst>
        </pc:spChg>
        <pc:spChg chg="add mod">
          <ac:chgData name="Marie-Laure Mauborgne" userId="717f1e20-c968-4716-94d0-7143ffa6b39a" providerId="ADAL" clId="{FF3342EC-F74B-47A2-B8F8-E74622A8CE81}" dt="2023-06-13T09:52:04.421" v="1189" actId="1076"/>
          <ac:spMkLst>
            <pc:docMk/>
            <pc:sldMk cId="2602141407" sldId="291"/>
            <ac:spMk id="13" creationId="{ED6AC7D2-36F8-4C7B-2E9F-6F03C333EE7D}"/>
          </ac:spMkLst>
        </pc:spChg>
        <pc:spChg chg="add mod">
          <ac:chgData name="Marie-Laure Mauborgne" userId="717f1e20-c968-4716-94d0-7143ffa6b39a" providerId="ADAL" clId="{FF3342EC-F74B-47A2-B8F8-E74622A8CE81}" dt="2023-06-13T09:52:07.444" v="1190" actId="1076"/>
          <ac:spMkLst>
            <pc:docMk/>
            <pc:sldMk cId="2602141407" sldId="291"/>
            <ac:spMk id="14" creationId="{69FBD046-D2C3-521C-E1B1-BEFCBDE16335}"/>
          </ac:spMkLst>
        </pc:spChg>
        <pc:spChg chg="add mod">
          <ac:chgData name="Marie-Laure Mauborgne" userId="717f1e20-c968-4716-94d0-7143ffa6b39a" providerId="ADAL" clId="{FF3342EC-F74B-47A2-B8F8-E74622A8CE81}" dt="2023-06-13T10:00:30.791" v="1221" actId="1036"/>
          <ac:spMkLst>
            <pc:docMk/>
            <pc:sldMk cId="2602141407" sldId="291"/>
            <ac:spMk id="17" creationId="{0BB4F995-0D9B-B105-4C6D-4850F4EE4D27}"/>
          </ac:spMkLst>
        </pc:spChg>
        <pc:spChg chg="add mod">
          <ac:chgData name="Marie-Laure Mauborgne" userId="717f1e20-c968-4716-94d0-7143ffa6b39a" providerId="ADAL" clId="{FF3342EC-F74B-47A2-B8F8-E74622A8CE81}" dt="2023-06-13T10:00:28.176" v="1217" actId="1036"/>
          <ac:spMkLst>
            <pc:docMk/>
            <pc:sldMk cId="2602141407" sldId="291"/>
            <ac:spMk id="18" creationId="{E0DDC350-1AD5-0462-83D6-B3BF42ECA8ED}"/>
          </ac:spMkLst>
        </pc:spChg>
        <pc:spChg chg="add mod">
          <ac:chgData name="Marie-Laure Mauborgne" userId="717f1e20-c968-4716-94d0-7143ffa6b39a" providerId="ADAL" clId="{FF3342EC-F74B-47A2-B8F8-E74622A8CE81}" dt="2023-06-13T09:52:15.610" v="1192" actId="1076"/>
          <ac:spMkLst>
            <pc:docMk/>
            <pc:sldMk cId="2602141407" sldId="291"/>
            <ac:spMk id="20" creationId="{B89A2DF1-7D2C-EDC4-DB46-E3E5AFB150A3}"/>
          </ac:spMkLst>
        </pc:spChg>
        <pc:spChg chg="add mod">
          <ac:chgData name="Marie-Laure Mauborgne" userId="717f1e20-c968-4716-94d0-7143ffa6b39a" providerId="ADAL" clId="{FF3342EC-F74B-47A2-B8F8-E74622A8CE81}" dt="2023-06-13T09:52:22.604" v="1194" actId="1076"/>
          <ac:spMkLst>
            <pc:docMk/>
            <pc:sldMk cId="2602141407" sldId="291"/>
            <ac:spMk id="21" creationId="{CDB49CEF-494E-D698-3D4E-10E991FC8901}"/>
          </ac:spMkLst>
        </pc:spChg>
        <pc:spChg chg="add mod">
          <ac:chgData name="Marie-Laure Mauborgne" userId="717f1e20-c968-4716-94d0-7143ffa6b39a" providerId="ADAL" clId="{FF3342EC-F74B-47A2-B8F8-E74622A8CE81}" dt="2023-06-13T10:00:11.533" v="1203" actId="1076"/>
          <ac:spMkLst>
            <pc:docMk/>
            <pc:sldMk cId="2602141407" sldId="291"/>
            <ac:spMk id="24" creationId="{44FBE0A6-827A-B493-0024-D55846F98AAB}"/>
          </ac:spMkLst>
        </pc:spChg>
        <pc:spChg chg="add mod">
          <ac:chgData name="Marie-Laure Mauborgne" userId="717f1e20-c968-4716-94d0-7143ffa6b39a" providerId="ADAL" clId="{FF3342EC-F74B-47A2-B8F8-E74622A8CE81}" dt="2023-06-13T10:00:16.562" v="1205" actId="1076"/>
          <ac:spMkLst>
            <pc:docMk/>
            <pc:sldMk cId="2602141407" sldId="291"/>
            <ac:spMk id="25" creationId="{8704C0E5-F13F-3599-5EB2-275EE6FA35B5}"/>
          </ac:spMkLst>
        </pc:spChg>
        <pc:picChg chg="add mod">
          <ac:chgData name="Marie-Laure Mauborgne" userId="717f1e20-c968-4716-94d0-7143ffa6b39a" providerId="ADAL" clId="{FF3342EC-F74B-47A2-B8F8-E74622A8CE81}" dt="2023-06-13T09:50:42.244" v="1148" actId="1076"/>
          <ac:picMkLst>
            <pc:docMk/>
            <pc:sldMk cId="2602141407" sldId="291"/>
            <ac:picMk id="7" creationId="{A9C59305-D7B9-F1EA-70CD-5E2E21245889}"/>
          </ac:picMkLst>
        </pc:picChg>
        <pc:picChg chg="add mod modCrop">
          <ac:chgData name="Marie-Laure Mauborgne" userId="717f1e20-c968-4716-94d0-7143ffa6b39a" providerId="ADAL" clId="{FF3342EC-F74B-47A2-B8F8-E74622A8CE81}" dt="2023-06-13T09:50:43.831" v="1149" actId="1076"/>
          <ac:picMkLst>
            <pc:docMk/>
            <pc:sldMk cId="2602141407" sldId="291"/>
            <ac:picMk id="9" creationId="{378F175E-8796-60AA-BFA2-5B80B552253A}"/>
          </ac:picMkLst>
        </pc:picChg>
        <pc:picChg chg="add mod modCrop">
          <ac:chgData name="Marie-Laure Mauborgne" userId="717f1e20-c968-4716-94d0-7143ffa6b39a" providerId="ADAL" clId="{FF3342EC-F74B-47A2-B8F8-E74622A8CE81}" dt="2023-06-13T09:50:36.842" v="1147" actId="1076"/>
          <ac:picMkLst>
            <pc:docMk/>
            <pc:sldMk cId="2602141407" sldId="291"/>
            <ac:picMk id="11" creationId="{930DB9CD-B0E5-D3E5-2107-83125DE317CB}"/>
          </ac:picMkLst>
        </pc:picChg>
        <pc:picChg chg="add mod ord modCrop">
          <ac:chgData name="Marie-Laure Mauborgne" userId="717f1e20-c968-4716-94d0-7143ffa6b39a" providerId="ADAL" clId="{FF3342EC-F74B-47A2-B8F8-E74622A8CE81}" dt="2023-06-13T10:00:03.068" v="1201" actId="166"/>
          <ac:picMkLst>
            <pc:docMk/>
            <pc:sldMk cId="2602141407" sldId="291"/>
            <ac:picMk id="16" creationId="{62FDDC0C-7F23-AE85-1425-A8AC7368A7FB}"/>
          </ac:picMkLst>
        </pc:picChg>
        <pc:picChg chg="add mod">
          <ac:chgData name="Marie-Laure Mauborgne" userId="717f1e20-c968-4716-94d0-7143ffa6b39a" providerId="ADAL" clId="{FF3342EC-F74B-47A2-B8F8-E74622A8CE81}" dt="2023-06-13T09:51:57.523" v="1187" actId="1076"/>
          <ac:picMkLst>
            <pc:docMk/>
            <pc:sldMk cId="2602141407" sldId="291"/>
            <ac:picMk id="19" creationId="{FA116760-DCA4-F7DE-B8CF-C7F0D709F4AB}"/>
          </ac:picMkLst>
        </pc:picChg>
        <pc:picChg chg="add mod modCrop">
          <ac:chgData name="Marie-Laure Mauborgne" userId="717f1e20-c968-4716-94d0-7143ffa6b39a" providerId="ADAL" clId="{FF3342EC-F74B-47A2-B8F8-E74622A8CE81}" dt="2023-06-13T09:59:57.424" v="1200" actId="1076"/>
          <ac:picMkLst>
            <pc:docMk/>
            <pc:sldMk cId="2602141407" sldId="291"/>
            <ac:picMk id="23" creationId="{860FBC2A-8D34-0EEE-4912-65274872F04B}"/>
          </ac:picMkLst>
        </pc:picChg>
      </pc:sldChg>
      <pc:sldChg chg="del">
        <pc:chgData name="Marie-Laure Mauborgne" userId="717f1e20-c968-4716-94d0-7143ffa6b39a" providerId="ADAL" clId="{FF3342EC-F74B-47A2-B8F8-E74622A8CE81}" dt="2023-06-12T07:30:43.475" v="0" actId="47"/>
        <pc:sldMkLst>
          <pc:docMk/>
          <pc:sldMk cId="2825954351" sldId="291"/>
        </pc:sldMkLst>
      </pc:sldChg>
      <pc:sldChg chg="modSp new mod">
        <pc:chgData name="Marie-Laure Mauborgne" userId="717f1e20-c968-4716-94d0-7143ffa6b39a" providerId="ADAL" clId="{FF3342EC-F74B-47A2-B8F8-E74622A8CE81}" dt="2023-06-14T13:58:21.552" v="1510" actId="20577"/>
        <pc:sldMkLst>
          <pc:docMk/>
          <pc:sldMk cId="3479863844" sldId="292"/>
        </pc:sldMkLst>
        <pc:spChg chg="mod">
          <ac:chgData name="Marie-Laure Mauborgne" userId="717f1e20-c968-4716-94d0-7143ffa6b39a" providerId="ADAL" clId="{FF3342EC-F74B-47A2-B8F8-E74622A8CE81}" dt="2023-06-14T13:55:07.031" v="1251" actId="20577"/>
          <ac:spMkLst>
            <pc:docMk/>
            <pc:sldMk cId="3479863844" sldId="292"/>
            <ac:spMk id="2" creationId="{407AA06B-E9F3-13C8-58F9-F69B83B0D999}"/>
          </ac:spMkLst>
        </pc:spChg>
        <pc:spChg chg="mod">
          <ac:chgData name="Marie-Laure Mauborgne" userId="717f1e20-c968-4716-94d0-7143ffa6b39a" providerId="ADAL" clId="{FF3342EC-F74B-47A2-B8F8-E74622A8CE81}" dt="2023-06-14T13:58:21.552" v="1510" actId="20577"/>
          <ac:spMkLst>
            <pc:docMk/>
            <pc:sldMk cId="3479863844" sldId="292"/>
            <ac:spMk id="3" creationId="{A771D115-AB6C-263D-2828-DF9606E2816D}"/>
          </ac:spMkLst>
        </pc:spChg>
      </pc:sldChg>
      <pc:sldChg chg="del">
        <pc:chgData name="Marie-Laure Mauborgne" userId="717f1e20-c968-4716-94d0-7143ffa6b39a" providerId="ADAL" clId="{FF3342EC-F74B-47A2-B8F8-E74622A8CE81}" dt="2023-06-12T07:30:43.475" v="0" actId="47"/>
        <pc:sldMkLst>
          <pc:docMk/>
          <pc:sldMk cId="3652733955" sldId="292"/>
        </pc:sldMkLst>
      </pc:sldChg>
      <pc:sldChg chg="add">
        <pc:chgData name="Marie-Laure Mauborgne" userId="717f1e20-c968-4716-94d0-7143ffa6b39a" providerId="ADAL" clId="{FF3342EC-F74B-47A2-B8F8-E74622A8CE81}" dt="2023-06-15T13:14:04.413" v="1530"/>
        <pc:sldMkLst>
          <pc:docMk/>
          <pc:sldMk cId="2740083578" sldId="293"/>
        </pc:sldMkLst>
      </pc:sldChg>
      <pc:sldChg chg="del">
        <pc:chgData name="Marie-Laure Mauborgne" userId="717f1e20-c968-4716-94d0-7143ffa6b39a" providerId="ADAL" clId="{FF3342EC-F74B-47A2-B8F8-E74622A8CE81}" dt="2023-06-12T07:30:43.475" v="0" actId="47"/>
        <pc:sldMkLst>
          <pc:docMk/>
          <pc:sldMk cId="4029701623" sldId="294"/>
        </pc:sldMkLst>
      </pc:sldChg>
      <pc:sldChg chg="del">
        <pc:chgData name="Marie-Laure Mauborgne" userId="717f1e20-c968-4716-94d0-7143ffa6b39a" providerId="ADAL" clId="{FF3342EC-F74B-47A2-B8F8-E74622A8CE81}" dt="2023-06-12T07:30:43.475" v="0" actId="47"/>
        <pc:sldMkLst>
          <pc:docMk/>
          <pc:sldMk cId="3356518529" sldId="300"/>
        </pc:sldMkLst>
      </pc:sldChg>
      <pc:sldChg chg="del">
        <pc:chgData name="Marie-Laure Mauborgne" userId="717f1e20-c968-4716-94d0-7143ffa6b39a" providerId="ADAL" clId="{FF3342EC-F74B-47A2-B8F8-E74622A8CE81}" dt="2023-06-12T07:30:43.475" v="0" actId="47"/>
        <pc:sldMkLst>
          <pc:docMk/>
          <pc:sldMk cId="2005568626" sldId="306"/>
        </pc:sldMkLst>
      </pc:sldChg>
      <pc:sldChg chg="del">
        <pc:chgData name="Marie-Laure Mauborgne" userId="717f1e20-c968-4716-94d0-7143ffa6b39a" providerId="ADAL" clId="{FF3342EC-F74B-47A2-B8F8-E74622A8CE81}" dt="2023-06-12T07:30:43.475" v="0" actId="47"/>
        <pc:sldMkLst>
          <pc:docMk/>
          <pc:sldMk cId="700065614" sldId="307"/>
        </pc:sldMkLst>
      </pc:sldChg>
      <pc:sldChg chg="del">
        <pc:chgData name="Marie-Laure Mauborgne" userId="717f1e20-c968-4716-94d0-7143ffa6b39a" providerId="ADAL" clId="{FF3342EC-F74B-47A2-B8F8-E74622A8CE81}" dt="2023-06-12T07:30:43.475" v="0" actId="47"/>
        <pc:sldMkLst>
          <pc:docMk/>
          <pc:sldMk cId="1649256069" sldId="308"/>
        </pc:sldMkLst>
      </pc:sldChg>
      <pc:sldChg chg="del">
        <pc:chgData name="Marie-Laure Mauborgne" userId="717f1e20-c968-4716-94d0-7143ffa6b39a" providerId="ADAL" clId="{FF3342EC-F74B-47A2-B8F8-E74622A8CE81}" dt="2023-06-12T07:30:43.475" v="0" actId="47"/>
        <pc:sldMkLst>
          <pc:docMk/>
          <pc:sldMk cId="0" sldId="322"/>
        </pc:sldMkLst>
      </pc:sldChg>
      <pc:sldChg chg="del">
        <pc:chgData name="Marie-Laure Mauborgne" userId="717f1e20-c968-4716-94d0-7143ffa6b39a" providerId="ADAL" clId="{FF3342EC-F74B-47A2-B8F8-E74622A8CE81}" dt="2023-06-12T07:30:43.475" v="0" actId="47"/>
        <pc:sldMkLst>
          <pc:docMk/>
          <pc:sldMk cId="4258844567" sldId="334"/>
        </pc:sldMkLst>
      </pc:sldChg>
      <pc:sldChg chg="del">
        <pc:chgData name="Marie-Laure Mauborgne" userId="717f1e20-c968-4716-94d0-7143ffa6b39a" providerId="ADAL" clId="{FF3342EC-F74B-47A2-B8F8-E74622A8CE81}" dt="2023-06-12T07:30:43.475" v="0" actId="47"/>
        <pc:sldMkLst>
          <pc:docMk/>
          <pc:sldMk cId="3044428301" sldId="347"/>
        </pc:sldMkLst>
      </pc:sldChg>
      <pc:sldChg chg="del">
        <pc:chgData name="Marie-Laure Mauborgne" userId="717f1e20-c968-4716-94d0-7143ffa6b39a" providerId="ADAL" clId="{FF3342EC-F74B-47A2-B8F8-E74622A8CE81}" dt="2023-06-12T07:30:43.475" v="0" actId="47"/>
        <pc:sldMkLst>
          <pc:docMk/>
          <pc:sldMk cId="4007955932" sldId="354"/>
        </pc:sldMkLst>
      </pc:sldChg>
      <pc:sldChg chg="del">
        <pc:chgData name="Marie-Laure Mauborgne" userId="717f1e20-c968-4716-94d0-7143ffa6b39a" providerId="ADAL" clId="{FF3342EC-F74B-47A2-B8F8-E74622A8CE81}" dt="2023-06-12T07:30:43.475" v="0" actId="47"/>
        <pc:sldMkLst>
          <pc:docMk/>
          <pc:sldMk cId="352217459" sldId="372"/>
        </pc:sldMkLst>
      </pc:sldChg>
      <pc:sldChg chg="del">
        <pc:chgData name="Marie-Laure Mauborgne" userId="717f1e20-c968-4716-94d0-7143ffa6b39a" providerId="ADAL" clId="{FF3342EC-F74B-47A2-B8F8-E74622A8CE81}" dt="2023-06-12T07:30:43.475" v="0" actId="47"/>
        <pc:sldMkLst>
          <pc:docMk/>
          <pc:sldMk cId="2901120980" sldId="376"/>
        </pc:sldMkLst>
      </pc:sldChg>
      <pc:sldChg chg="del">
        <pc:chgData name="Marie-Laure Mauborgne" userId="717f1e20-c968-4716-94d0-7143ffa6b39a" providerId="ADAL" clId="{FF3342EC-F74B-47A2-B8F8-E74622A8CE81}" dt="2023-06-12T07:30:43.475" v="0" actId="47"/>
        <pc:sldMkLst>
          <pc:docMk/>
          <pc:sldMk cId="500936331" sldId="377"/>
        </pc:sldMkLst>
      </pc:sldChg>
      <pc:sldChg chg="del">
        <pc:chgData name="Marie-Laure Mauborgne" userId="717f1e20-c968-4716-94d0-7143ffa6b39a" providerId="ADAL" clId="{FF3342EC-F74B-47A2-B8F8-E74622A8CE81}" dt="2023-06-12T07:30:43.475" v="0" actId="47"/>
        <pc:sldMkLst>
          <pc:docMk/>
          <pc:sldMk cId="4176226012" sldId="378"/>
        </pc:sldMkLst>
      </pc:sldChg>
      <pc:sldChg chg="del">
        <pc:chgData name="Marie-Laure Mauborgne" userId="717f1e20-c968-4716-94d0-7143ffa6b39a" providerId="ADAL" clId="{FF3342EC-F74B-47A2-B8F8-E74622A8CE81}" dt="2023-06-12T07:30:43.475" v="0" actId="47"/>
        <pc:sldMkLst>
          <pc:docMk/>
          <pc:sldMk cId="1041884285" sldId="388"/>
        </pc:sldMkLst>
      </pc:sldChg>
      <pc:sldChg chg="del">
        <pc:chgData name="Marie-Laure Mauborgne" userId="717f1e20-c968-4716-94d0-7143ffa6b39a" providerId="ADAL" clId="{FF3342EC-F74B-47A2-B8F8-E74622A8CE81}" dt="2023-06-12T07:30:43.475" v="0" actId="47"/>
        <pc:sldMkLst>
          <pc:docMk/>
          <pc:sldMk cId="904548694" sldId="412"/>
        </pc:sldMkLst>
      </pc:sldChg>
      <pc:sldChg chg="del">
        <pc:chgData name="Marie-Laure Mauborgne" userId="717f1e20-c968-4716-94d0-7143ffa6b39a" providerId="ADAL" clId="{FF3342EC-F74B-47A2-B8F8-E74622A8CE81}" dt="2023-06-12T07:30:43.475" v="0" actId="47"/>
        <pc:sldMkLst>
          <pc:docMk/>
          <pc:sldMk cId="3232965873" sldId="413"/>
        </pc:sldMkLst>
      </pc:sldChg>
      <pc:sldChg chg="del">
        <pc:chgData name="Marie-Laure Mauborgne" userId="717f1e20-c968-4716-94d0-7143ffa6b39a" providerId="ADAL" clId="{FF3342EC-F74B-47A2-B8F8-E74622A8CE81}" dt="2023-06-12T07:30:43.475" v="0" actId="47"/>
        <pc:sldMkLst>
          <pc:docMk/>
          <pc:sldMk cId="4061605685" sldId="422"/>
        </pc:sldMkLst>
      </pc:sldChg>
      <pc:sldChg chg="del">
        <pc:chgData name="Marie-Laure Mauborgne" userId="717f1e20-c968-4716-94d0-7143ffa6b39a" providerId="ADAL" clId="{FF3342EC-F74B-47A2-B8F8-E74622A8CE81}" dt="2023-06-12T07:30:43.475" v="0" actId="47"/>
        <pc:sldMkLst>
          <pc:docMk/>
          <pc:sldMk cId="2306752089" sldId="434"/>
        </pc:sldMkLst>
      </pc:sldChg>
      <pc:sldChg chg="del">
        <pc:chgData name="Marie-Laure Mauborgne" userId="717f1e20-c968-4716-94d0-7143ffa6b39a" providerId="ADAL" clId="{FF3342EC-F74B-47A2-B8F8-E74622A8CE81}" dt="2023-06-12T07:30:43.475" v="0" actId="47"/>
        <pc:sldMkLst>
          <pc:docMk/>
          <pc:sldMk cId="0" sldId="522"/>
        </pc:sldMkLst>
      </pc:sldChg>
      <pc:sldChg chg="del">
        <pc:chgData name="Marie-Laure Mauborgne" userId="717f1e20-c968-4716-94d0-7143ffa6b39a" providerId="ADAL" clId="{FF3342EC-F74B-47A2-B8F8-E74622A8CE81}" dt="2023-06-12T07:30:43.475" v="0" actId="47"/>
        <pc:sldMkLst>
          <pc:docMk/>
          <pc:sldMk cId="3057331779" sldId="595"/>
        </pc:sldMkLst>
      </pc:sldChg>
      <pc:sldChg chg="del">
        <pc:chgData name="Marie-Laure Mauborgne" userId="717f1e20-c968-4716-94d0-7143ffa6b39a" providerId="ADAL" clId="{FF3342EC-F74B-47A2-B8F8-E74622A8CE81}" dt="2023-06-12T07:30:43.475" v="0" actId="47"/>
        <pc:sldMkLst>
          <pc:docMk/>
          <pc:sldMk cId="1160698084" sldId="682"/>
        </pc:sldMkLst>
      </pc:sldChg>
      <pc:sldChg chg="del">
        <pc:chgData name="Marie-Laure Mauborgne" userId="717f1e20-c968-4716-94d0-7143ffa6b39a" providerId="ADAL" clId="{FF3342EC-F74B-47A2-B8F8-E74622A8CE81}" dt="2023-06-12T07:30:43.475" v="0" actId="47"/>
        <pc:sldMkLst>
          <pc:docMk/>
          <pc:sldMk cId="2155701121" sldId="683"/>
        </pc:sldMkLst>
      </pc:sldChg>
      <pc:sldChg chg="del">
        <pc:chgData name="Marie-Laure Mauborgne" userId="717f1e20-c968-4716-94d0-7143ffa6b39a" providerId="ADAL" clId="{FF3342EC-F74B-47A2-B8F8-E74622A8CE81}" dt="2023-06-12T07:30:43.475" v="0" actId="47"/>
        <pc:sldMkLst>
          <pc:docMk/>
          <pc:sldMk cId="2537473705" sldId="684"/>
        </pc:sldMkLst>
      </pc:sldChg>
      <pc:sldChg chg="del">
        <pc:chgData name="Marie-Laure Mauborgne" userId="717f1e20-c968-4716-94d0-7143ffa6b39a" providerId="ADAL" clId="{FF3342EC-F74B-47A2-B8F8-E74622A8CE81}" dt="2023-06-12T07:30:43.475" v="0" actId="47"/>
        <pc:sldMkLst>
          <pc:docMk/>
          <pc:sldMk cId="1174788246" sldId="687"/>
        </pc:sldMkLst>
      </pc:sldChg>
      <pc:sldChg chg="del">
        <pc:chgData name="Marie-Laure Mauborgne" userId="717f1e20-c968-4716-94d0-7143ffa6b39a" providerId="ADAL" clId="{FF3342EC-F74B-47A2-B8F8-E74622A8CE81}" dt="2023-06-12T07:30:43.475" v="0" actId="47"/>
        <pc:sldMkLst>
          <pc:docMk/>
          <pc:sldMk cId="1435108589" sldId="688"/>
        </pc:sldMkLst>
      </pc:sldChg>
      <pc:sldChg chg="del">
        <pc:chgData name="Marie-Laure Mauborgne" userId="717f1e20-c968-4716-94d0-7143ffa6b39a" providerId="ADAL" clId="{FF3342EC-F74B-47A2-B8F8-E74622A8CE81}" dt="2023-06-12T07:30:43.475" v="0" actId="47"/>
        <pc:sldMkLst>
          <pc:docMk/>
          <pc:sldMk cId="954897603" sldId="2134804504"/>
        </pc:sldMkLst>
      </pc:sldChg>
      <pc:sldChg chg="del">
        <pc:chgData name="Marie-Laure Mauborgne" userId="717f1e20-c968-4716-94d0-7143ffa6b39a" providerId="ADAL" clId="{FF3342EC-F74B-47A2-B8F8-E74622A8CE81}" dt="2023-06-12T07:30:43.475" v="0" actId="47"/>
        <pc:sldMkLst>
          <pc:docMk/>
          <pc:sldMk cId="1736574082" sldId="2134804508"/>
        </pc:sldMkLst>
      </pc:sldChg>
      <pc:sldChg chg="del">
        <pc:chgData name="Marie-Laure Mauborgne" userId="717f1e20-c968-4716-94d0-7143ffa6b39a" providerId="ADAL" clId="{FF3342EC-F74B-47A2-B8F8-E74622A8CE81}" dt="2023-06-12T07:30:43.475" v="0" actId="47"/>
        <pc:sldMkLst>
          <pc:docMk/>
          <pc:sldMk cId="1395785707" sldId="2134804513"/>
        </pc:sldMkLst>
      </pc:sldChg>
      <pc:sldChg chg="del">
        <pc:chgData name="Marie-Laure Mauborgne" userId="717f1e20-c968-4716-94d0-7143ffa6b39a" providerId="ADAL" clId="{FF3342EC-F74B-47A2-B8F8-E74622A8CE81}" dt="2023-06-12T07:30:43.475" v="0" actId="47"/>
        <pc:sldMkLst>
          <pc:docMk/>
          <pc:sldMk cId="1210725577" sldId="2134804516"/>
        </pc:sldMkLst>
      </pc:sldChg>
      <pc:sldChg chg="del">
        <pc:chgData name="Marie-Laure Mauborgne" userId="717f1e20-c968-4716-94d0-7143ffa6b39a" providerId="ADAL" clId="{FF3342EC-F74B-47A2-B8F8-E74622A8CE81}" dt="2023-06-12T07:30:43.475" v="0" actId="47"/>
        <pc:sldMkLst>
          <pc:docMk/>
          <pc:sldMk cId="4195000952" sldId="2134804517"/>
        </pc:sldMkLst>
      </pc:sldChg>
      <pc:sldChg chg="del">
        <pc:chgData name="Marie-Laure Mauborgne" userId="717f1e20-c968-4716-94d0-7143ffa6b39a" providerId="ADAL" clId="{FF3342EC-F74B-47A2-B8F8-E74622A8CE81}" dt="2023-06-12T07:30:43.475" v="0" actId="47"/>
        <pc:sldMkLst>
          <pc:docMk/>
          <pc:sldMk cId="2524168430" sldId="2134804524"/>
        </pc:sldMkLst>
      </pc:sldChg>
      <pc:sldChg chg="del">
        <pc:chgData name="Marie-Laure Mauborgne" userId="717f1e20-c968-4716-94d0-7143ffa6b39a" providerId="ADAL" clId="{FF3342EC-F74B-47A2-B8F8-E74622A8CE81}" dt="2023-06-12T07:30:43.475" v="0" actId="47"/>
        <pc:sldMkLst>
          <pc:docMk/>
          <pc:sldMk cId="3818289999" sldId="2147378829"/>
        </pc:sldMkLst>
      </pc:sldChg>
      <pc:sldChg chg="del">
        <pc:chgData name="Marie-Laure Mauborgne" userId="717f1e20-c968-4716-94d0-7143ffa6b39a" providerId="ADAL" clId="{FF3342EC-F74B-47A2-B8F8-E74622A8CE81}" dt="2023-06-12T07:30:43.475" v="0" actId="47"/>
        <pc:sldMkLst>
          <pc:docMk/>
          <pc:sldMk cId="3693928197" sldId="2147379066"/>
        </pc:sldMkLst>
      </pc:sldChg>
      <pc:sldChg chg="del">
        <pc:chgData name="Marie-Laure Mauborgne" userId="717f1e20-c968-4716-94d0-7143ffa6b39a" providerId="ADAL" clId="{FF3342EC-F74B-47A2-B8F8-E74622A8CE81}" dt="2023-06-12T07:30:43.475" v="0" actId="47"/>
        <pc:sldMkLst>
          <pc:docMk/>
          <pc:sldMk cId="116588017" sldId="2147379067"/>
        </pc:sldMkLst>
      </pc:sldChg>
      <pc:sldChg chg="del">
        <pc:chgData name="Marie-Laure Mauborgne" userId="717f1e20-c968-4716-94d0-7143ffa6b39a" providerId="ADAL" clId="{FF3342EC-F74B-47A2-B8F8-E74622A8CE81}" dt="2023-06-12T07:30:43.475" v="0" actId="47"/>
        <pc:sldMkLst>
          <pc:docMk/>
          <pc:sldMk cId="1561764277" sldId="2147379068"/>
        </pc:sldMkLst>
      </pc:sldChg>
      <pc:sldChg chg="del">
        <pc:chgData name="Marie-Laure Mauborgne" userId="717f1e20-c968-4716-94d0-7143ffa6b39a" providerId="ADAL" clId="{FF3342EC-F74B-47A2-B8F8-E74622A8CE81}" dt="2023-06-12T07:30:43.475" v="0" actId="47"/>
        <pc:sldMkLst>
          <pc:docMk/>
          <pc:sldMk cId="2848530843" sldId="2147379069"/>
        </pc:sldMkLst>
      </pc:sldChg>
      <pc:sldChg chg="del">
        <pc:chgData name="Marie-Laure Mauborgne" userId="717f1e20-c968-4716-94d0-7143ffa6b39a" providerId="ADAL" clId="{FF3342EC-F74B-47A2-B8F8-E74622A8CE81}" dt="2023-06-12T07:30:43.475" v="0" actId="47"/>
        <pc:sldMkLst>
          <pc:docMk/>
          <pc:sldMk cId="3721803058" sldId="2147379071"/>
        </pc:sldMkLst>
      </pc:sldChg>
      <pc:sldChg chg="del">
        <pc:chgData name="Marie-Laure Mauborgne" userId="717f1e20-c968-4716-94d0-7143ffa6b39a" providerId="ADAL" clId="{FF3342EC-F74B-47A2-B8F8-E74622A8CE81}" dt="2023-06-12T07:30:43.475" v="0" actId="47"/>
        <pc:sldMkLst>
          <pc:docMk/>
          <pc:sldMk cId="2783807835" sldId="2147379072"/>
        </pc:sldMkLst>
      </pc:sldChg>
      <pc:sldChg chg="del">
        <pc:chgData name="Marie-Laure Mauborgne" userId="717f1e20-c968-4716-94d0-7143ffa6b39a" providerId="ADAL" clId="{FF3342EC-F74B-47A2-B8F8-E74622A8CE81}" dt="2023-06-12T07:30:43.475" v="0" actId="47"/>
        <pc:sldMkLst>
          <pc:docMk/>
          <pc:sldMk cId="74385919" sldId="2147379073"/>
        </pc:sldMkLst>
      </pc:sldChg>
      <pc:sldChg chg="del">
        <pc:chgData name="Marie-Laure Mauborgne" userId="717f1e20-c968-4716-94d0-7143ffa6b39a" providerId="ADAL" clId="{FF3342EC-F74B-47A2-B8F8-E74622A8CE81}" dt="2023-06-12T07:30:43.475" v="0" actId="47"/>
        <pc:sldMkLst>
          <pc:docMk/>
          <pc:sldMk cId="1650544958" sldId="2147379074"/>
        </pc:sldMkLst>
      </pc:sldChg>
      <pc:sldChg chg="del">
        <pc:chgData name="Marie-Laure Mauborgne" userId="717f1e20-c968-4716-94d0-7143ffa6b39a" providerId="ADAL" clId="{FF3342EC-F74B-47A2-B8F8-E74622A8CE81}" dt="2023-06-12T07:30:43.475" v="0" actId="47"/>
        <pc:sldMkLst>
          <pc:docMk/>
          <pc:sldMk cId="1670817811" sldId="2147379075"/>
        </pc:sldMkLst>
      </pc:sldChg>
      <pc:sldChg chg="del">
        <pc:chgData name="Marie-Laure Mauborgne" userId="717f1e20-c968-4716-94d0-7143ffa6b39a" providerId="ADAL" clId="{FF3342EC-F74B-47A2-B8F8-E74622A8CE81}" dt="2023-06-12T07:30:43.475" v="0" actId="47"/>
        <pc:sldMkLst>
          <pc:docMk/>
          <pc:sldMk cId="3681166105" sldId="2147379076"/>
        </pc:sldMkLst>
      </pc:sldChg>
      <pc:sldChg chg="del">
        <pc:chgData name="Marie-Laure Mauborgne" userId="717f1e20-c968-4716-94d0-7143ffa6b39a" providerId="ADAL" clId="{FF3342EC-F74B-47A2-B8F8-E74622A8CE81}" dt="2023-06-12T07:30:43.475" v="0" actId="47"/>
        <pc:sldMkLst>
          <pc:docMk/>
          <pc:sldMk cId="1099202138" sldId="2147379077"/>
        </pc:sldMkLst>
      </pc:sldChg>
      <pc:sldChg chg="del">
        <pc:chgData name="Marie-Laure Mauborgne" userId="717f1e20-c968-4716-94d0-7143ffa6b39a" providerId="ADAL" clId="{FF3342EC-F74B-47A2-B8F8-E74622A8CE81}" dt="2023-06-12T07:30:43.475" v="0" actId="47"/>
        <pc:sldMkLst>
          <pc:docMk/>
          <pc:sldMk cId="730130220" sldId="2147379078"/>
        </pc:sldMkLst>
      </pc:sldChg>
      <pc:sldChg chg="del">
        <pc:chgData name="Marie-Laure Mauborgne" userId="717f1e20-c968-4716-94d0-7143ffa6b39a" providerId="ADAL" clId="{FF3342EC-F74B-47A2-B8F8-E74622A8CE81}" dt="2023-06-12T07:30:43.475" v="0" actId="47"/>
        <pc:sldMkLst>
          <pc:docMk/>
          <pc:sldMk cId="428719124" sldId="2147379079"/>
        </pc:sldMkLst>
      </pc:sldChg>
      <pc:sldChg chg="del">
        <pc:chgData name="Marie-Laure Mauborgne" userId="717f1e20-c968-4716-94d0-7143ffa6b39a" providerId="ADAL" clId="{FF3342EC-F74B-47A2-B8F8-E74622A8CE81}" dt="2023-06-12T07:30:43.475" v="0" actId="47"/>
        <pc:sldMkLst>
          <pc:docMk/>
          <pc:sldMk cId="2110202668" sldId="2147379080"/>
        </pc:sldMkLst>
      </pc:sldChg>
      <pc:sldChg chg="del">
        <pc:chgData name="Marie-Laure Mauborgne" userId="717f1e20-c968-4716-94d0-7143ffa6b39a" providerId="ADAL" clId="{FF3342EC-F74B-47A2-B8F8-E74622A8CE81}" dt="2023-06-12T07:30:43.475" v="0" actId="47"/>
        <pc:sldMkLst>
          <pc:docMk/>
          <pc:sldMk cId="3328898619" sldId="2147379082"/>
        </pc:sldMkLst>
      </pc:sldChg>
      <pc:sldChg chg="del">
        <pc:chgData name="Marie-Laure Mauborgne" userId="717f1e20-c968-4716-94d0-7143ffa6b39a" providerId="ADAL" clId="{FF3342EC-F74B-47A2-B8F8-E74622A8CE81}" dt="2023-06-12T07:30:43.475" v="0" actId="47"/>
        <pc:sldMkLst>
          <pc:docMk/>
          <pc:sldMk cId="3632043873" sldId="2147379083"/>
        </pc:sldMkLst>
      </pc:sldChg>
      <pc:sldChg chg="del">
        <pc:chgData name="Marie-Laure Mauborgne" userId="717f1e20-c968-4716-94d0-7143ffa6b39a" providerId="ADAL" clId="{FF3342EC-F74B-47A2-B8F8-E74622A8CE81}" dt="2023-06-12T07:30:43.475" v="0" actId="47"/>
        <pc:sldMkLst>
          <pc:docMk/>
          <pc:sldMk cId="4151024472" sldId="2147379084"/>
        </pc:sldMkLst>
      </pc:sldChg>
      <pc:sldChg chg="del">
        <pc:chgData name="Marie-Laure Mauborgne" userId="717f1e20-c968-4716-94d0-7143ffa6b39a" providerId="ADAL" clId="{FF3342EC-F74B-47A2-B8F8-E74622A8CE81}" dt="2023-06-12T07:30:43.475" v="0" actId="47"/>
        <pc:sldMkLst>
          <pc:docMk/>
          <pc:sldMk cId="883234647" sldId="2147379086"/>
        </pc:sldMkLst>
      </pc:sldChg>
      <pc:sldChg chg="del">
        <pc:chgData name="Marie-Laure Mauborgne" userId="717f1e20-c968-4716-94d0-7143ffa6b39a" providerId="ADAL" clId="{FF3342EC-F74B-47A2-B8F8-E74622A8CE81}" dt="2023-06-12T07:30:43.475" v="0" actId="47"/>
        <pc:sldMkLst>
          <pc:docMk/>
          <pc:sldMk cId="1250323347" sldId="2147379087"/>
        </pc:sldMkLst>
      </pc:sldChg>
      <pc:sldChg chg="del">
        <pc:chgData name="Marie-Laure Mauborgne" userId="717f1e20-c968-4716-94d0-7143ffa6b39a" providerId="ADAL" clId="{FF3342EC-F74B-47A2-B8F8-E74622A8CE81}" dt="2023-06-12T07:30:43.475" v="0" actId="47"/>
        <pc:sldMkLst>
          <pc:docMk/>
          <pc:sldMk cId="1144145598" sldId="2147379088"/>
        </pc:sldMkLst>
      </pc:sldChg>
      <pc:sldChg chg="del">
        <pc:chgData name="Marie-Laure Mauborgne" userId="717f1e20-c968-4716-94d0-7143ffa6b39a" providerId="ADAL" clId="{FF3342EC-F74B-47A2-B8F8-E74622A8CE81}" dt="2023-06-12T07:30:43.475" v="0" actId="47"/>
        <pc:sldMkLst>
          <pc:docMk/>
          <pc:sldMk cId="3895172893" sldId="2147379089"/>
        </pc:sldMkLst>
      </pc:sldChg>
      <pc:sldChg chg="del">
        <pc:chgData name="Marie-Laure Mauborgne" userId="717f1e20-c968-4716-94d0-7143ffa6b39a" providerId="ADAL" clId="{FF3342EC-F74B-47A2-B8F8-E74622A8CE81}" dt="2023-06-12T07:30:43.475" v="0" actId="47"/>
        <pc:sldMkLst>
          <pc:docMk/>
          <pc:sldMk cId="2061760925" sldId="2147379090"/>
        </pc:sldMkLst>
      </pc:sldChg>
      <pc:sldChg chg="del">
        <pc:chgData name="Marie-Laure Mauborgne" userId="717f1e20-c968-4716-94d0-7143ffa6b39a" providerId="ADAL" clId="{FF3342EC-F74B-47A2-B8F8-E74622A8CE81}" dt="2023-06-12T07:30:43.475" v="0" actId="47"/>
        <pc:sldMkLst>
          <pc:docMk/>
          <pc:sldMk cId="3140515209" sldId="2147379091"/>
        </pc:sldMkLst>
      </pc:sldChg>
      <pc:sldChg chg="del">
        <pc:chgData name="Marie-Laure Mauborgne" userId="717f1e20-c968-4716-94d0-7143ffa6b39a" providerId="ADAL" clId="{FF3342EC-F74B-47A2-B8F8-E74622A8CE81}" dt="2023-06-12T07:30:43.475" v="0" actId="47"/>
        <pc:sldMkLst>
          <pc:docMk/>
          <pc:sldMk cId="1129929660" sldId="2147379092"/>
        </pc:sldMkLst>
      </pc:sldChg>
      <pc:sldChg chg="del">
        <pc:chgData name="Marie-Laure Mauborgne" userId="717f1e20-c968-4716-94d0-7143ffa6b39a" providerId="ADAL" clId="{FF3342EC-F74B-47A2-B8F8-E74622A8CE81}" dt="2023-06-12T07:30:43.475" v="0" actId="47"/>
        <pc:sldMkLst>
          <pc:docMk/>
          <pc:sldMk cId="988354632" sldId="2147379093"/>
        </pc:sldMkLst>
      </pc:sldChg>
      <pc:sldChg chg="del">
        <pc:chgData name="Marie-Laure Mauborgne" userId="717f1e20-c968-4716-94d0-7143ffa6b39a" providerId="ADAL" clId="{FF3342EC-F74B-47A2-B8F8-E74622A8CE81}" dt="2023-06-12T07:30:43.475" v="0" actId="47"/>
        <pc:sldMkLst>
          <pc:docMk/>
          <pc:sldMk cId="2231702952" sldId="2147379094"/>
        </pc:sldMkLst>
      </pc:sldChg>
      <pc:sldChg chg="del">
        <pc:chgData name="Marie-Laure Mauborgne" userId="717f1e20-c968-4716-94d0-7143ffa6b39a" providerId="ADAL" clId="{FF3342EC-F74B-47A2-B8F8-E74622A8CE81}" dt="2023-06-12T07:30:43.475" v="0" actId="47"/>
        <pc:sldMkLst>
          <pc:docMk/>
          <pc:sldMk cId="3867254977" sldId="2147379095"/>
        </pc:sldMkLst>
      </pc:sldChg>
      <pc:sldChg chg="del">
        <pc:chgData name="Marie-Laure Mauborgne" userId="717f1e20-c968-4716-94d0-7143ffa6b39a" providerId="ADAL" clId="{FF3342EC-F74B-47A2-B8F8-E74622A8CE81}" dt="2023-06-12T07:30:43.475" v="0" actId="47"/>
        <pc:sldMkLst>
          <pc:docMk/>
          <pc:sldMk cId="2482734020" sldId="2147379096"/>
        </pc:sldMkLst>
      </pc:sldChg>
      <pc:sldChg chg="del">
        <pc:chgData name="Marie-Laure Mauborgne" userId="717f1e20-c968-4716-94d0-7143ffa6b39a" providerId="ADAL" clId="{FF3342EC-F74B-47A2-B8F8-E74622A8CE81}" dt="2023-06-12T07:30:43.475" v="0" actId="47"/>
        <pc:sldMkLst>
          <pc:docMk/>
          <pc:sldMk cId="1993353406" sldId="2147379097"/>
        </pc:sldMkLst>
      </pc:sldChg>
      <pc:sldChg chg="del">
        <pc:chgData name="Marie-Laure Mauborgne" userId="717f1e20-c968-4716-94d0-7143ffa6b39a" providerId="ADAL" clId="{FF3342EC-F74B-47A2-B8F8-E74622A8CE81}" dt="2023-06-12T07:30:43.475" v="0" actId="47"/>
        <pc:sldMkLst>
          <pc:docMk/>
          <pc:sldMk cId="937670544" sldId="2147379098"/>
        </pc:sldMkLst>
      </pc:sldChg>
      <pc:sldChg chg="del">
        <pc:chgData name="Marie-Laure Mauborgne" userId="717f1e20-c968-4716-94d0-7143ffa6b39a" providerId="ADAL" clId="{FF3342EC-F74B-47A2-B8F8-E74622A8CE81}" dt="2023-06-12T07:30:43.475" v="0" actId="47"/>
        <pc:sldMkLst>
          <pc:docMk/>
          <pc:sldMk cId="3991352431" sldId="2147379099"/>
        </pc:sldMkLst>
      </pc:sldChg>
      <pc:sldChg chg="del">
        <pc:chgData name="Marie-Laure Mauborgne" userId="717f1e20-c968-4716-94d0-7143ffa6b39a" providerId="ADAL" clId="{FF3342EC-F74B-47A2-B8F8-E74622A8CE81}" dt="2023-06-12T07:30:43.475" v="0" actId="47"/>
        <pc:sldMkLst>
          <pc:docMk/>
          <pc:sldMk cId="2456475928" sldId="2147379100"/>
        </pc:sldMkLst>
      </pc:sldChg>
      <pc:sldChg chg="del">
        <pc:chgData name="Marie-Laure Mauborgne" userId="717f1e20-c968-4716-94d0-7143ffa6b39a" providerId="ADAL" clId="{FF3342EC-F74B-47A2-B8F8-E74622A8CE81}" dt="2023-06-12T07:30:43.475" v="0" actId="47"/>
        <pc:sldMkLst>
          <pc:docMk/>
          <pc:sldMk cId="3866055111" sldId="2147379102"/>
        </pc:sldMkLst>
      </pc:sldChg>
      <pc:sldChg chg="del">
        <pc:chgData name="Marie-Laure Mauborgne" userId="717f1e20-c968-4716-94d0-7143ffa6b39a" providerId="ADAL" clId="{FF3342EC-F74B-47A2-B8F8-E74622A8CE81}" dt="2023-06-12T07:30:43.475" v="0" actId="47"/>
        <pc:sldMkLst>
          <pc:docMk/>
          <pc:sldMk cId="3623651553" sldId="2147379103"/>
        </pc:sldMkLst>
      </pc:sldChg>
      <pc:sldChg chg="del">
        <pc:chgData name="Marie-Laure Mauborgne" userId="717f1e20-c968-4716-94d0-7143ffa6b39a" providerId="ADAL" clId="{FF3342EC-F74B-47A2-B8F8-E74622A8CE81}" dt="2023-06-12T07:30:43.475" v="0" actId="47"/>
        <pc:sldMkLst>
          <pc:docMk/>
          <pc:sldMk cId="2467682810" sldId="2147379104"/>
        </pc:sldMkLst>
      </pc:sldChg>
      <pc:sldChg chg="del">
        <pc:chgData name="Marie-Laure Mauborgne" userId="717f1e20-c968-4716-94d0-7143ffa6b39a" providerId="ADAL" clId="{FF3342EC-F74B-47A2-B8F8-E74622A8CE81}" dt="2023-06-12T07:30:43.475" v="0" actId="47"/>
        <pc:sldMkLst>
          <pc:docMk/>
          <pc:sldMk cId="3161910199" sldId="2147379105"/>
        </pc:sldMkLst>
      </pc:sldChg>
      <pc:sldChg chg="del">
        <pc:chgData name="Marie-Laure Mauborgne" userId="717f1e20-c968-4716-94d0-7143ffa6b39a" providerId="ADAL" clId="{FF3342EC-F74B-47A2-B8F8-E74622A8CE81}" dt="2023-06-12T07:30:43.475" v="0" actId="47"/>
        <pc:sldMkLst>
          <pc:docMk/>
          <pc:sldMk cId="2340766357" sldId="2147379106"/>
        </pc:sldMkLst>
      </pc:sldChg>
      <pc:sldChg chg="del">
        <pc:chgData name="Marie-Laure Mauborgne" userId="717f1e20-c968-4716-94d0-7143ffa6b39a" providerId="ADAL" clId="{FF3342EC-F74B-47A2-B8F8-E74622A8CE81}" dt="2023-06-12T07:30:43.475" v="0" actId="47"/>
        <pc:sldMkLst>
          <pc:docMk/>
          <pc:sldMk cId="4086478515" sldId="2147379107"/>
        </pc:sldMkLst>
      </pc:sldChg>
      <pc:sldChg chg="del">
        <pc:chgData name="Marie-Laure Mauborgne" userId="717f1e20-c968-4716-94d0-7143ffa6b39a" providerId="ADAL" clId="{FF3342EC-F74B-47A2-B8F8-E74622A8CE81}" dt="2023-06-12T07:30:43.475" v="0" actId="47"/>
        <pc:sldMkLst>
          <pc:docMk/>
          <pc:sldMk cId="1347709972" sldId="2147379108"/>
        </pc:sldMkLst>
      </pc:sldChg>
      <pc:sldChg chg="del">
        <pc:chgData name="Marie-Laure Mauborgne" userId="717f1e20-c968-4716-94d0-7143ffa6b39a" providerId="ADAL" clId="{FF3342EC-F74B-47A2-B8F8-E74622A8CE81}" dt="2023-06-12T07:30:43.475" v="0" actId="47"/>
        <pc:sldMkLst>
          <pc:docMk/>
          <pc:sldMk cId="2220629317" sldId="2147379110"/>
        </pc:sldMkLst>
      </pc:sldChg>
      <pc:sldChg chg="del">
        <pc:chgData name="Marie-Laure Mauborgne" userId="717f1e20-c968-4716-94d0-7143ffa6b39a" providerId="ADAL" clId="{FF3342EC-F74B-47A2-B8F8-E74622A8CE81}" dt="2023-06-12T07:30:43.475" v="0" actId="47"/>
        <pc:sldMkLst>
          <pc:docMk/>
          <pc:sldMk cId="3435401549" sldId="2147379111"/>
        </pc:sldMkLst>
      </pc:sldChg>
      <pc:sldChg chg="del">
        <pc:chgData name="Marie-Laure Mauborgne" userId="717f1e20-c968-4716-94d0-7143ffa6b39a" providerId="ADAL" clId="{FF3342EC-F74B-47A2-B8F8-E74622A8CE81}" dt="2023-06-12T07:30:43.475" v="0" actId="47"/>
        <pc:sldMkLst>
          <pc:docMk/>
          <pc:sldMk cId="889586708" sldId="2147379112"/>
        </pc:sldMkLst>
      </pc:sldChg>
      <pc:sldChg chg="del">
        <pc:chgData name="Marie-Laure Mauborgne" userId="717f1e20-c968-4716-94d0-7143ffa6b39a" providerId="ADAL" clId="{FF3342EC-F74B-47A2-B8F8-E74622A8CE81}" dt="2023-06-12T07:30:43.475" v="0" actId="47"/>
        <pc:sldMkLst>
          <pc:docMk/>
          <pc:sldMk cId="3295041951" sldId="2147379113"/>
        </pc:sldMkLst>
      </pc:sldChg>
      <pc:sldMasterChg chg="delSldLayout">
        <pc:chgData name="Marie-Laure Mauborgne" userId="717f1e20-c968-4716-94d0-7143ffa6b39a" providerId="ADAL" clId="{FF3342EC-F74B-47A2-B8F8-E74622A8CE81}" dt="2023-06-12T07:30:43.475" v="0" actId="47"/>
        <pc:sldMasterMkLst>
          <pc:docMk/>
          <pc:sldMasterMk cId="3244311322" sldId="2147483714"/>
        </pc:sldMasterMkLst>
        <pc:sldLayoutChg chg="del">
          <pc:chgData name="Marie-Laure Mauborgne" userId="717f1e20-c968-4716-94d0-7143ffa6b39a" providerId="ADAL" clId="{FF3342EC-F74B-47A2-B8F8-E74622A8CE81}" dt="2023-06-12T07:30:43.475" v="0" actId="47"/>
          <pc:sldLayoutMkLst>
            <pc:docMk/>
            <pc:sldMasterMk cId="3244311322" sldId="2147483714"/>
            <pc:sldLayoutMk cId="2465667828" sldId="2147483953"/>
          </pc:sldLayoutMkLst>
        </pc:sldLayoutChg>
      </pc:sldMasterChg>
    </pc:docChg>
  </pc:docChgLst>
  <pc:docChgLst>
    <pc:chgData name="Marie-Laure Mauborgne" userId="717f1e20-c968-4716-94d0-7143ffa6b39a" providerId="ADAL" clId="{F6562448-8D8D-4D52-B7E4-BE0BF726B920}"/>
    <pc:docChg chg="custSel addSld delSld modSld">
      <pc:chgData name="Marie-Laure Mauborgne" userId="717f1e20-c968-4716-94d0-7143ffa6b39a" providerId="ADAL" clId="{F6562448-8D8D-4D52-B7E4-BE0BF726B920}" dt="2023-06-05T09:28:05.530" v="1028" actId="555"/>
      <pc:docMkLst>
        <pc:docMk/>
      </pc:docMkLst>
      <pc:sldChg chg="modSp mod">
        <pc:chgData name="Marie-Laure Mauborgne" userId="717f1e20-c968-4716-94d0-7143ffa6b39a" providerId="ADAL" clId="{F6562448-8D8D-4D52-B7E4-BE0BF726B920}" dt="2023-06-05T08:36:41.563" v="472" actId="20577"/>
        <pc:sldMkLst>
          <pc:docMk/>
          <pc:sldMk cId="2420150595" sldId="258"/>
        </pc:sldMkLst>
        <pc:spChg chg="mod">
          <ac:chgData name="Marie-Laure Mauborgne" userId="717f1e20-c968-4716-94d0-7143ffa6b39a" providerId="ADAL" clId="{F6562448-8D8D-4D52-B7E4-BE0BF726B920}" dt="2023-06-05T08:36:41.563" v="472" actId="20577"/>
          <ac:spMkLst>
            <pc:docMk/>
            <pc:sldMk cId="2420150595" sldId="258"/>
            <ac:spMk id="2" creationId="{C7020F9D-11DF-AD19-073F-0B0A151FCB5D}"/>
          </ac:spMkLst>
        </pc:spChg>
        <pc:spChg chg="mod">
          <ac:chgData name="Marie-Laure Mauborgne" userId="717f1e20-c968-4716-94d0-7143ffa6b39a" providerId="ADAL" clId="{F6562448-8D8D-4D52-B7E4-BE0BF726B920}" dt="2023-06-05T08:36:34.242" v="471" actId="20577"/>
          <ac:spMkLst>
            <pc:docMk/>
            <pc:sldMk cId="2420150595" sldId="258"/>
            <ac:spMk id="3" creationId="{AF53F737-FA67-28C2-6E14-887F58F30B5C}"/>
          </ac:spMkLst>
        </pc:spChg>
      </pc:sldChg>
      <pc:sldChg chg="modSp mod">
        <pc:chgData name="Marie-Laure Mauborgne" userId="717f1e20-c968-4716-94d0-7143ffa6b39a" providerId="ADAL" clId="{F6562448-8D8D-4D52-B7E4-BE0BF726B920}" dt="2023-06-05T08:10:00.260" v="5" actId="20577"/>
        <pc:sldMkLst>
          <pc:docMk/>
          <pc:sldMk cId="2901120980" sldId="376"/>
        </pc:sldMkLst>
        <pc:spChg chg="mod">
          <ac:chgData name="Marie-Laure Mauborgne" userId="717f1e20-c968-4716-94d0-7143ffa6b39a" providerId="ADAL" clId="{F6562448-8D8D-4D52-B7E4-BE0BF726B920}" dt="2023-06-05T08:10:00.260" v="5" actId="20577"/>
          <ac:spMkLst>
            <pc:docMk/>
            <pc:sldMk cId="2901120980" sldId="376"/>
            <ac:spMk id="29" creationId="{D94D551C-8BEC-0F0D-DF59-8B144760F0CF}"/>
          </ac:spMkLst>
        </pc:spChg>
      </pc:sldChg>
      <pc:sldChg chg="addSp modSp mod">
        <pc:chgData name="Marie-Laure Mauborgne" userId="717f1e20-c968-4716-94d0-7143ffa6b39a" providerId="ADAL" clId="{F6562448-8D8D-4D52-B7E4-BE0BF726B920}" dt="2023-06-05T08:14:25.400" v="74" actId="1076"/>
        <pc:sldMkLst>
          <pc:docMk/>
          <pc:sldMk cId="1160698084" sldId="682"/>
        </pc:sldMkLst>
        <pc:spChg chg="mod">
          <ac:chgData name="Marie-Laure Mauborgne" userId="717f1e20-c968-4716-94d0-7143ffa6b39a" providerId="ADAL" clId="{F6562448-8D8D-4D52-B7E4-BE0BF726B920}" dt="2023-06-05T08:13:53.591" v="60" actId="404"/>
          <ac:spMkLst>
            <pc:docMk/>
            <pc:sldMk cId="1160698084" sldId="682"/>
            <ac:spMk id="2" creationId="{3B424575-0BD0-6012-7B55-4D9883A8CD8D}"/>
          </ac:spMkLst>
        </pc:spChg>
        <pc:spChg chg="add mod">
          <ac:chgData name="Marie-Laure Mauborgne" userId="717f1e20-c968-4716-94d0-7143ffa6b39a" providerId="ADAL" clId="{F6562448-8D8D-4D52-B7E4-BE0BF726B920}" dt="2023-06-05T08:14:25.400" v="74" actId="1076"/>
          <ac:spMkLst>
            <pc:docMk/>
            <pc:sldMk cId="1160698084" sldId="682"/>
            <ac:spMk id="10" creationId="{94E44145-D4DF-1060-04F0-C973F3F05369}"/>
          </ac:spMkLst>
        </pc:spChg>
      </pc:sldChg>
      <pc:sldChg chg="addSp modSp mod">
        <pc:chgData name="Marie-Laure Mauborgne" userId="717f1e20-c968-4716-94d0-7143ffa6b39a" providerId="ADAL" clId="{F6562448-8D8D-4D52-B7E4-BE0BF726B920}" dt="2023-06-05T08:14:33.366" v="76" actId="1076"/>
        <pc:sldMkLst>
          <pc:docMk/>
          <pc:sldMk cId="2155701121" sldId="683"/>
        </pc:sldMkLst>
        <pc:spChg chg="mod">
          <ac:chgData name="Marie-Laure Mauborgne" userId="717f1e20-c968-4716-94d0-7143ffa6b39a" providerId="ADAL" clId="{F6562448-8D8D-4D52-B7E4-BE0BF726B920}" dt="2023-06-05T08:14:01.647" v="61" actId="404"/>
          <ac:spMkLst>
            <pc:docMk/>
            <pc:sldMk cId="2155701121" sldId="683"/>
            <ac:spMk id="2" creationId="{D28891A1-9AC6-F162-318C-199273484D20}"/>
          </ac:spMkLst>
        </pc:spChg>
        <pc:spChg chg="add mod">
          <ac:chgData name="Marie-Laure Mauborgne" userId="717f1e20-c968-4716-94d0-7143ffa6b39a" providerId="ADAL" clId="{F6562448-8D8D-4D52-B7E4-BE0BF726B920}" dt="2023-06-05T08:14:33.366" v="76" actId="1076"/>
          <ac:spMkLst>
            <pc:docMk/>
            <pc:sldMk cId="2155701121" sldId="683"/>
            <ac:spMk id="23" creationId="{CEBA5CF2-7841-4BD8-DCF3-72336D786620}"/>
          </ac:spMkLst>
        </pc:spChg>
      </pc:sldChg>
      <pc:sldChg chg="addSp modSp mod">
        <pc:chgData name="Marie-Laure Mauborgne" userId="717f1e20-c968-4716-94d0-7143ffa6b39a" providerId="ADAL" clId="{F6562448-8D8D-4D52-B7E4-BE0BF726B920}" dt="2023-06-05T08:14:39.060" v="78" actId="1076"/>
        <pc:sldMkLst>
          <pc:docMk/>
          <pc:sldMk cId="2537473705" sldId="684"/>
        </pc:sldMkLst>
        <pc:spChg chg="mod">
          <ac:chgData name="Marie-Laure Mauborgne" userId="717f1e20-c968-4716-94d0-7143ffa6b39a" providerId="ADAL" clId="{F6562448-8D8D-4D52-B7E4-BE0BF726B920}" dt="2023-06-05T08:14:06.689" v="62" actId="404"/>
          <ac:spMkLst>
            <pc:docMk/>
            <pc:sldMk cId="2537473705" sldId="684"/>
            <ac:spMk id="2" creationId="{101AF34F-754F-6D34-6496-C8E1BA74AB91}"/>
          </ac:spMkLst>
        </pc:spChg>
        <pc:spChg chg="add mod">
          <ac:chgData name="Marie-Laure Mauborgne" userId="717f1e20-c968-4716-94d0-7143ffa6b39a" providerId="ADAL" clId="{F6562448-8D8D-4D52-B7E4-BE0BF726B920}" dt="2023-06-05T08:14:39.060" v="78" actId="1076"/>
          <ac:spMkLst>
            <pc:docMk/>
            <pc:sldMk cId="2537473705" sldId="684"/>
            <ac:spMk id="19" creationId="{FF78CACE-ACC4-E81E-EF32-CB9D04DC75E0}"/>
          </ac:spMkLst>
        </pc:spChg>
      </pc:sldChg>
      <pc:sldChg chg="modSp mod">
        <pc:chgData name="Marie-Laure Mauborgne" userId="717f1e20-c968-4716-94d0-7143ffa6b39a" providerId="ADAL" clId="{F6562448-8D8D-4D52-B7E4-BE0BF726B920}" dt="2023-06-05T08:13:28.141" v="58" actId="14100"/>
        <pc:sldMkLst>
          <pc:docMk/>
          <pc:sldMk cId="1210725577" sldId="2134804516"/>
        </pc:sldMkLst>
        <pc:spChg chg="mod">
          <ac:chgData name="Marie-Laure Mauborgne" userId="717f1e20-c968-4716-94d0-7143ffa6b39a" providerId="ADAL" clId="{F6562448-8D8D-4D52-B7E4-BE0BF726B920}" dt="2023-06-05T08:13:28.141" v="58" actId="14100"/>
          <ac:spMkLst>
            <pc:docMk/>
            <pc:sldMk cId="1210725577" sldId="2134804516"/>
            <ac:spMk id="5" creationId="{5A62E944-D4C5-2836-4462-2040F23EA5A9}"/>
          </ac:spMkLst>
        </pc:spChg>
      </pc:sldChg>
      <pc:sldChg chg="modSp mod">
        <pc:chgData name="Marie-Laure Mauborgne" userId="717f1e20-c968-4716-94d0-7143ffa6b39a" providerId="ADAL" clId="{F6562448-8D8D-4D52-B7E4-BE0BF726B920}" dt="2023-06-05T08:38:52.680" v="542" actId="20577"/>
        <pc:sldMkLst>
          <pc:docMk/>
          <pc:sldMk cId="4195000952" sldId="2134804517"/>
        </pc:sldMkLst>
        <pc:spChg chg="mod">
          <ac:chgData name="Marie-Laure Mauborgne" userId="717f1e20-c968-4716-94d0-7143ffa6b39a" providerId="ADAL" clId="{F6562448-8D8D-4D52-B7E4-BE0BF726B920}" dt="2023-06-05T08:38:52.680" v="542" actId="20577"/>
          <ac:spMkLst>
            <pc:docMk/>
            <pc:sldMk cId="4195000952" sldId="2134804517"/>
            <ac:spMk id="4" creationId="{13153CB3-A442-6CE0-C1CC-7E16820149E1}"/>
          </ac:spMkLst>
        </pc:spChg>
      </pc:sldChg>
      <pc:sldChg chg="modSp mod">
        <pc:chgData name="Marie-Laure Mauborgne" userId="717f1e20-c968-4716-94d0-7143ffa6b39a" providerId="ADAL" clId="{F6562448-8D8D-4D52-B7E4-BE0BF726B920}" dt="2023-06-05T08:09:34.767" v="0" actId="20577"/>
        <pc:sldMkLst>
          <pc:docMk/>
          <pc:sldMk cId="3818289999" sldId="2147378829"/>
        </pc:sldMkLst>
        <pc:spChg chg="mod">
          <ac:chgData name="Marie-Laure Mauborgne" userId="717f1e20-c968-4716-94d0-7143ffa6b39a" providerId="ADAL" clId="{F6562448-8D8D-4D52-B7E4-BE0BF726B920}" dt="2023-06-05T08:09:34.767" v="0" actId="20577"/>
          <ac:spMkLst>
            <pc:docMk/>
            <pc:sldMk cId="3818289999" sldId="2147378829"/>
            <ac:spMk id="3" creationId="{3FC3C927-A29C-CF9E-EAF9-CA301F0A2722}"/>
          </ac:spMkLst>
        </pc:spChg>
      </pc:sldChg>
      <pc:sldChg chg="modSp mod">
        <pc:chgData name="Marie-Laure Mauborgne" userId="717f1e20-c968-4716-94d0-7143ffa6b39a" providerId="ADAL" clId="{F6562448-8D8D-4D52-B7E4-BE0BF726B920}" dt="2023-06-05T08:10:08.980" v="18" actId="14100"/>
        <pc:sldMkLst>
          <pc:docMk/>
          <pc:sldMk cId="3693928197" sldId="2147379066"/>
        </pc:sldMkLst>
        <pc:spChg chg="mod">
          <ac:chgData name="Marie-Laure Mauborgne" userId="717f1e20-c968-4716-94d0-7143ffa6b39a" providerId="ADAL" clId="{F6562448-8D8D-4D52-B7E4-BE0BF726B920}" dt="2023-06-05T08:10:08.980" v="18" actId="14100"/>
          <ac:spMkLst>
            <pc:docMk/>
            <pc:sldMk cId="3693928197" sldId="2147379066"/>
            <ac:spMk id="14" creationId="{78CA0DEC-7D7E-8ADA-9A19-EB06FF2EE95C}"/>
          </ac:spMkLst>
        </pc:spChg>
      </pc:sldChg>
      <pc:sldChg chg="modSp">
        <pc:chgData name="Marie-Laure Mauborgne" userId="717f1e20-c968-4716-94d0-7143ffa6b39a" providerId="ADAL" clId="{F6562448-8D8D-4D52-B7E4-BE0BF726B920}" dt="2023-06-05T08:10:23.226" v="19" actId="20577"/>
        <pc:sldMkLst>
          <pc:docMk/>
          <pc:sldMk cId="116588017" sldId="2147379067"/>
        </pc:sldMkLst>
        <pc:spChg chg="mod">
          <ac:chgData name="Marie-Laure Mauborgne" userId="717f1e20-c968-4716-94d0-7143ffa6b39a" providerId="ADAL" clId="{F6562448-8D8D-4D52-B7E4-BE0BF726B920}" dt="2023-06-05T08:10:23.226" v="19" actId="20577"/>
          <ac:spMkLst>
            <pc:docMk/>
            <pc:sldMk cId="116588017" sldId="2147379067"/>
            <ac:spMk id="6" creationId="{63574BD4-22AA-D4CF-08DA-BE94ADAE9E4B}"/>
          </ac:spMkLst>
        </pc:spChg>
      </pc:sldChg>
      <pc:sldChg chg="addSp delSp modSp mod">
        <pc:chgData name="Marie-Laure Mauborgne" userId="717f1e20-c968-4716-94d0-7143ffa6b39a" providerId="ADAL" clId="{F6562448-8D8D-4D52-B7E4-BE0BF726B920}" dt="2023-06-05T08:15:20.907" v="82" actId="207"/>
        <pc:sldMkLst>
          <pc:docMk/>
          <pc:sldMk cId="1561764277" sldId="2147379068"/>
        </pc:sldMkLst>
        <pc:spChg chg="add del mod">
          <ac:chgData name="Marie-Laure Mauborgne" userId="717f1e20-c968-4716-94d0-7143ffa6b39a" providerId="ADAL" clId="{F6562448-8D8D-4D52-B7E4-BE0BF726B920}" dt="2023-06-05T08:14:48.691" v="81" actId="478"/>
          <ac:spMkLst>
            <pc:docMk/>
            <pc:sldMk cId="1561764277" sldId="2147379068"/>
            <ac:spMk id="2" creationId="{41D4C9CE-9103-796C-3178-6CDE36E2CFAA}"/>
          </ac:spMkLst>
        </pc:spChg>
        <pc:spChg chg="mod">
          <ac:chgData name="Marie-Laure Mauborgne" userId="717f1e20-c968-4716-94d0-7143ffa6b39a" providerId="ADAL" clId="{F6562448-8D8D-4D52-B7E4-BE0BF726B920}" dt="2023-06-05T08:15:20.907" v="82" actId="207"/>
          <ac:spMkLst>
            <pc:docMk/>
            <pc:sldMk cId="1561764277" sldId="2147379068"/>
            <ac:spMk id="5" creationId="{3A40F4A4-95E0-A5BF-5F46-992D87D30B55}"/>
          </ac:spMkLst>
        </pc:spChg>
      </pc:sldChg>
      <pc:sldChg chg="modSp mod">
        <pc:chgData name="Marie-Laure Mauborgne" userId="717f1e20-c968-4716-94d0-7143ffa6b39a" providerId="ADAL" clId="{F6562448-8D8D-4D52-B7E4-BE0BF726B920}" dt="2023-06-05T08:22:37.854" v="232" actId="313"/>
        <pc:sldMkLst>
          <pc:docMk/>
          <pc:sldMk cId="3328898619" sldId="2147379082"/>
        </pc:sldMkLst>
        <pc:spChg chg="mod">
          <ac:chgData name="Marie-Laure Mauborgne" userId="717f1e20-c968-4716-94d0-7143ffa6b39a" providerId="ADAL" clId="{F6562448-8D8D-4D52-B7E4-BE0BF726B920}" dt="2023-06-05T08:22:37.854" v="232" actId="313"/>
          <ac:spMkLst>
            <pc:docMk/>
            <pc:sldMk cId="3328898619" sldId="2147379082"/>
            <ac:spMk id="8" creationId="{4E8F12E2-067A-63C1-4E29-C69C8C3BDA1B}"/>
          </ac:spMkLst>
        </pc:spChg>
      </pc:sldChg>
      <pc:sldChg chg="addSp delSp modSp mod">
        <pc:chgData name="Marie-Laure Mauborgne" userId="717f1e20-c968-4716-94d0-7143ffa6b39a" providerId="ADAL" clId="{F6562448-8D8D-4D52-B7E4-BE0BF726B920}" dt="2023-06-05T08:24:13.473" v="265" actId="1076"/>
        <pc:sldMkLst>
          <pc:docMk/>
          <pc:sldMk cId="3632043873" sldId="2147379083"/>
        </pc:sldMkLst>
        <pc:spChg chg="add mod">
          <ac:chgData name="Marie-Laure Mauborgne" userId="717f1e20-c968-4716-94d0-7143ffa6b39a" providerId="ADAL" clId="{F6562448-8D8D-4D52-B7E4-BE0BF726B920}" dt="2023-06-05T08:24:06.958" v="262" actId="1076"/>
          <ac:spMkLst>
            <pc:docMk/>
            <pc:sldMk cId="3632043873" sldId="2147379083"/>
            <ac:spMk id="8" creationId="{56797522-E961-DE13-4584-1D421200D938}"/>
          </ac:spMkLst>
        </pc:spChg>
        <pc:spChg chg="add del mod">
          <ac:chgData name="Marie-Laure Mauborgne" userId="717f1e20-c968-4716-94d0-7143ffa6b39a" providerId="ADAL" clId="{F6562448-8D8D-4D52-B7E4-BE0BF726B920}" dt="2023-06-05T08:24:09.506" v="263" actId="478"/>
          <ac:spMkLst>
            <pc:docMk/>
            <pc:sldMk cId="3632043873" sldId="2147379083"/>
            <ac:spMk id="9" creationId="{4B3B1BB6-C381-66BD-9DF5-AB36714447D7}"/>
          </ac:spMkLst>
        </pc:spChg>
        <pc:spChg chg="add mod">
          <ac:chgData name="Marie-Laure Mauborgne" userId="717f1e20-c968-4716-94d0-7143ffa6b39a" providerId="ADAL" clId="{F6562448-8D8D-4D52-B7E4-BE0BF726B920}" dt="2023-06-05T08:24:13.473" v="265" actId="1076"/>
          <ac:spMkLst>
            <pc:docMk/>
            <pc:sldMk cId="3632043873" sldId="2147379083"/>
            <ac:spMk id="11" creationId="{A77687EF-B005-FDFE-4011-511157534886}"/>
          </ac:spMkLst>
        </pc:spChg>
      </pc:sldChg>
      <pc:sldChg chg="modSp mod">
        <pc:chgData name="Marie-Laure Mauborgne" userId="717f1e20-c968-4716-94d0-7143ffa6b39a" providerId="ADAL" clId="{F6562448-8D8D-4D52-B7E4-BE0BF726B920}" dt="2023-06-05T08:24:29.313" v="270" actId="20577"/>
        <pc:sldMkLst>
          <pc:docMk/>
          <pc:sldMk cId="4151024472" sldId="2147379084"/>
        </pc:sldMkLst>
        <pc:spChg chg="mod">
          <ac:chgData name="Marie-Laure Mauborgne" userId="717f1e20-c968-4716-94d0-7143ffa6b39a" providerId="ADAL" clId="{F6562448-8D8D-4D52-B7E4-BE0BF726B920}" dt="2023-06-05T08:24:29.313" v="270" actId="20577"/>
          <ac:spMkLst>
            <pc:docMk/>
            <pc:sldMk cId="4151024472" sldId="2147379084"/>
            <ac:spMk id="3" creationId="{88673019-C630-09A3-5AFA-E0E0E00D8314}"/>
          </ac:spMkLst>
        </pc:spChg>
      </pc:sldChg>
      <pc:sldChg chg="addSp modSp mod">
        <pc:chgData name="Marie-Laure Mauborgne" userId="717f1e20-c968-4716-94d0-7143ffa6b39a" providerId="ADAL" clId="{F6562448-8D8D-4D52-B7E4-BE0BF726B920}" dt="2023-06-05T09:14:53.221" v="1019" actId="20577"/>
        <pc:sldMkLst>
          <pc:docMk/>
          <pc:sldMk cId="883234647" sldId="2147379086"/>
        </pc:sldMkLst>
        <pc:spChg chg="mod">
          <ac:chgData name="Marie-Laure Mauborgne" userId="717f1e20-c968-4716-94d0-7143ffa6b39a" providerId="ADAL" clId="{F6562448-8D8D-4D52-B7E4-BE0BF726B920}" dt="2023-06-05T09:14:53.221" v="1019" actId="20577"/>
          <ac:spMkLst>
            <pc:docMk/>
            <pc:sldMk cId="883234647" sldId="2147379086"/>
            <ac:spMk id="2" creationId="{CF7D2C97-EF12-ED2B-0E63-353148D8625D}"/>
          </ac:spMkLst>
        </pc:spChg>
        <pc:spChg chg="add mod">
          <ac:chgData name="Marie-Laure Mauborgne" userId="717f1e20-c968-4716-94d0-7143ffa6b39a" providerId="ADAL" clId="{F6562448-8D8D-4D52-B7E4-BE0BF726B920}" dt="2023-06-05T09:11:03.004" v="909" actId="1036"/>
          <ac:spMkLst>
            <pc:docMk/>
            <pc:sldMk cId="883234647" sldId="2147379086"/>
            <ac:spMk id="6" creationId="{23EAC5F9-B202-187E-6B2A-6153A4DB7F0D}"/>
          </ac:spMkLst>
        </pc:spChg>
        <pc:spChg chg="add mod">
          <ac:chgData name="Marie-Laure Mauborgne" userId="717f1e20-c968-4716-94d0-7143ffa6b39a" providerId="ADAL" clId="{F6562448-8D8D-4D52-B7E4-BE0BF726B920}" dt="2023-06-05T09:11:34.980" v="918" actId="20577"/>
          <ac:spMkLst>
            <pc:docMk/>
            <pc:sldMk cId="883234647" sldId="2147379086"/>
            <ac:spMk id="13" creationId="{3546410B-AC72-3DF5-A8E2-C6D34E661DDF}"/>
          </ac:spMkLst>
        </pc:spChg>
        <pc:spChg chg="add mod">
          <ac:chgData name="Marie-Laure Mauborgne" userId="717f1e20-c968-4716-94d0-7143ffa6b39a" providerId="ADAL" clId="{F6562448-8D8D-4D52-B7E4-BE0BF726B920}" dt="2023-06-05T09:11:38.760" v="923" actId="20577"/>
          <ac:spMkLst>
            <pc:docMk/>
            <pc:sldMk cId="883234647" sldId="2147379086"/>
            <ac:spMk id="14" creationId="{8180C168-2A5C-0252-A254-9F4AB78869A6}"/>
          </ac:spMkLst>
        </pc:spChg>
        <pc:spChg chg="add mod">
          <ac:chgData name="Marie-Laure Mauborgne" userId="717f1e20-c968-4716-94d0-7143ffa6b39a" providerId="ADAL" clId="{F6562448-8D8D-4D52-B7E4-BE0BF726B920}" dt="2023-06-05T09:11:45.637" v="933" actId="14100"/>
          <ac:spMkLst>
            <pc:docMk/>
            <pc:sldMk cId="883234647" sldId="2147379086"/>
            <ac:spMk id="15" creationId="{6C1E2A79-E206-FD04-5B0D-BDB6BC9BE217}"/>
          </ac:spMkLst>
        </pc:spChg>
        <pc:spChg chg="add mod">
          <ac:chgData name="Marie-Laure Mauborgne" userId="717f1e20-c968-4716-94d0-7143ffa6b39a" providerId="ADAL" clId="{F6562448-8D8D-4D52-B7E4-BE0BF726B920}" dt="2023-06-05T09:12:02.878" v="945" actId="1076"/>
          <ac:spMkLst>
            <pc:docMk/>
            <pc:sldMk cId="883234647" sldId="2147379086"/>
            <ac:spMk id="16" creationId="{DB87C461-DACF-A335-EDAD-0177CF7FBA22}"/>
          </ac:spMkLst>
        </pc:spChg>
        <pc:spChg chg="add mod">
          <ac:chgData name="Marie-Laure Mauborgne" userId="717f1e20-c968-4716-94d0-7143ffa6b39a" providerId="ADAL" clId="{F6562448-8D8D-4D52-B7E4-BE0BF726B920}" dt="2023-06-05T09:12:14.692" v="956" actId="1076"/>
          <ac:spMkLst>
            <pc:docMk/>
            <pc:sldMk cId="883234647" sldId="2147379086"/>
            <ac:spMk id="17" creationId="{314C5852-68C5-17A0-5007-CEE4FE20C728}"/>
          </ac:spMkLst>
        </pc:spChg>
        <pc:spChg chg="add mod">
          <ac:chgData name="Marie-Laure Mauborgne" userId="717f1e20-c968-4716-94d0-7143ffa6b39a" providerId="ADAL" clId="{F6562448-8D8D-4D52-B7E4-BE0BF726B920}" dt="2023-06-05T09:12:43.290" v="971" actId="122"/>
          <ac:spMkLst>
            <pc:docMk/>
            <pc:sldMk cId="883234647" sldId="2147379086"/>
            <ac:spMk id="18" creationId="{C4C8D1F9-1260-00A6-11F4-E2A2CF92FB7B}"/>
          </ac:spMkLst>
        </pc:spChg>
        <pc:spChg chg="add mod">
          <ac:chgData name="Marie-Laure Mauborgne" userId="717f1e20-c968-4716-94d0-7143ffa6b39a" providerId="ADAL" clId="{F6562448-8D8D-4D52-B7E4-BE0BF726B920}" dt="2023-06-05T09:13:33.721" v="990" actId="1076"/>
          <ac:spMkLst>
            <pc:docMk/>
            <pc:sldMk cId="883234647" sldId="2147379086"/>
            <ac:spMk id="19" creationId="{ED9F5909-05E0-B3C3-FCA7-D1056D1EF9DD}"/>
          </ac:spMkLst>
        </pc:spChg>
        <pc:spChg chg="add mod">
          <ac:chgData name="Marie-Laure Mauborgne" userId="717f1e20-c968-4716-94d0-7143ffa6b39a" providerId="ADAL" clId="{F6562448-8D8D-4D52-B7E4-BE0BF726B920}" dt="2023-06-05T09:13:22.439" v="984" actId="1076"/>
          <ac:spMkLst>
            <pc:docMk/>
            <pc:sldMk cId="883234647" sldId="2147379086"/>
            <ac:spMk id="20" creationId="{0860F2B0-5873-437A-F6B0-5A6CF9EC2C6F}"/>
          </ac:spMkLst>
        </pc:spChg>
        <pc:spChg chg="add mod">
          <ac:chgData name="Marie-Laure Mauborgne" userId="717f1e20-c968-4716-94d0-7143ffa6b39a" providerId="ADAL" clId="{F6562448-8D8D-4D52-B7E4-BE0BF726B920}" dt="2023-06-05T09:13:09.376" v="981" actId="1036"/>
          <ac:spMkLst>
            <pc:docMk/>
            <pc:sldMk cId="883234647" sldId="2147379086"/>
            <ac:spMk id="21" creationId="{B702454D-116E-3FBA-039C-BAE47FA2B803}"/>
          </ac:spMkLst>
        </pc:spChg>
        <pc:spChg chg="add mod">
          <ac:chgData name="Marie-Laure Mauborgne" userId="717f1e20-c968-4716-94d0-7143ffa6b39a" providerId="ADAL" clId="{F6562448-8D8D-4D52-B7E4-BE0BF726B920}" dt="2023-06-05T09:13:01.946" v="978" actId="1076"/>
          <ac:spMkLst>
            <pc:docMk/>
            <pc:sldMk cId="883234647" sldId="2147379086"/>
            <ac:spMk id="22" creationId="{90152F2D-3ADB-8C5E-DF2D-A123F7A501CE}"/>
          </ac:spMkLst>
        </pc:spChg>
        <pc:spChg chg="add mod">
          <ac:chgData name="Marie-Laure Mauborgne" userId="717f1e20-c968-4716-94d0-7143ffa6b39a" providerId="ADAL" clId="{F6562448-8D8D-4D52-B7E4-BE0BF726B920}" dt="2023-06-05T09:12:54.907" v="977" actId="1076"/>
          <ac:spMkLst>
            <pc:docMk/>
            <pc:sldMk cId="883234647" sldId="2147379086"/>
            <ac:spMk id="23" creationId="{1E0E05CE-67B6-21E1-4B6C-AF1DF9A3FEFA}"/>
          </ac:spMkLst>
        </pc:spChg>
        <pc:spChg chg="add mod">
          <ac:chgData name="Marie-Laure Mauborgne" userId="717f1e20-c968-4716-94d0-7143ffa6b39a" providerId="ADAL" clId="{F6562448-8D8D-4D52-B7E4-BE0BF726B920}" dt="2023-06-05T09:13:17.038" v="983" actId="1076"/>
          <ac:spMkLst>
            <pc:docMk/>
            <pc:sldMk cId="883234647" sldId="2147379086"/>
            <ac:spMk id="24" creationId="{0F166EBE-8323-85EF-F2BB-E04ECFE66EA7}"/>
          </ac:spMkLst>
        </pc:spChg>
        <pc:spChg chg="add mod">
          <ac:chgData name="Marie-Laure Mauborgne" userId="717f1e20-c968-4716-94d0-7143ffa6b39a" providerId="ADAL" clId="{F6562448-8D8D-4D52-B7E4-BE0BF726B920}" dt="2023-06-05T09:14:22.608" v="1015" actId="1076"/>
          <ac:spMkLst>
            <pc:docMk/>
            <pc:sldMk cId="883234647" sldId="2147379086"/>
            <ac:spMk id="25" creationId="{69ADB8B2-9E6B-6547-BE21-8064719069D8}"/>
          </ac:spMkLst>
        </pc:spChg>
        <pc:spChg chg="add mod">
          <ac:chgData name="Marie-Laure Mauborgne" userId="717f1e20-c968-4716-94d0-7143ffa6b39a" providerId="ADAL" clId="{F6562448-8D8D-4D52-B7E4-BE0BF726B920}" dt="2023-06-05T09:14:40.015" v="1017" actId="1038"/>
          <ac:spMkLst>
            <pc:docMk/>
            <pc:sldMk cId="883234647" sldId="2147379086"/>
            <ac:spMk id="26" creationId="{EF91C20F-4C0E-2C44-9ABB-CAC8587B541A}"/>
          </ac:spMkLst>
        </pc:spChg>
        <pc:spChg chg="add mod">
          <ac:chgData name="Marie-Laure Mauborgne" userId="717f1e20-c968-4716-94d0-7143ffa6b39a" providerId="ADAL" clId="{F6562448-8D8D-4D52-B7E4-BE0BF726B920}" dt="2023-06-05T09:14:50.665" v="1018" actId="1076"/>
          <ac:spMkLst>
            <pc:docMk/>
            <pc:sldMk cId="883234647" sldId="2147379086"/>
            <ac:spMk id="27" creationId="{A12EEAB1-BA75-0733-E112-1AF88F2AB722}"/>
          </ac:spMkLst>
        </pc:spChg>
        <pc:spChg chg="add mod">
          <ac:chgData name="Marie-Laure Mauborgne" userId="717f1e20-c968-4716-94d0-7143ffa6b39a" providerId="ADAL" clId="{F6562448-8D8D-4D52-B7E4-BE0BF726B920}" dt="2023-06-05T09:13:57.226" v="1001" actId="1076"/>
          <ac:spMkLst>
            <pc:docMk/>
            <pc:sldMk cId="883234647" sldId="2147379086"/>
            <ac:spMk id="28" creationId="{D3FE2BF6-9691-F76F-0D1A-79FA4F8D219F}"/>
          </ac:spMkLst>
        </pc:spChg>
        <pc:spChg chg="add mod">
          <ac:chgData name="Marie-Laure Mauborgne" userId="717f1e20-c968-4716-94d0-7143ffa6b39a" providerId="ADAL" clId="{F6562448-8D8D-4D52-B7E4-BE0BF726B920}" dt="2023-06-05T09:13:49.542" v="1000" actId="1038"/>
          <ac:spMkLst>
            <pc:docMk/>
            <pc:sldMk cId="883234647" sldId="2147379086"/>
            <ac:spMk id="29" creationId="{6A9ADB1D-7330-8178-054B-E62418B5D03E}"/>
          </ac:spMkLst>
        </pc:spChg>
      </pc:sldChg>
      <pc:sldChg chg="addSp modSp mod">
        <pc:chgData name="Marie-Laure Mauborgne" userId="717f1e20-c968-4716-94d0-7143ffa6b39a" providerId="ADAL" clId="{F6562448-8D8D-4D52-B7E4-BE0BF726B920}" dt="2023-06-05T08:18:39.610" v="99" actId="1076"/>
        <pc:sldMkLst>
          <pc:docMk/>
          <pc:sldMk cId="3895172893" sldId="2147379089"/>
        </pc:sldMkLst>
        <pc:spChg chg="mod">
          <ac:chgData name="Marie-Laure Mauborgne" userId="717f1e20-c968-4716-94d0-7143ffa6b39a" providerId="ADAL" clId="{F6562448-8D8D-4D52-B7E4-BE0BF726B920}" dt="2023-06-05T08:18:12.601" v="83" actId="113"/>
          <ac:spMkLst>
            <pc:docMk/>
            <pc:sldMk cId="3895172893" sldId="2147379089"/>
            <ac:spMk id="3" creationId="{14E69197-332B-73BF-9E10-CC5742E37865}"/>
          </ac:spMkLst>
        </pc:spChg>
        <pc:spChg chg="add mod">
          <ac:chgData name="Marie-Laure Mauborgne" userId="717f1e20-c968-4716-94d0-7143ffa6b39a" providerId="ADAL" clId="{F6562448-8D8D-4D52-B7E4-BE0BF726B920}" dt="2023-06-05T08:18:39.610" v="99" actId="1076"/>
          <ac:spMkLst>
            <pc:docMk/>
            <pc:sldMk cId="3895172893" sldId="2147379089"/>
            <ac:spMk id="6" creationId="{1323B281-2874-AF39-5C10-91CB1AAAC0CD}"/>
          </ac:spMkLst>
        </pc:spChg>
      </pc:sldChg>
      <pc:sldChg chg="addSp modSp mod">
        <pc:chgData name="Marie-Laure Mauborgne" userId="717f1e20-c968-4716-94d0-7143ffa6b39a" providerId="ADAL" clId="{F6562448-8D8D-4D52-B7E4-BE0BF726B920}" dt="2023-06-05T08:18:44.833" v="104" actId="20577"/>
        <pc:sldMkLst>
          <pc:docMk/>
          <pc:sldMk cId="2061760925" sldId="2147379090"/>
        </pc:sldMkLst>
        <pc:spChg chg="add mod">
          <ac:chgData name="Marie-Laure Mauborgne" userId="717f1e20-c968-4716-94d0-7143ffa6b39a" providerId="ADAL" clId="{F6562448-8D8D-4D52-B7E4-BE0BF726B920}" dt="2023-06-05T08:18:44.833" v="104" actId="20577"/>
          <ac:spMkLst>
            <pc:docMk/>
            <pc:sldMk cId="2061760925" sldId="2147379090"/>
            <ac:spMk id="6" creationId="{3291615E-CEBC-F918-13E9-B38C3CEAB2F3}"/>
          </ac:spMkLst>
        </pc:spChg>
      </pc:sldChg>
      <pc:sldChg chg="addSp modSp mod">
        <pc:chgData name="Marie-Laure Mauborgne" userId="717f1e20-c968-4716-94d0-7143ffa6b39a" providerId="ADAL" clId="{F6562448-8D8D-4D52-B7E4-BE0BF726B920}" dt="2023-06-05T08:19:30.076" v="114" actId="20577"/>
        <pc:sldMkLst>
          <pc:docMk/>
          <pc:sldMk cId="3140515209" sldId="2147379091"/>
        </pc:sldMkLst>
        <pc:spChg chg="add mod">
          <ac:chgData name="Marie-Laure Mauborgne" userId="717f1e20-c968-4716-94d0-7143ffa6b39a" providerId="ADAL" clId="{F6562448-8D8D-4D52-B7E4-BE0BF726B920}" dt="2023-06-05T08:19:30.076" v="114" actId="20577"/>
          <ac:spMkLst>
            <pc:docMk/>
            <pc:sldMk cId="3140515209" sldId="2147379091"/>
            <ac:spMk id="6" creationId="{FD78B88E-2067-A66A-3A18-B9AE254A781F}"/>
          </ac:spMkLst>
        </pc:spChg>
      </pc:sldChg>
      <pc:sldChg chg="addSp delSp modSp mod">
        <pc:chgData name="Marie-Laure Mauborgne" userId="717f1e20-c968-4716-94d0-7143ffa6b39a" providerId="ADAL" clId="{F6562448-8D8D-4D52-B7E4-BE0BF726B920}" dt="2023-06-05T08:59:40.766" v="645" actId="478"/>
        <pc:sldMkLst>
          <pc:docMk/>
          <pc:sldMk cId="1129929660" sldId="2147379092"/>
        </pc:sldMkLst>
        <pc:spChg chg="ord">
          <ac:chgData name="Marie-Laure Mauborgne" userId="717f1e20-c968-4716-94d0-7143ffa6b39a" providerId="ADAL" clId="{F6562448-8D8D-4D52-B7E4-BE0BF726B920}" dt="2023-06-05T08:55:34.994" v="618" actId="167"/>
          <ac:spMkLst>
            <pc:docMk/>
            <pc:sldMk cId="1129929660" sldId="2147379092"/>
            <ac:spMk id="3" creationId="{4C50BE51-7410-8898-32B7-CEAB0111C71B}"/>
          </ac:spMkLst>
        </pc:spChg>
        <pc:spChg chg="add mod">
          <ac:chgData name="Marie-Laure Mauborgne" userId="717f1e20-c968-4716-94d0-7143ffa6b39a" providerId="ADAL" clId="{F6562448-8D8D-4D52-B7E4-BE0BF726B920}" dt="2023-06-05T08:56:02.155" v="633" actId="14100"/>
          <ac:spMkLst>
            <pc:docMk/>
            <pc:sldMk cId="1129929660" sldId="2147379092"/>
            <ac:spMk id="6" creationId="{50FF22E7-E6A4-204C-FE58-36CA63176027}"/>
          </ac:spMkLst>
        </pc:spChg>
        <pc:picChg chg="add del mod">
          <ac:chgData name="Marie-Laure Mauborgne" userId="717f1e20-c968-4716-94d0-7143ffa6b39a" providerId="ADAL" clId="{F6562448-8D8D-4D52-B7E4-BE0BF726B920}" dt="2023-06-05T08:59:40.766" v="645" actId="478"/>
          <ac:picMkLst>
            <pc:docMk/>
            <pc:sldMk cId="1129929660" sldId="2147379092"/>
            <ac:picMk id="1026" creationId="{9D787C8A-C7BD-F167-5FD5-14A1F5D80E86}"/>
          </ac:picMkLst>
        </pc:picChg>
        <pc:picChg chg="add mod">
          <ac:chgData name="Marie-Laure Mauborgne" userId="717f1e20-c968-4716-94d0-7143ffa6b39a" providerId="ADAL" clId="{F6562448-8D8D-4D52-B7E4-BE0BF726B920}" dt="2023-06-05T08:59:38.802" v="644" actId="167"/>
          <ac:picMkLst>
            <pc:docMk/>
            <pc:sldMk cId="1129929660" sldId="2147379092"/>
            <ac:picMk id="1028" creationId="{5261AD7F-FF63-94E5-A16E-5DB5E1BD14B1}"/>
          </ac:picMkLst>
        </pc:picChg>
        <pc:picChg chg="del">
          <ac:chgData name="Marie-Laure Mauborgne" userId="717f1e20-c968-4716-94d0-7143ffa6b39a" providerId="ADAL" clId="{F6562448-8D8D-4D52-B7E4-BE0BF726B920}" dt="2023-06-05T08:55:37.360" v="619" actId="478"/>
          <ac:picMkLst>
            <pc:docMk/>
            <pc:sldMk cId="1129929660" sldId="2147379092"/>
            <ac:picMk id="6146" creationId="{30B812FC-B101-8E26-6C90-5EDC9AC19254}"/>
          </ac:picMkLst>
        </pc:picChg>
      </pc:sldChg>
      <pc:sldChg chg="modSp mod">
        <pc:chgData name="Marie-Laure Mauborgne" userId="717f1e20-c968-4716-94d0-7143ffa6b39a" providerId="ADAL" clId="{F6562448-8D8D-4D52-B7E4-BE0BF726B920}" dt="2023-06-05T08:21:22.550" v="187" actId="20577"/>
        <pc:sldMkLst>
          <pc:docMk/>
          <pc:sldMk cId="2231702952" sldId="2147379094"/>
        </pc:sldMkLst>
        <pc:spChg chg="mod">
          <ac:chgData name="Marie-Laure Mauborgne" userId="717f1e20-c968-4716-94d0-7143ffa6b39a" providerId="ADAL" clId="{F6562448-8D8D-4D52-B7E4-BE0BF726B920}" dt="2023-06-05T08:21:22.550" v="187" actId="20577"/>
          <ac:spMkLst>
            <pc:docMk/>
            <pc:sldMk cId="2231702952" sldId="2147379094"/>
            <ac:spMk id="3" creationId="{056FDA08-0FC7-62F8-C168-E18B7D79782A}"/>
          </ac:spMkLst>
        </pc:spChg>
      </pc:sldChg>
      <pc:sldChg chg="modSp mod">
        <pc:chgData name="Marie-Laure Mauborgne" userId="717f1e20-c968-4716-94d0-7143ffa6b39a" providerId="ADAL" clId="{F6562448-8D8D-4D52-B7E4-BE0BF726B920}" dt="2023-06-05T08:21:38.547" v="201" actId="20577"/>
        <pc:sldMkLst>
          <pc:docMk/>
          <pc:sldMk cId="2482734020" sldId="2147379096"/>
        </pc:sldMkLst>
        <pc:spChg chg="mod">
          <ac:chgData name="Marie-Laure Mauborgne" userId="717f1e20-c968-4716-94d0-7143ffa6b39a" providerId="ADAL" clId="{F6562448-8D8D-4D52-B7E4-BE0BF726B920}" dt="2023-06-05T08:21:38.547" v="201" actId="20577"/>
          <ac:spMkLst>
            <pc:docMk/>
            <pc:sldMk cId="2482734020" sldId="2147379096"/>
            <ac:spMk id="3" creationId="{51600A86-1346-6F9A-9E5D-97A2CCA96FF9}"/>
          </ac:spMkLst>
        </pc:spChg>
      </pc:sldChg>
      <pc:sldChg chg="modSp mod modClrScheme chgLayout">
        <pc:chgData name="Marie-Laure Mauborgne" userId="717f1e20-c968-4716-94d0-7143ffa6b39a" providerId="ADAL" clId="{F6562448-8D8D-4D52-B7E4-BE0BF726B920}" dt="2023-06-05T08:26:00.996" v="274" actId="700"/>
        <pc:sldMkLst>
          <pc:docMk/>
          <pc:sldMk cId="1993353406" sldId="2147379097"/>
        </pc:sldMkLst>
        <pc:spChg chg="mod ord">
          <ac:chgData name="Marie-Laure Mauborgne" userId="717f1e20-c968-4716-94d0-7143ffa6b39a" providerId="ADAL" clId="{F6562448-8D8D-4D52-B7E4-BE0BF726B920}" dt="2023-06-05T08:26:00.996" v="274" actId="700"/>
          <ac:spMkLst>
            <pc:docMk/>
            <pc:sldMk cId="1993353406" sldId="2147379097"/>
            <ac:spMk id="5" creationId="{9F5D9DBA-52E4-EBC7-97FB-ABFAC25CC3BA}"/>
          </ac:spMkLst>
        </pc:spChg>
        <pc:spChg chg="mod ord">
          <ac:chgData name="Marie-Laure Mauborgne" userId="717f1e20-c968-4716-94d0-7143ffa6b39a" providerId="ADAL" clId="{F6562448-8D8D-4D52-B7E4-BE0BF726B920}" dt="2023-06-05T08:26:00.996" v="274" actId="700"/>
          <ac:spMkLst>
            <pc:docMk/>
            <pc:sldMk cId="1993353406" sldId="2147379097"/>
            <ac:spMk id="6" creationId="{FF25CA0F-14D2-5D94-89D0-EFB5709101FE}"/>
          </ac:spMkLst>
        </pc:spChg>
        <pc:spChg chg="mod ord">
          <ac:chgData name="Marie-Laure Mauborgne" userId="717f1e20-c968-4716-94d0-7143ffa6b39a" providerId="ADAL" clId="{F6562448-8D8D-4D52-B7E4-BE0BF726B920}" dt="2023-06-05T08:26:00.996" v="274" actId="700"/>
          <ac:spMkLst>
            <pc:docMk/>
            <pc:sldMk cId="1993353406" sldId="2147379097"/>
            <ac:spMk id="7" creationId="{0CDD317E-438C-0758-D97C-605E5EBD0FEB}"/>
          </ac:spMkLst>
        </pc:spChg>
        <pc:spChg chg="mod ord">
          <ac:chgData name="Marie-Laure Mauborgne" userId="717f1e20-c968-4716-94d0-7143ffa6b39a" providerId="ADAL" clId="{F6562448-8D8D-4D52-B7E4-BE0BF726B920}" dt="2023-06-05T08:26:00.996" v="274" actId="700"/>
          <ac:spMkLst>
            <pc:docMk/>
            <pc:sldMk cId="1993353406" sldId="2147379097"/>
            <ac:spMk id="8" creationId="{DCDED8EB-A06F-A109-5AD6-6C3F8A548E31}"/>
          </ac:spMkLst>
        </pc:spChg>
      </pc:sldChg>
      <pc:sldChg chg="modSp mod">
        <pc:chgData name="Marie-Laure Mauborgne" userId="717f1e20-c968-4716-94d0-7143ffa6b39a" providerId="ADAL" clId="{F6562448-8D8D-4D52-B7E4-BE0BF726B920}" dt="2023-06-05T08:28:41.790" v="341" actId="14100"/>
        <pc:sldMkLst>
          <pc:docMk/>
          <pc:sldMk cId="937670544" sldId="2147379098"/>
        </pc:sldMkLst>
        <pc:spChg chg="mod">
          <ac:chgData name="Marie-Laure Mauborgne" userId="717f1e20-c968-4716-94d0-7143ffa6b39a" providerId="ADAL" clId="{F6562448-8D8D-4D52-B7E4-BE0BF726B920}" dt="2023-06-05T08:28:30.226" v="340" actId="20577"/>
          <ac:spMkLst>
            <pc:docMk/>
            <pc:sldMk cId="937670544" sldId="2147379098"/>
            <ac:spMk id="2" creationId="{CDF5A6BD-BE0B-8DF7-5811-27C7222CC4D7}"/>
          </ac:spMkLst>
        </pc:spChg>
        <pc:spChg chg="mod">
          <ac:chgData name="Marie-Laure Mauborgne" userId="717f1e20-c968-4716-94d0-7143ffa6b39a" providerId="ADAL" clId="{F6562448-8D8D-4D52-B7E4-BE0BF726B920}" dt="2023-06-05T08:28:41.790" v="341" actId="14100"/>
          <ac:spMkLst>
            <pc:docMk/>
            <pc:sldMk cId="937670544" sldId="2147379098"/>
            <ac:spMk id="8" creationId="{A3A7EA47-8C15-DE1F-892A-3D8FB9C00CC4}"/>
          </ac:spMkLst>
        </pc:spChg>
      </pc:sldChg>
      <pc:sldChg chg="modSp mod">
        <pc:chgData name="Marie-Laure Mauborgne" userId="717f1e20-c968-4716-94d0-7143ffa6b39a" providerId="ADAL" clId="{F6562448-8D8D-4D52-B7E4-BE0BF726B920}" dt="2023-06-05T08:26:55.507" v="286" actId="20577"/>
        <pc:sldMkLst>
          <pc:docMk/>
          <pc:sldMk cId="3991352431" sldId="2147379099"/>
        </pc:sldMkLst>
        <pc:spChg chg="mod">
          <ac:chgData name="Marie-Laure Mauborgne" userId="717f1e20-c968-4716-94d0-7143ffa6b39a" providerId="ADAL" clId="{F6562448-8D8D-4D52-B7E4-BE0BF726B920}" dt="2023-06-05T08:26:55.507" v="286" actId="20577"/>
          <ac:spMkLst>
            <pc:docMk/>
            <pc:sldMk cId="3991352431" sldId="2147379099"/>
            <ac:spMk id="6" creationId="{E5A5EDC2-A23F-E7DB-761B-5AAF99091761}"/>
          </ac:spMkLst>
        </pc:spChg>
      </pc:sldChg>
      <pc:sldChg chg="modSp mod">
        <pc:chgData name="Marie-Laure Mauborgne" userId="717f1e20-c968-4716-94d0-7143ffa6b39a" providerId="ADAL" clId="{F6562448-8D8D-4D52-B7E4-BE0BF726B920}" dt="2023-06-05T08:41:29.163" v="587" actId="20577"/>
        <pc:sldMkLst>
          <pc:docMk/>
          <pc:sldMk cId="3623651553" sldId="2147379103"/>
        </pc:sldMkLst>
        <pc:spChg chg="mod">
          <ac:chgData name="Marie-Laure Mauborgne" userId="717f1e20-c968-4716-94d0-7143ffa6b39a" providerId="ADAL" clId="{F6562448-8D8D-4D52-B7E4-BE0BF726B920}" dt="2023-06-05T08:41:29.163" v="587" actId="20577"/>
          <ac:spMkLst>
            <pc:docMk/>
            <pc:sldMk cId="3623651553" sldId="2147379103"/>
            <ac:spMk id="8" creationId="{F4626BB3-B5C4-291B-8E24-58512107A863}"/>
          </ac:spMkLst>
        </pc:spChg>
      </pc:sldChg>
      <pc:sldChg chg="addSp delSp modSp mod">
        <pc:chgData name="Marie-Laure Mauborgne" userId="717f1e20-c968-4716-94d0-7143ffa6b39a" providerId="ADAL" clId="{F6562448-8D8D-4D52-B7E4-BE0BF726B920}" dt="2023-06-05T08:34:39.734" v="442"/>
        <pc:sldMkLst>
          <pc:docMk/>
          <pc:sldMk cId="2467682810" sldId="2147379104"/>
        </pc:sldMkLst>
        <pc:spChg chg="mod">
          <ac:chgData name="Marie-Laure Mauborgne" userId="717f1e20-c968-4716-94d0-7143ffa6b39a" providerId="ADAL" clId="{F6562448-8D8D-4D52-B7E4-BE0BF726B920}" dt="2023-06-05T08:34:39.734" v="442"/>
          <ac:spMkLst>
            <pc:docMk/>
            <pc:sldMk cId="2467682810" sldId="2147379104"/>
            <ac:spMk id="2" creationId="{D728DA31-CD43-A7EB-06D8-B20042B27D4E}"/>
          </ac:spMkLst>
        </pc:spChg>
        <pc:spChg chg="mod">
          <ac:chgData name="Marie-Laure Mauborgne" userId="717f1e20-c968-4716-94d0-7143ffa6b39a" providerId="ADAL" clId="{F6562448-8D8D-4D52-B7E4-BE0BF726B920}" dt="2023-06-05T08:34:39.734" v="442"/>
          <ac:spMkLst>
            <pc:docMk/>
            <pc:sldMk cId="2467682810" sldId="2147379104"/>
            <ac:spMk id="3" creationId="{C32055E2-1ED1-8228-F711-FF847C0DCEFF}"/>
          </ac:spMkLst>
        </pc:spChg>
        <pc:spChg chg="mod">
          <ac:chgData name="Marie-Laure Mauborgne" userId="717f1e20-c968-4716-94d0-7143ffa6b39a" providerId="ADAL" clId="{F6562448-8D8D-4D52-B7E4-BE0BF726B920}" dt="2023-06-05T08:34:39.734" v="442"/>
          <ac:spMkLst>
            <pc:docMk/>
            <pc:sldMk cId="2467682810" sldId="2147379104"/>
            <ac:spMk id="4" creationId="{D698C4A7-7B35-CF2C-B179-6431ECF5B56F}"/>
          </ac:spMkLst>
        </pc:spChg>
        <pc:spChg chg="add del mod">
          <ac:chgData name="Marie-Laure Mauborgne" userId="717f1e20-c968-4716-94d0-7143ffa6b39a" providerId="ADAL" clId="{F6562448-8D8D-4D52-B7E4-BE0BF726B920}" dt="2023-06-05T08:34:39.734" v="442"/>
          <ac:spMkLst>
            <pc:docMk/>
            <pc:sldMk cId="2467682810" sldId="2147379104"/>
            <ac:spMk id="5" creationId="{27281930-1EB5-D44E-D875-893A6DFEE4F6}"/>
          </ac:spMkLst>
        </pc:spChg>
        <pc:spChg chg="add del mod">
          <ac:chgData name="Marie-Laure Mauborgne" userId="717f1e20-c968-4716-94d0-7143ffa6b39a" providerId="ADAL" clId="{F6562448-8D8D-4D52-B7E4-BE0BF726B920}" dt="2023-06-05T08:34:39.734" v="442"/>
          <ac:spMkLst>
            <pc:docMk/>
            <pc:sldMk cId="2467682810" sldId="2147379104"/>
            <ac:spMk id="6" creationId="{3D669676-DF07-F032-131B-5EA69A5551F6}"/>
          </ac:spMkLst>
        </pc:spChg>
        <pc:spChg chg="add del mod">
          <ac:chgData name="Marie-Laure Mauborgne" userId="717f1e20-c968-4716-94d0-7143ffa6b39a" providerId="ADAL" clId="{F6562448-8D8D-4D52-B7E4-BE0BF726B920}" dt="2023-06-05T08:34:39.734" v="442"/>
          <ac:spMkLst>
            <pc:docMk/>
            <pc:sldMk cId="2467682810" sldId="2147379104"/>
            <ac:spMk id="7" creationId="{65D50240-B0F4-6DB4-EF5A-603237EC3FB5}"/>
          </ac:spMkLst>
        </pc:spChg>
      </pc:sldChg>
      <pc:sldChg chg="modSp mod">
        <pc:chgData name="Marie-Laure Mauborgne" userId="717f1e20-c968-4716-94d0-7143ffa6b39a" providerId="ADAL" clId="{F6562448-8D8D-4D52-B7E4-BE0BF726B920}" dt="2023-06-05T08:11:41.356" v="26" actId="20577"/>
        <pc:sldMkLst>
          <pc:docMk/>
          <pc:sldMk cId="2340766357" sldId="2147379106"/>
        </pc:sldMkLst>
        <pc:spChg chg="mod">
          <ac:chgData name="Marie-Laure Mauborgne" userId="717f1e20-c968-4716-94d0-7143ffa6b39a" providerId="ADAL" clId="{F6562448-8D8D-4D52-B7E4-BE0BF726B920}" dt="2023-06-05T08:11:41.356" v="26" actId="20577"/>
          <ac:spMkLst>
            <pc:docMk/>
            <pc:sldMk cId="2340766357" sldId="2147379106"/>
            <ac:spMk id="13" creationId="{C5F86B6F-CA1C-6E0C-1315-833360958831}"/>
          </ac:spMkLst>
        </pc:spChg>
      </pc:sldChg>
      <pc:sldChg chg="del">
        <pc:chgData name="Marie-Laure Mauborgne" userId="717f1e20-c968-4716-94d0-7143ffa6b39a" providerId="ADAL" clId="{F6562448-8D8D-4D52-B7E4-BE0BF726B920}" dt="2023-06-05T08:25:06.599" v="271" actId="47"/>
        <pc:sldMkLst>
          <pc:docMk/>
          <pc:sldMk cId="3064770116" sldId="2147379109"/>
        </pc:sldMkLst>
      </pc:sldChg>
      <pc:sldChg chg="modSp mod">
        <pc:chgData name="Marie-Laure Mauborgne" userId="717f1e20-c968-4716-94d0-7143ffa6b39a" providerId="ADAL" clId="{F6562448-8D8D-4D52-B7E4-BE0BF726B920}" dt="2023-06-05T09:28:05.530" v="1028" actId="555"/>
        <pc:sldMkLst>
          <pc:docMk/>
          <pc:sldMk cId="2220629317" sldId="2147379110"/>
        </pc:sldMkLst>
        <pc:spChg chg="mod">
          <ac:chgData name="Marie-Laure Mauborgne" userId="717f1e20-c968-4716-94d0-7143ffa6b39a" providerId="ADAL" clId="{F6562448-8D8D-4D52-B7E4-BE0BF726B920}" dt="2023-06-05T09:28:05.530" v="1028" actId="555"/>
          <ac:spMkLst>
            <pc:docMk/>
            <pc:sldMk cId="2220629317" sldId="2147379110"/>
            <ac:spMk id="16" creationId="{93576555-AB01-572F-4C14-518E75632111}"/>
          </ac:spMkLst>
        </pc:spChg>
        <pc:spChg chg="mod">
          <ac:chgData name="Marie-Laure Mauborgne" userId="717f1e20-c968-4716-94d0-7143ffa6b39a" providerId="ADAL" clId="{F6562448-8D8D-4D52-B7E4-BE0BF726B920}" dt="2023-06-05T09:28:05.530" v="1028" actId="555"/>
          <ac:spMkLst>
            <pc:docMk/>
            <pc:sldMk cId="2220629317" sldId="2147379110"/>
            <ac:spMk id="17" creationId="{CF9795EF-E9DD-9334-94B5-6A9F88AEB921}"/>
          </ac:spMkLst>
        </pc:spChg>
      </pc:sldChg>
      <pc:sldChg chg="addSp delSp modSp mod modAnim">
        <pc:chgData name="Marie-Laure Mauborgne" userId="717f1e20-c968-4716-94d0-7143ffa6b39a" providerId="ADAL" clId="{F6562448-8D8D-4D52-B7E4-BE0BF726B920}" dt="2023-06-05T09:16:23.896" v="1027" actId="20577"/>
        <pc:sldMkLst>
          <pc:docMk/>
          <pc:sldMk cId="3435401549" sldId="2147379111"/>
        </pc:sldMkLst>
        <pc:spChg chg="mod">
          <ac:chgData name="Marie-Laure Mauborgne" userId="717f1e20-c968-4716-94d0-7143ffa6b39a" providerId="ADAL" clId="{F6562448-8D8D-4D52-B7E4-BE0BF726B920}" dt="2023-06-05T09:16:23.896" v="1027" actId="20577"/>
          <ac:spMkLst>
            <pc:docMk/>
            <pc:sldMk cId="3435401549" sldId="2147379111"/>
            <ac:spMk id="2" creationId="{D728DA31-CD43-A7EB-06D8-B20042B27D4E}"/>
          </ac:spMkLst>
        </pc:spChg>
        <pc:spChg chg="mod">
          <ac:chgData name="Marie-Laure Mauborgne" userId="717f1e20-c968-4716-94d0-7143ffa6b39a" providerId="ADAL" clId="{F6562448-8D8D-4D52-B7E4-BE0BF726B920}" dt="2023-06-05T09:08:43.374" v="883" actId="20577"/>
          <ac:spMkLst>
            <pc:docMk/>
            <pc:sldMk cId="3435401549" sldId="2147379111"/>
            <ac:spMk id="3" creationId="{C32055E2-1ED1-8228-F711-FF847C0DCEFF}"/>
          </ac:spMkLst>
        </pc:spChg>
        <pc:spChg chg="mod">
          <ac:chgData name="Marie-Laure Mauborgne" userId="717f1e20-c968-4716-94d0-7143ffa6b39a" providerId="ADAL" clId="{F6562448-8D8D-4D52-B7E4-BE0BF726B920}" dt="2023-06-05T08:35:32.720" v="448"/>
          <ac:spMkLst>
            <pc:docMk/>
            <pc:sldMk cId="3435401549" sldId="2147379111"/>
            <ac:spMk id="4" creationId="{D698C4A7-7B35-CF2C-B179-6431ECF5B56F}"/>
          </ac:spMkLst>
        </pc:spChg>
        <pc:spChg chg="del">
          <ac:chgData name="Marie-Laure Mauborgne" userId="717f1e20-c968-4716-94d0-7143ffa6b39a" providerId="ADAL" clId="{F6562448-8D8D-4D52-B7E4-BE0BF726B920}" dt="2023-06-05T08:35:29.049" v="447" actId="478"/>
          <ac:spMkLst>
            <pc:docMk/>
            <pc:sldMk cId="3435401549" sldId="2147379111"/>
            <ac:spMk id="5" creationId="{5CF84B41-87E2-BBB0-192B-4CE9E5B01309}"/>
          </ac:spMkLst>
        </pc:spChg>
        <pc:spChg chg="add del mod">
          <ac:chgData name="Marie-Laure Mauborgne" userId="717f1e20-c968-4716-94d0-7143ffa6b39a" providerId="ADAL" clId="{F6562448-8D8D-4D52-B7E4-BE0BF726B920}" dt="2023-06-05T08:35:32.720" v="448"/>
          <ac:spMkLst>
            <pc:docMk/>
            <pc:sldMk cId="3435401549" sldId="2147379111"/>
            <ac:spMk id="10" creationId="{6C0D3E60-4420-40D0-163A-ADF62221DBB2}"/>
          </ac:spMkLst>
        </pc:spChg>
        <pc:spChg chg="add del mod">
          <ac:chgData name="Marie-Laure Mauborgne" userId="717f1e20-c968-4716-94d0-7143ffa6b39a" providerId="ADAL" clId="{F6562448-8D8D-4D52-B7E4-BE0BF726B920}" dt="2023-06-05T08:35:32.720" v="448"/>
          <ac:spMkLst>
            <pc:docMk/>
            <pc:sldMk cId="3435401549" sldId="2147379111"/>
            <ac:spMk id="12" creationId="{7FA85944-47DC-8C27-2C80-7953EA422657}"/>
          </ac:spMkLst>
        </pc:spChg>
        <pc:spChg chg="add del mod">
          <ac:chgData name="Marie-Laure Mauborgne" userId="717f1e20-c968-4716-94d0-7143ffa6b39a" providerId="ADAL" clId="{F6562448-8D8D-4D52-B7E4-BE0BF726B920}" dt="2023-06-05T08:35:32.720" v="448"/>
          <ac:spMkLst>
            <pc:docMk/>
            <pc:sldMk cId="3435401549" sldId="2147379111"/>
            <ac:spMk id="16" creationId="{8102FC86-2C78-8010-116C-94B5E564E42D}"/>
          </ac:spMkLst>
        </pc:spChg>
        <pc:grpChg chg="del">
          <ac:chgData name="Marie-Laure Mauborgne" userId="717f1e20-c968-4716-94d0-7143ffa6b39a" providerId="ADAL" clId="{F6562448-8D8D-4D52-B7E4-BE0BF726B920}" dt="2023-06-05T08:35:29.049" v="447" actId="478"/>
          <ac:grpSpMkLst>
            <pc:docMk/>
            <pc:sldMk cId="3435401549" sldId="2147379111"/>
            <ac:grpSpMk id="25" creationId="{F97CE27F-DD5B-6FF4-1E8E-712C7A682E4B}"/>
          </ac:grpSpMkLst>
        </pc:grpChg>
        <pc:grpChg chg="del">
          <ac:chgData name="Marie-Laure Mauborgne" userId="717f1e20-c968-4716-94d0-7143ffa6b39a" providerId="ADAL" clId="{F6562448-8D8D-4D52-B7E4-BE0BF726B920}" dt="2023-06-05T08:35:29.049" v="447" actId="478"/>
          <ac:grpSpMkLst>
            <pc:docMk/>
            <pc:sldMk cId="3435401549" sldId="2147379111"/>
            <ac:grpSpMk id="29" creationId="{C45EA717-6FBE-A33F-F625-82D82D878848}"/>
          </ac:grpSpMkLst>
        </pc:grpChg>
        <pc:grpChg chg="del">
          <ac:chgData name="Marie-Laure Mauborgne" userId="717f1e20-c968-4716-94d0-7143ffa6b39a" providerId="ADAL" clId="{F6562448-8D8D-4D52-B7E4-BE0BF726B920}" dt="2023-06-05T08:35:29.049" v="447" actId="478"/>
          <ac:grpSpMkLst>
            <pc:docMk/>
            <pc:sldMk cId="3435401549" sldId="2147379111"/>
            <ac:grpSpMk id="30" creationId="{A5163012-9365-6E5D-DF78-A44A1F70E5AC}"/>
          </ac:grpSpMkLst>
        </pc:grpChg>
        <pc:graphicFrameChg chg="add mod modGraphic">
          <ac:chgData name="Marie-Laure Mauborgne" userId="717f1e20-c968-4716-94d0-7143ffa6b39a" providerId="ADAL" clId="{F6562448-8D8D-4D52-B7E4-BE0BF726B920}" dt="2023-06-05T09:09:17.916" v="884" actId="20577"/>
          <ac:graphicFrameMkLst>
            <pc:docMk/>
            <pc:sldMk cId="3435401549" sldId="2147379111"/>
            <ac:graphicFrameMk id="17" creationId="{CF8A70CF-3DC8-49B7-1D29-A446125B428F}"/>
          </ac:graphicFrameMkLst>
        </pc:graphicFrameChg>
      </pc:sldChg>
      <pc:sldChg chg="addSp delSp modSp mod">
        <pc:chgData name="Marie-Laure Mauborgne" userId="717f1e20-c968-4716-94d0-7143ffa6b39a" providerId="ADAL" clId="{F6562448-8D8D-4D52-B7E4-BE0BF726B920}" dt="2023-06-05T08:34:35.845" v="441"/>
        <pc:sldMkLst>
          <pc:docMk/>
          <pc:sldMk cId="889586708" sldId="2147379112"/>
        </pc:sldMkLst>
        <pc:spChg chg="mod">
          <ac:chgData name="Marie-Laure Mauborgne" userId="717f1e20-c968-4716-94d0-7143ffa6b39a" providerId="ADAL" clId="{F6562448-8D8D-4D52-B7E4-BE0BF726B920}" dt="2023-06-05T08:34:35.845" v="441"/>
          <ac:spMkLst>
            <pc:docMk/>
            <pc:sldMk cId="889586708" sldId="2147379112"/>
            <ac:spMk id="2" creationId="{D728DA31-CD43-A7EB-06D8-B20042B27D4E}"/>
          </ac:spMkLst>
        </pc:spChg>
        <pc:spChg chg="mod">
          <ac:chgData name="Marie-Laure Mauborgne" userId="717f1e20-c968-4716-94d0-7143ffa6b39a" providerId="ADAL" clId="{F6562448-8D8D-4D52-B7E4-BE0BF726B920}" dt="2023-06-05T08:34:35.845" v="441"/>
          <ac:spMkLst>
            <pc:docMk/>
            <pc:sldMk cId="889586708" sldId="2147379112"/>
            <ac:spMk id="3" creationId="{C32055E2-1ED1-8228-F711-FF847C0DCEFF}"/>
          </ac:spMkLst>
        </pc:spChg>
        <pc:spChg chg="mod">
          <ac:chgData name="Marie-Laure Mauborgne" userId="717f1e20-c968-4716-94d0-7143ffa6b39a" providerId="ADAL" clId="{F6562448-8D8D-4D52-B7E4-BE0BF726B920}" dt="2023-06-05T08:34:35.845" v="441"/>
          <ac:spMkLst>
            <pc:docMk/>
            <pc:sldMk cId="889586708" sldId="2147379112"/>
            <ac:spMk id="4" creationId="{D698C4A7-7B35-CF2C-B179-6431ECF5B56F}"/>
          </ac:spMkLst>
        </pc:spChg>
        <pc:spChg chg="add del mod">
          <ac:chgData name="Marie-Laure Mauborgne" userId="717f1e20-c968-4716-94d0-7143ffa6b39a" providerId="ADAL" clId="{F6562448-8D8D-4D52-B7E4-BE0BF726B920}" dt="2023-06-05T08:34:35.845" v="441"/>
          <ac:spMkLst>
            <pc:docMk/>
            <pc:sldMk cId="889586708" sldId="2147379112"/>
            <ac:spMk id="5" creationId="{6C0B04A8-0756-A07B-7338-1F2608DD28E5}"/>
          </ac:spMkLst>
        </pc:spChg>
        <pc:spChg chg="add del mod">
          <ac:chgData name="Marie-Laure Mauborgne" userId="717f1e20-c968-4716-94d0-7143ffa6b39a" providerId="ADAL" clId="{F6562448-8D8D-4D52-B7E4-BE0BF726B920}" dt="2023-06-05T08:34:35.845" v="441"/>
          <ac:spMkLst>
            <pc:docMk/>
            <pc:sldMk cId="889586708" sldId="2147379112"/>
            <ac:spMk id="6" creationId="{BDA4BC31-EF19-4C11-27BD-39F0E3423A39}"/>
          </ac:spMkLst>
        </pc:spChg>
        <pc:spChg chg="add del mod">
          <ac:chgData name="Marie-Laure Mauborgne" userId="717f1e20-c968-4716-94d0-7143ffa6b39a" providerId="ADAL" clId="{F6562448-8D8D-4D52-B7E4-BE0BF726B920}" dt="2023-06-05T08:34:35.845" v="441"/>
          <ac:spMkLst>
            <pc:docMk/>
            <pc:sldMk cId="889586708" sldId="2147379112"/>
            <ac:spMk id="7" creationId="{CEBB5D10-3637-508E-0A7E-841F9B40BC10}"/>
          </ac:spMkLst>
        </pc:spChg>
        <pc:grpChg chg="mod">
          <ac:chgData name="Marie-Laure Mauborgne" userId="717f1e20-c968-4716-94d0-7143ffa6b39a" providerId="ADAL" clId="{F6562448-8D8D-4D52-B7E4-BE0BF726B920}" dt="2023-06-05T08:34:26.366" v="438" actId="14100"/>
          <ac:grpSpMkLst>
            <pc:docMk/>
            <pc:sldMk cId="889586708" sldId="2147379112"/>
            <ac:grpSpMk id="10" creationId="{2BDC02D9-9E5D-2DE8-5396-4362B1D82D2B}"/>
          </ac:grpSpMkLst>
        </pc:grpChg>
        <pc:grpChg chg="mod">
          <ac:chgData name="Marie-Laure Mauborgne" userId="717f1e20-c968-4716-94d0-7143ffa6b39a" providerId="ADAL" clId="{F6562448-8D8D-4D52-B7E4-BE0BF726B920}" dt="2023-06-05T08:34:29.960" v="439" actId="1076"/>
          <ac:grpSpMkLst>
            <pc:docMk/>
            <pc:sldMk cId="889586708" sldId="2147379112"/>
            <ac:grpSpMk id="29" creationId="{48A2DFCC-68FE-11E1-849F-34024D8A597A}"/>
          </ac:grpSpMkLst>
        </pc:grpChg>
      </pc:sldChg>
      <pc:sldChg chg="addSp delSp modSp add mod">
        <pc:chgData name="Marie-Laure Mauborgne" userId="717f1e20-c968-4716-94d0-7143ffa6b39a" providerId="ADAL" clId="{F6562448-8D8D-4D52-B7E4-BE0BF726B920}" dt="2023-06-05T09:00:30.292" v="653" actId="478"/>
        <pc:sldMkLst>
          <pc:docMk/>
          <pc:sldMk cId="3295041951" sldId="2147379113"/>
        </pc:sldMkLst>
        <pc:spChg chg="ord">
          <ac:chgData name="Marie-Laure Mauborgne" userId="717f1e20-c968-4716-94d0-7143ffa6b39a" providerId="ADAL" clId="{F6562448-8D8D-4D52-B7E4-BE0BF726B920}" dt="2023-06-05T09:00:28.879" v="652" actId="167"/>
          <ac:spMkLst>
            <pc:docMk/>
            <pc:sldMk cId="3295041951" sldId="2147379113"/>
            <ac:spMk id="3" creationId="{4C50BE51-7410-8898-32B7-CEAB0111C71B}"/>
          </ac:spMkLst>
        </pc:spChg>
        <pc:spChg chg="add mod">
          <ac:chgData name="Marie-Laure Mauborgne" userId="717f1e20-c968-4716-94d0-7143ffa6b39a" providerId="ADAL" clId="{F6562448-8D8D-4D52-B7E4-BE0BF726B920}" dt="2023-06-05T08:56:09.721" v="638" actId="20577"/>
          <ac:spMkLst>
            <pc:docMk/>
            <pc:sldMk cId="3295041951" sldId="2147379113"/>
            <ac:spMk id="6" creationId="{6786954C-7812-AA31-C31B-CC753395E117}"/>
          </ac:spMkLst>
        </pc:spChg>
        <pc:picChg chg="add mod">
          <ac:chgData name="Marie-Laure Mauborgne" userId="717f1e20-c968-4716-94d0-7143ffa6b39a" providerId="ADAL" clId="{F6562448-8D8D-4D52-B7E4-BE0BF726B920}" dt="2023-06-05T09:00:25.078" v="651" actId="167"/>
          <ac:picMkLst>
            <pc:docMk/>
            <pc:sldMk cId="3295041951" sldId="2147379113"/>
            <ac:picMk id="2050" creationId="{205A490E-6156-FAC5-A861-1A6CCCDA4881}"/>
          </ac:picMkLst>
        </pc:picChg>
        <pc:picChg chg="del">
          <ac:chgData name="Marie-Laure Mauborgne" userId="717f1e20-c968-4716-94d0-7143ffa6b39a" providerId="ADAL" clId="{F6562448-8D8D-4D52-B7E4-BE0BF726B920}" dt="2023-06-05T09:00:30.292" v="653" actId="478"/>
          <ac:picMkLst>
            <pc:docMk/>
            <pc:sldMk cId="3295041951" sldId="2147379113"/>
            <ac:picMk id="6146" creationId="{30B812FC-B101-8E26-6C90-5EDC9AC19254}"/>
          </ac:picMkLst>
        </pc:picChg>
      </pc:sldChg>
      <pc:sldChg chg="new del">
        <pc:chgData name="Marie-Laure Mauborgne" userId="717f1e20-c968-4716-94d0-7143ffa6b39a" providerId="ADAL" clId="{F6562448-8D8D-4D52-B7E4-BE0BF726B920}" dt="2023-06-05T08:59:48.835" v="647" actId="47"/>
        <pc:sldMkLst>
          <pc:docMk/>
          <pc:sldMk cId="2580037193" sldId="2147379114"/>
        </pc:sldMkLst>
      </pc:sldChg>
    </pc:docChg>
  </pc:docChgLst>
  <pc:docChgLst>
    <pc:chgData name="Marie-Laure Mauborgne" userId="717f1e20-c968-4716-94d0-7143ffa6b39a" providerId="ADAL" clId="{EBB8CBFE-BCB7-4725-A132-D63A59B72226}"/>
    <pc:docChg chg="undo redo custSel addSld delSld modSld sldOrd">
      <pc:chgData name="Marie-Laure Mauborgne" userId="717f1e20-c968-4716-94d0-7143ffa6b39a" providerId="ADAL" clId="{EBB8CBFE-BCB7-4725-A132-D63A59B72226}" dt="2023-06-02T15:39:00.642" v="11309" actId="1076"/>
      <pc:docMkLst>
        <pc:docMk/>
      </pc:docMkLst>
      <pc:sldChg chg="modSp mod">
        <pc:chgData name="Marie-Laure Mauborgne" userId="717f1e20-c968-4716-94d0-7143ffa6b39a" providerId="ADAL" clId="{EBB8CBFE-BCB7-4725-A132-D63A59B72226}" dt="2023-05-29T18:17:12.442" v="60" actId="20577"/>
        <pc:sldMkLst>
          <pc:docMk/>
          <pc:sldMk cId="2854351964" sldId="257"/>
        </pc:sldMkLst>
        <pc:spChg chg="mod">
          <ac:chgData name="Marie-Laure Mauborgne" userId="717f1e20-c968-4716-94d0-7143ffa6b39a" providerId="ADAL" clId="{EBB8CBFE-BCB7-4725-A132-D63A59B72226}" dt="2023-05-29T18:16:48.191" v="54" actId="20577"/>
          <ac:spMkLst>
            <pc:docMk/>
            <pc:sldMk cId="2854351964" sldId="257"/>
            <ac:spMk id="2" creationId="{2A778D6C-3E06-1584-C6DB-CF71E41389B2}"/>
          </ac:spMkLst>
        </pc:spChg>
        <pc:spChg chg="mod">
          <ac:chgData name="Marie-Laure Mauborgne" userId="717f1e20-c968-4716-94d0-7143ffa6b39a" providerId="ADAL" clId="{EBB8CBFE-BCB7-4725-A132-D63A59B72226}" dt="2023-05-29T18:17:12.442" v="60" actId="20577"/>
          <ac:spMkLst>
            <pc:docMk/>
            <pc:sldMk cId="2854351964" sldId="257"/>
            <ac:spMk id="7" creationId="{CDFE6908-2B53-A8B8-14DF-0F78031824FB}"/>
          </ac:spMkLst>
        </pc:spChg>
      </pc:sldChg>
      <pc:sldChg chg="del">
        <pc:chgData name="Marie-Laure Mauborgne" userId="717f1e20-c968-4716-94d0-7143ffa6b39a" providerId="ADAL" clId="{EBB8CBFE-BCB7-4725-A132-D63A59B72226}" dt="2023-05-30T10:13:34.367" v="1972" actId="47"/>
        <pc:sldMkLst>
          <pc:docMk/>
          <pc:sldMk cId="2304906561" sldId="258"/>
        </pc:sldMkLst>
      </pc:sldChg>
      <pc:sldChg chg="modSp add mod ord modClrScheme chgLayout">
        <pc:chgData name="Marie-Laure Mauborgne" userId="717f1e20-c968-4716-94d0-7143ffa6b39a" providerId="ADAL" clId="{EBB8CBFE-BCB7-4725-A132-D63A59B72226}" dt="2023-06-02T13:47:26.420" v="10753" actId="20577"/>
        <pc:sldMkLst>
          <pc:docMk/>
          <pc:sldMk cId="2420150595" sldId="258"/>
        </pc:sldMkLst>
        <pc:spChg chg="mod ord">
          <ac:chgData name="Marie-Laure Mauborgne" userId="717f1e20-c968-4716-94d0-7143ffa6b39a" providerId="ADAL" clId="{EBB8CBFE-BCB7-4725-A132-D63A59B72226}" dt="2023-06-02T13:47:26.420" v="10753" actId="20577"/>
          <ac:spMkLst>
            <pc:docMk/>
            <pc:sldMk cId="2420150595" sldId="258"/>
            <ac:spMk id="2" creationId="{C7020F9D-11DF-AD19-073F-0B0A151FCB5D}"/>
          </ac:spMkLst>
        </pc:spChg>
        <pc:spChg chg="mod ord">
          <ac:chgData name="Marie-Laure Mauborgne" userId="717f1e20-c968-4716-94d0-7143ffa6b39a" providerId="ADAL" clId="{EBB8CBFE-BCB7-4725-A132-D63A59B72226}" dt="2023-06-02T10:24:25.272" v="9936" actId="20577"/>
          <ac:spMkLst>
            <pc:docMk/>
            <pc:sldMk cId="2420150595" sldId="258"/>
            <ac:spMk id="3" creationId="{AF53F737-FA67-28C2-6E14-887F58F30B5C}"/>
          </ac:spMkLst>
        </pc:spChg>
        <pc:picChg chg="mod">
          <ac:chgData name="Marie-Laure Mauborgne" userId="717f1e20-c968-4716-94d0-7143ffa6b39a" providerId="ADAL" clId="{EBB8CBFE-BCB7-4725-A132-D63A59B72226}" dt="2023-06-02T10:24:41.214" v="9937" actId="1076"/>
          <ac:picMkLst>
            <pc:docMk/>
            <pc:sldMk cId="2420150595" sldId="258"/>
            <ac:picMk id="5" creationId="{FB1DBB1D-AE99-45A6-84E2-12606ADA0588}"/>
          </ac:picMkLst>
        </pc:picChg>
      </pc:sldChg>
      <pc:sldChg chg="del mod modShow">
        <pc:chgData name="Marie-Laure Mauborgne" userId="717f1e20-c968-4716-94d0-7143ffa6b39a" providerId="ADAL" clId="{EBB8CBFE-BCB7-4725-A132-D63A59B72226}" dt="2023-06-02T10:15:46.043" v="9669" actId="2696"/>
        <pc:sldMkLst>
          <pc:docMk/>
          <pc:sldMk cId="863386957" sldId="276"/>
        </pc:sldMkLst>
      </pc:sldChg>
      <pc:sldChg chg="add">
        <pc:chgData name="Marie-Laure Mauborgne" userId="717f1e20-c968-4716-94d0-7143ffa6b39a" providerId="ADAL" clId="{EBB8CBFE-BCB7-4725-A132-D63A59B72226}" dt="2023-06-02T10:15:48.817" v="9670"/>
        <pc:sldMkLst>
          <pc:docMk/>
          <pc:sldMk cId="2026068563" sldId="276"/>
        </pc:sldMkLst>
      </pc:sldChg>
      <pc:sldChg chg="del mod ord modShow">
        <pc:chgData name="Marie-Laure Mauborgne" userId="717f1e20-c968-4716-94d0-7143ffa6b39a" providerId="ADAL" clId="{EBB8CBFE-BCB7-4725-A132-D63A59B72226}" dt="2023-05-30T12:33:21.608" v="2637" actId="47"/>
        <pc:sldMkLst>
          <pc:docMk/>
          <pc:sldMk cId="2802091715" sldId="277"/>
        </pc:sldMkLst>
      </pc:sldChg>
      <pc:sldChg chg="del mod modShow">
        <pc:chgData name="Marie-Laure Mauborgne" userId="717f1e20-c968-4716-94d0-7143ffa6b39a" providerId="ADAL" clId="{EBB8CBFE-BCB7-4725-A132-D63A59B72226}" dt="2023-06-02T10:15:46.043" v="9669" actId="2696"/>
        <pc:sldMkLst>
          <pc:docMk/>
          <pc:sldMk cId="1621629722" sldId="278"/>
        </pc:sldMkLst>
      </pc:sldChg>
      <pc:sldChg chg="add">
        <pc:chgData name="Marie-Laure Mauborgne" userId="717f1e20-c968-4716-94d0-7143ffa6b39a" providerId="ADAL" clId="{EBB8CBFE-BCB7-4725-A132-D63A59B72226}" dt="2023-06-02T10:15:48.817" v="9670"/>
        <pc:sldMkLst>
          <pc:docMk/>
          <pc:sldMk cId="3783733359" sldId="278"/>
        </pc:sldMkLst>
      </pc:sldChg>
      <pc:sldChg chg="add">
        <pc:chgData name="Marie-Laure Mauborgne" userId="717f1e20-c968-4716-94d0-7143ffa6b39a" providerId="ADAL" clId="{EBB8CBFE-BCB7-4725-A132-D63A59B72226}" dt="2023-06-02T10:15:48.817" v="9670"/>
        <pc:sldMkLst>
          <pc:docMk/>
          <pc:sldMk cId="2825954351" sldId="291"/>
        </pc:sldMkLst>
      </pc:sldChg>
      <pc:sldChg chg="modSp add del mod modClrScheme modShow chgLayout">
        <pc:chgData name="Marie-Laure Mauborgne" userId="717f1e20-c968-4716-94d0-7143ffa6b39a" providerId="ADAL" clId="{EBB8CBFE-BCB7-4725-A132-D63A59B72226}" dt="2023-06-02T10:15:46.043" v="9669" actId="2696"/>
        <pc:sldMkLst>
          <pc:docMk/>
          <pc:sldMk cId="3416934934" sldId="291"/>
        </pc:sldMkLst>
        <pc:spChg chg="mod ord">
          <ac:chgData name="Marie-Laure Mauborgne" userId="717f1e20-c968-4716-94d0-7143ffa6b39a" providerId="ADAL" clId="{EBB8CBFE-BCB7-4725-A132-D63A59B72226}" dt="2023-05-30T09:28:39.099" v="1606" actId="700"/>
          <ac:spMkLst>
            <pc:docMk/>
            <pc:sldMk cId="3416934934" sldId="291"/>
            <ac:spMk id="4" creationId="{7479E6B4-5445-F497-9EDF-743F15CBBEF4}"/>
          </ac:spMkLst>
        </pc:spChg>
        <pc:spChg chg="mod ord">
          <ac:chgData name="Marie-Laure Mauborgne" userId="717f1e20-c968-4716-94d0-7143ffa6b39a" providerId="ADAL" clId="{EBB8CBFE-BCB7-4725-A132-D63A59B72226}" dt="2023-05-30T09:28:39.099" v="1606" actId="700"/>
          <ac:spMkLst>
            <pc:docMk/>
            <pc:sldMk cId="3416934934" sldId="291"/>
            <ac:spMk id="6" creationId="{5FACA524-1F6F-5071-296C-5FCA646D0994}"/>
          </ac:spMkLst>
        </pc:spChg>
      </pc:sldChg>
      <pc:sldChg chg="modSp add del mod modClrScheme modShow chgLayout">
        <pc:chgData name="Marie-Laure Mauborgne" userId="717f1e20-c968-4716-94d0-7143ffa6b39a" providerId="ADAL" clId="{EBB8CBFE-BCB7-4725-A132-D63A59B72226}" dt="2023-06-02T10:15:46.043" v="9669" actId="2696"/>
        <pc:sldMkLst>
          <pc:docMk/>
          <pc:sldMk cId="145112031" sldId="292"/>
        </pc:sldMkLst>
        <pc:spChg chg="mod ord">
          <ac:chgData name="Marie-Laure Mauborgne" userId="717f1e20-c968-4716-94d0-7143ffa6b39a" providerId="ADAL" clId="{EBB8CBFE-BCB7-4725-A132-D63A59B72226}" dt="2023-05-30T09:28:39.099" v="1606" actId="700"/>
          <ac:spMkLst>
            <pc:docMk/>
            <pc:sldMk cId="145112031" sldId="292"/>
            <ac:spMk id="2" creationId="{F3D08319-37DD-F023-34D0-C7B33201F75C}"/>
          </ac:spMkLst>
        </pc:spChg>
        <pc:spChg chg="mod ord">
          <ac:chgData name="Marie-Laure Mauborgne" userId="717f1e20-c968-4716-94d0-7143ffa6b39a" providerId="ADAL" clId="{EBB8CBFE-BCB7-4725-A132-D63A59B72226}" dt="2023-05-30T09:28:39.099" v="1606" actId="700"/>
          <ac:spMkLst>
            <pc:docMk/>
            <pc:sldMk cId="145112031" sldId="292"/>
            <ac:spMk id="3" creationId="{C0326681-54F7-5C88-C0D0-905410DDA77C}"/>
          </ac:spMkLst>
        </pc:spChg>
      </pc:sldChg>
      <pc:sldChg chg="add">
        <pc:chgData name="Marie-Laure Mauborgne" userId="717f1e20-c968-4716-94d0-7143ffa6b39a" providerId="ADAL" clId="{EBB8CBFE-BCB7-4725-A132-D63A59B72226}" dt="2023-06-02T10:15:48.817" v="9670"/>
        <pc:sldMkLst>
          <pc:docMk/>
          <pc:sldMk cId="3652733955" sldId="292"/>
        </pc:sldMkLst>
      </pc:sldChg>
      <pc:sldChg chg="modSp add del mod modClrScheme modShow chgLayout">
        <pc:chgData name="Marie-Laure Mauborgne" userId="717f1e20-c968-4716-94d0-7143ffa6b39a" providerId="ADAL" clId="{EBB8CBFE-BCB7-4725-A132-D63A59B72226}" dt="2023-06-02T10:15:46.043" v="9669" actId="2696"/>
        <pc:sldMkLst>
          <pc:docMk/>
          <pc:sldMk cId="1955158814" sldId="294"/>
        </pc:sldMkLst>
        <pc:spChg chg="mod ord">
          <ac:chgData name="Marie-Laure Mauborgne" userId="717f1e20-c968-4716-94d0-7143ffa6b39a" providerId="ADAL" clId="{EBB8CBFE-BCB7-4725-A132-D63A59B72226}" dt="2023-05-30T09:28:39.099" v="1606" actId="700"/>
          <ac:spMkLst>
            <pc:docMk/>
            <pc:sldMk cId="1955158814" sldId="294"/>
            <ac:spMk id="4" creationId="{7479E6B4-5445-F497-9EDF-743F15CBBEF4}"/>
          </ac:spMkLst>
        </pc:spChg>
        <pc:spChg chg="mod ord">
          <ac:chgData name="Marie-Laure Mauborgne" userId="717f1e20-c968-4716-94d0-7143ffa6b39a" providerId="ADAL" clId="{EBB8CBFE-BCB7-4725-A132-D63A59B72226}" dt="2023-05-30T12:02:59.468" v="2023" actId="20577"/>
          <ac:spMkLst>
            <pc:docMk/>
            <pc:sldMk cId="1955158814" sldId="294"/>
            <ac:spMk id="6" creationId="{5FACA524-1F6F-5071-296C-5FCA646D0994}"/>
          </ac:spMkLst>
        </pc:spChg>
      </pc:sldChg>
      <pc:sldChg chg="add">
        <pc:chgData name="Marie-Laure Mauborgne" userId="717f1e20-c968-4716-94d0-7143ffa6b39a" providerId="ADAL" clId="{EBB8CBFE-BCB7-4725-A132-D63A59B72226}" dt="2023-06-02T10:15:48.817" v="9670"/>
        <pc:sldMkLst>
          <pc:docMk/>
          <pc:sldMk cId="4029701623" sldId="294"/>
        </pc:sldMkLst>
      </pc:sldChg>
      <pc:sldChg chg="add del">
        <pc:chgData name="Marie-Laure Mauborgne" userId="717f1e20-c968-4716-94d0-7143ffa6b39a" providerId="ADAL" clId="{EBB8CBFE-BCB7-4725-A132-D63A59B72226}" dt="2023-06-02T09:49:11.733" v="9326" actId="47"/>
        <pc:sldMkLst>
          <pc:docMk/>
          <pc:sldMk cId="1269547237" sldId="295"/>
        </pc:sldMkLst>
      </pc:sldChg>
      <pc:sldChg chg="modSp del mod modClrScheme modShow chgLayout">
        <pc:chgData name="Marie-Laure Mauborgne" userId="717f1e20-c968-4716-94d0-7143ffa6b39a" providerId="ADAL" clId="{EBB8CBFE-BCB7-4725-A132-D63A59B72226}" dt="2023-06-02T10:15:30.213" v="9667" actId="2696"/>
        <pc:sldMkLst>
          <pc:docMk/>
          <pc:sldMk cId="2273390916" sldId="300"/>
        </pc:sldMkLst>
        <pc:spChg chg="mod ord">
          <ac:chgData name="Marie-Laure Mauborgne" userId="717f1e20-c968-4716-94d0-7143ffa6b39a" providerId="ADAL" clId="{EBB8CBFE-BCB7-4725-A132-D63A59B72226}" dt="2023-05-30T12:41:39.279" v="2881" actId="700"/>
          <ac:spMkLst>
            <pc:docMk/>
            <pc:sldMk cId="2273390916" sldId="300"/>
            <ac:spMk id="2" creationId="{C5E50D47-0AA4-76F9-3A1A-54DE07B723D0}"/>
          </ac:spMkLst>
        </pc:spChg>
        <pc:spChg chg="mod ord">
          <ac:chgData name="Marie-Laure Mauborgne" userId="717f1e20-c968-4716-94d0-7143ffa6b39a" providerId="ADAL" clId="{EBB8CBFE-BCB7-4725-A132-D63A59B72226}" dt="2023-05-30T12:41:39.279" v="2881" actId="700"/>
          <ac:spMkLst>
            <pc:docMk/>
            <pc:sldMk cId="2273390916" sldId="300"/>
            <ac:spMk id="3" creationId="{B13E375D-E663-AA31-F77C-FDC0A81671E6}"/>
          </ac:spMkLst>
        </pc:spChg>
      </pc:sldChg>
      <pc:sldChg chg="add">
        <pc:chgData name="Marie-Laure Mauborgne" userId="717f1e20-c968-4716-94d0-7143ffa6b39a" providerId="ADAL" clId="{EBB8CBFE-BCB7-4725-A132-D63A59B72226}" dt="2023-06-02T10:15:34.817" v="9668"/>
        <pc:sldMkLst>
          <pc:docMk/>
          <pc:sldMk cId="3356518529" sldId="300"/>
        </pc:sldMkLst>
      </pc:sldChg>
      <pc:sldChg chg="modSp del mod modClrScheme modShow chgLayout">
        <pc:chgData name="Marie-Laure Mauborgne" userId="717f1e20-c968-4716-94d0-7143ffa6b39a" providerId="ADAL" clId="{EBB8CBFE-BCB7-4725-A132-D63A59B72226}" dt="2023-06-02T10:15:46.043" v="9669" actId="2696"/>
        <pc:sldMkLst>
          <pc:docMk/>
          <pc:sldMk cId="443401006" sldId="306"/>
        </pc:sldMkLst>
        <pc:spChg chg="mod ord">
          <ac:chgData name="Marie-Laure Mauborgne" userId="717f1e20-c968-4716-94d0-7143ffa6b39a" providerId="ADAL" clId="{EBB8CBFE-BCB7-4725-A132-D63A59B72226}" dt="2023-05-30T12:33:29.335" v="2648" actId="20577"/>
          <ac:spMkLst>
            <pc:docMk/>
            <pc:sldMk cId="443401006" sldId="306"/>
            <ac:spMk id="2" creationId="{93E204A1-C779-7BC6-B3BB-886FDC485248}"/>
          </ac:spMkLst>
        </pc:spChg>
        <pc:spChg chg="mod ord">
          <ac:chgData name="Marie-Laure Mauborgne" userId="717f1e20-c968-4716-94d0-7143ffa6b39a" providerId="ADAL" clId="{EBB8CBFE-BCB7-4725-A132-D63A59B72226}" dt="2023-05-30T12:33:00.355" v="2635" actId="700"/>
          <ac:spMkLst>
            <pc:docMk/>
            <pc:sldMk cId="443401006" sldId="306"/>
            <ac:spMk id="3" creationId="{FF174E0D-6ED5-0BAD-E8FB-BC03A4649F76}"/>
          </ac:spMkLst>
        </pc:spChg>
        <pc:spChg chg="mod">
          <ac:chgData name="Marie-Laure Mauborgne" userId="717f1e20-c968-4716-94d0-7143ffa6b39a" providerId="ADAL" clId="{EBB8CBFE-BCB7-4725-A132-D63A59B72226}" dt="2023-06-01T08:22:38.855" v="6840" actId="207"/>
          <ac:spMkLst>
            <pc:docMk/>
            <pc:sldMk cId="443401006" sldId="306"/>
            <ac:spMk id="11" creationId="{1FD02465-F6D0-B603-3FC1-C7F5802896B3}"/>
          </ac:spMkLst>
        </pc:spChg>
        <pc:picChg chg="mod">
          <ac:chgData name="Marie-Laure Mauborgne" userId="717f1e20-c968-4716-94d0-7143ffa6b39a" providerId="ADAL" clId="{EBB8CBFE-BCB7-4725-A132-D63A59B72226}" dt="2023-05-30T12:33:12.314" v="2636" actId="207"/>
          <ac:picMkLst>
            <pc:docMk/>
            <pc:sldMk cId="443401006" sldId="306"/>
            <ac:picMk id="1026" creationId="{1311CBB7-A8D9-394D-FB21-28BF68D7C79D}"/>
          </ac:picMkLst>
        </pc:picChg>
      </pc:sldChg>
      <pc:sldChg chg="add">
        <pc:chgData name="Marie-Laure Mauborgne" userId="717f1e20-c968-4716-94d0-7143ffa6b39a" providerId="ADAL" clId="{EBB8CBFE-BCB7-4725-A132-D63A59B72226}" dt="2023-06-02T10:15:48.817" v="9670"/>
        <pc:sldMkLst>
          <pc:docMk/>
          <pc:sldMk cId="2005568626" sldId="306"/>
        </pc:sldMkLst>
      </pc:sldChg>
      <pc:sldChg chg="modSp del mod modClrScheme modShow chgLayout">
        <pc:chgData name="Marie-Laure Mauborgne" userId="717f1e20-c968-4716-94d0-7143ffa6b39a" providerId="ADAL" clId="{EBB8CBFE-BCB7-4725-A132-D63A59B72226}" dt="2023-06-02T10:15:46.043" v="9669" actId="2696"/>
        <pc:sldMkLst>
          <pc:docMk/>
          <pc:sldMk cId="209991261" sldId="307"/>
        </pc:sldMkLst>
        <pc:spChg chg="mod ord">
          <ac:chgData name="Marie-Laure Mauborgne" userId="717f1e20-c968-4716-94d0-7143ffa6b39a" providerId="ADAL" clId="{EBB8CBFE-BCB7-4725-A132-D63A59B72226}" dt="2023-05-30T12:34:39.122" v="2655"/>
          <ac:spMkLst>
            <pc:docMk/>
            <pc:sldMk cId="209991261" sldId="307"/>
            <ac:spMk id="2" creationId="{B175DB07-1003-AF04-A548-2A15159E112F}"/>
          </ac:spMkLst>
        </pc:spChg>
        <pc:spChg chg="mod ord">
          <ac:chgData name="Marie-Laure Mauborgne" userId="717f1e20-c968-4716-94d0-7143ffa6b39a" providerId="ADAL" clId="{EBB8CBFE-BCB7-4725-A132-D63A59B72226}" dt="2023-05-30T12:33:39.125" v="2649" actId="700"/>
          <ac:spMkLst>
            <pc:docMk/>
            <pc:sldMk cId="209991261" sldId="307"/>
            <ac:spMk id="3" creationId="{0335C22F-CA90-C539-B868-7D185155FB42}"/>
          </ac:spMkLst>
        </pc:spChg>
        <pc:picChg chg="mod">
          <ac:chgData name="Marie-Laure Mauborgne" userId="717f1e20-c968-4716-94d0-7143ffa6b39a" providerId="ADAL" clId="{EBB8CBFE-BCB7-4725-A132-D63A59B72226}" dt="2023-05-30T12:33:44.540" v="2650" actId="207"/>
          <ac:picMkLst>
            <pc:docMk/>
            <pc:sldMk cId="209991261" sldId="307"/>
            <ac:picMk id="3076" creationId="{7478E6AC-F58D-ED72-2456-6182CEADC89D}"/>
          </ac:picMkLst>
        </pc:picChg>
        <pc:picChg chg="mod">
          <ac:chgData name="Marie-Laure Mauborgne" userId="717f1e20-c968-4716-94d0-7143ffa6b39a" providerId="ADAL" clId="{EBB8CBFE-BCB7-4725-A132-D63A59B72226}" dt="2023-05-30T12:33:46.303" v="2651" actId="207"/>
          <ac:picMkLst>
            <pc:docMk/>
            <pc:sldMk cId="209991261" sldId="307"/>
            <ac:picMk id="3078" creationId="{18C6DFCF-257C-A60E-80BE-F9C406A4AE77}"/>
          </ac:picMkLst>
        </pc:picChg>
      </pc:sldChg>
      <pc:sldChg chg="add">
        <pc:chgData name="Marie-Laure Mauborgne" userId="717f1e20-c968-4716-94d0-7143ffa6b39a" providerId="ADAL" clId="{EBB8CBFE-BCB7-4725-A132-D63A59B72226}" dt="2023-06-02T10:15:48.817" v="9670"/>
        <pc:sldMkLst>
          <pc:docMk/>
          <pc:sldMk cId="700065614" sldId="307"/>
        </pc:sldMkLst>
      </pc:sldChg>
      <pc:sldChg chg="add">
        <pc:chgData name="Marie-Laure Mauborgne" userId="717f1e20-c968-4716-94d0-7143ffa6b39a" providerId="ADAL" clId="{EBB8CBFE-BCB7-4725-A132-D63A59B72226}" dt="2023-06-02T10:15:48.817" v="9670"/>
        <pc:sldMkLst>
          <pc:docMk/>
          <pc:sldMk cId="1649256069" sldId="308"/>
        </pc:sldMkLst>
      </pc:sldChg>
      <pc:sldChg chg="addSp delSp modSp del mod modClrScheme modShow chgLayout">
        <pc:chgData name="Marie-Laure Mauborgne" userId="717f1e20-c968-4716-94d0-7143ffa6b39a" providerId="ADAL" clId="{EBB8CBFE-BCB7-4725-A132-D63A59B72226}" dt="2023-06-02T10:15:46.043" v="9669" actId="2696"/>
        <pc:sldMkLst>
          <pc:docMk/>
          <pc:sldMk cId="3483514918" sldId="308"/>
        </pc:sldMkLst>
        <pc:spChg chg="mod ord">
          <ac:chgData name="Marie-Laure Mauborgne" userId="717f1e20-c968-4716-94d0-7143ffa6b39a" providerId="ADAL" clId="{EBB8CBFE-BCB7-4725-A132-D63A59B72226}" dt="2023-05-30T12:34:43.215" v="2657"/>
          <ac:spMkLst>
            <pc:docMk/>
            <pc:sldMk cId="3483514918" sldId="308"/>
            <ac:spMk id="2" creationId="{CDEEE0DC-7DC4-525F-AEF8-83CE0363A4F6}"/>
          </ac:spMkLst>
        </pc:spChg>
        <pc:spChg chg="del mod ord">
          <ac:chgData name="Marie-Laure Mauborgne" userId="717f1e20-c968-4716-94d0-7143ffa6b39a" providerId="ADAL" clId="{EBB8CBFE-BCB7-4725-A132-D63A59B72226}" dt="2023-05-30T12:34:26.656" v="2652" actId="700"/>
          <ac:spMkLst>
            <pc:docMk/>
            <pc:sldMk cId="3483514918" sldId="308"/>
            <ac:spMk id="3" creationId="{B90507A7-8C93-2F35-153F-C21BD08079D7}"/>
          </ac:spMkLst>
        </pc:spChg>
        <pc:spChg chg="add mod ord">
          <ac:chgData name="Marie-Laure Mauborgne" userId="717f1e20-c968-4716-94d0-7143ffa6b39a" providerId="ADAL" clId="{EBB8CBFE-BCB7-4725-A132-D63A59B72226}" dt="2023-05-30T12:34:26.656" v="2652" actId="700"/>
          <ac:spMkLst>
            <pc:docMk/>
            <pc:sldMk cId="3483514918" sldId="308"/>
            <ac:spMk id="4" creationId="{52B9308D-D75C-77B9-9F49-FDAD554E8700}"/>
          </ac:spMkLst>
        </pc:spChg>
        <pc:spChg chg="mod">
          <ac:chgData name="Marie-Laure Mauborgne" userId="717f1e20-c968-4716-94d0-7143ffa6b39a" providerId="ADAL" clId="{EBB8CBFE-BCB7-4725-A132-D63A59B72226}" dt="2023-06-01T08:22:34.557" v="6839" actId="207"/>
          <ac:spMkLst>
            <pc:docMk/>
            <pc:sldMk cId="3483514918" sldId="308"/>
            <ac:spMk id="11" creationId="{7B37F19E-28DD-5B0B-F0B4-46FBC0BE0FF0}"/>
          </ac:spMkLst>
        </pc:spChg>
        <pc:picChg chg="mod">
          <ac:chgData name="Marie-Laure Mauborgne" userId="717f1e20-c968-4716-94d0-7143ffa6b39a" providerId="ADAL" clId="{EBB8CBFE-BCB7-4725-A132-D63A59B72226}" dt="2023-05-30T12:34:30.016" v="2653" actId="207"/>
          <ac:picMkLst>
            <pc:docMk/>
            <pc:sldMk cId="3483514918" sldId="308"/>
            <ac:picMk id="13" creationId="{D59DAC72-37A7-FB26-60D0-ED80AE86DFF8}"/>
          </ac:picMkLst>
        </pc:picChg>
      </pc:sldChg>
      <pc:sldChg chg="delSp modSp add mod">
        <pc:chgData name="Marie-Laure Mauborgne" userId="717f1e20-c968-4716-94d0-7143ffa6b39a" providerId="ADAL" clId="{EBB8CBFE-BCB7-4725-A132-D63A59B72226}" dt="2023-06-02T14:42:27.743" v="11257" actId="20577"/>
        <pc:sldMkLst>
          <pc:docMk/>
          <pc:sldMk cId="0" sldId="322"/>
        </pc:sldMkLst>
        <pc:spChg chg="del mod">
          <ac:chgData name="Marie-Laure Mauborgne" userId="717f1e20-c968-4716-94d0-7143ffa6b39a" providerId="ADAL" clId="{EBB8CBFE-BCB7-4725-A132-D63A59B72226}" dt="2023-06-02T14:42:20.311" v="11240" actId="478"/>
          <ac:spMkLst>
            <pc:docMk/>
            <pc:sldMk cId="0" sldId="322"/>
            <ac:spMk id="30" creationId="{BAB69B4F-2BD5-43A1-9BB1-2A1AB20F1170}"/>
          </ac:spMkLst>
        </pc:spChg>
        <pc:spChg chg="mod">
          <ac:chgData name="Marie-Laure Mauborgne" userId="717f1e20-c968-4716-94d0-7143ffa6b39a" providerId="ADAL" clId="{EBB8CBFE-BCB7-4725-A132-D63A59B72226}" dt="2023-06-02T14:42:27.743" v="11257" actId="20577"/>
          <ac:spMkLst>
            <pc:docMk/>
            <pc:sldMk cId="0" sldId="322"/>
            <ac:spMk id="1155075" creationId="{84604017-3204-4A29-9A43-78A918F376FE}"/>
          </ac:spMkLst>
        </pc:spChg>
        <pc:spChg chg="mod">
          <ac:chgData name="Marie-Laure Mauborgne" userId="717f1e20-c968-4716-94d0-7143ffa6b39a" providerId="ADAL" clId="{EBB8CBFE-BCB7-4725-A132-D63A59B72226}" dt="2023-06-02T14:42:17.341" v="11239" actId="1038"/>
          <ac:spMkLst>
            <pc:docMk/>
            <pc:sldMk cId="0" sldId="322"/>
            <ac:spMk id="1155105" creationId="{594C5F90-4F48-411B-AD60-572C71BFAFF9}"/>
          </ac:spMkLst>
        </pc:spChg>
        <pc:spChg chg="mod">
          <ac:chgData name="Marie-Laure Mauborgne" userId="717f1e20-c968-4716-94d0-7143ffa6b39a" providerId="ADAL" clId="{EBB8CBFE-BCB7-4725-A132-D63A59B72226}" dt="2023-06-02T14:42:17.341" v="11239" actId="1038"/>
          <ac:spMkLst>
            <pc:docMk/>
            <pc:sldMk cId="0" sldId="322"/>
            <ac:spMk id="1155106" creationId="{612D58C1-C820-4CED-B30C-46977FD633BB}"/>
          </ac:spMkLst>
        </pc:spChg>
        <pc:spChg chg="mod">
          <ac:chgData name="Marie-Laure Mauborgne" userId="717f1e20-c968-4716-94d0-7143ffa6b39a" providerId="ADAL" clId="{EBB8CBFE-BCB7-4725-A132-D63A59B72226}" dt="2023-06-02T14:42:17.341" v="11239" actId="1038"/>
          <ac:spMkLst>
            <pc:docMk/>
            <pc:sldMk cId="0" sldId="322"/>
            <ac:spMk id="1155107" creationId="{858D3796-F407-4EA6-A9BE-0589DC801D6C}"/>
          </ac:spMkLst>
        </pc:spChg>
        <pc:spChg chg="mod">
          <ac:chgData name="Marie-Laure Mauborgne" userId="717f1e20-c968-4716-94d0-7143ffa6b39a" providerId="ADAL" clId="{EBB8CBFE-BCB7-4725-A132-D63A59B72226}" dt="2023-06-02T14:42:17.341" v="11239" actId="1038"/>
          <ac:spMkLst>
            <pc:docMk/>
            <pc:sldMk cId="0" sldId="322"/>
            <ac:spMk id="1155108" creationId="{2860B158-8583-44C0-BF88-E67B987F974C}"/>
          </ac:spMkLst>
        </pc:spChg>
        <pc:spChg chg="mod">
          <ac:chgData name="Marie-Laure Mauborgne" userId="717f1e20-c968-4716-94d0-7143ffa6b39a" providerId="ADAL" clId="{EBB8CBFE-BCB7-4725-A132-D63A59B72226}" dt="2023-06-02T14:42:17.341" v="11239" actId="1038"/>
          <ac:spMkLst>
            <pc:docMk/>
            <pc:sldMk cId="0" sldId="322"/>
            <ac:spMk id="1155109" creationId="{E2EE1FD2-4FB8-4725-9891-13FBA958608B}"/>
          </ac:spMkLst>
        </pc:spChg>
        <pc:spChg chg="mod">
          <ac:chgData name="Marie-Laure Mauborgne" userId="717f1e20-c968-4716-94d0-7143ffa6b39a" providerId="ADAL" clId="{EBB8CBFE-BCB7-4725-A132-D63A59B72226}" dt="2023-06-02T14:42:17.341" v="11239" actId="1038"/>
          <ac:spMkLst>
            <pc:docMk/>
            <pc:sldMk cId="0" sldId="322"/>
            <ac:spMk id="1155110" creationId="{943A7468-0C93-4D45-9705-4F3F79F59A99}"/>
          </ac:spMkLst>
        </pc:spChg>
        <pc:spChg chg="mod">
          <ac:chgData name="Marie-Laure Mauborgne" userId="717f1e20-c968-4716-94d0-7143ffa6b39a" providerId="ADAL" clId="{EBB8CBFE-BCB7-4725-A132-D63A59B72226}" dt="2023-06-02T14:42:17.341" v="11239" actId="1038"/>
          <ac:spMkLst>
            <pc:docMk/>
            <pc:sldMk cId="0" sldId="322"/>
            <ac:spMk id="1155111" creationId="{98D01F24-3FA1-4D3B-A0B6-F9DD2782895F}"/>
          </ac:spMkLst>
        </pc:spChg>
        <pc:spChg chg="mod">
          <ac:chgData name="Marie-Laure Mauborgne" userId="717f1e20-c968-4716-94d0-7143ffa6b39a" providerId="ADAL" clId="{EBB8CBFE-BCB7-4725-A132-D63A59B72226}" dt="2023-06-02T14:42:17.341" v="11239" actId="1038"/>
          <ac:spMkLst>
            <pc:docMk/>
            <pc:sldMk cId="0" sldId="322"/>
            <ac:spMk id="1155115" creationId="{ACEB38B2-D4F3-4517-8B53-3C8DD091FD9B}"/>
          </ac:spMkLst>
        </pc:spChg>
        <pc:spChg chg="mod">
          <ac:chgData name="Marie-Laure Mauborgne" userId="717f1e20-c968-4716-94d0-7143ffa6b39a" providerId="ADAL" clId="{EBB8CBFE-BCB7-4725-A132-D63A59B72226}" dt="2023-06-02T14:42:17.341" v="11239" actId="1038"/>
          <ac:spMkLst>
            <pc:docMk/>
            <pc:sldMk cId="0" sldId="322"/>
            <ac:spMk id="1155116" creationId="{1D1AAD6A-1D8D-46EA-978E-D755645C5A51}"/>
          </ac:spMkLst>
        </pc:spChg>
        <pc:spChg chg="mod">
          <ac:chgData name="Marie-Laure Mauborgne" userId="717f1e20-c968-4716-94d0-7143ffa6b39a" providerId="ADAL" clId="{EBB8CBFE-BCB7-4725-A132-D63A59B72226}" dt="2023-06-02T14:42:17.341" v="11239" actId="1038"/>
          <ac:spMkLst>
            <pc:docMk/>
            <pc:sldMk cId="0" sldId="322"/>
            <ac:spMk id="1155117" creationId="{FEFBFFDE-B95C-49BE-9541-E3737171E529}"/>
          </ac:spMkLst>
        </pc:spChg>
        <pc:spChg chg="mod">
          <ac:chgData name="Marie-Laure Mauborgne" userId="717f1e20-c968-4716-94d0-7143ffa6b39a" providerId="ADAL" clId="{EBB8CBFE-BCB7-4725-A132-D63A59B72226}" dt="2023-06-02T14:42:17.341" v="11239" actId="1038"/>
          <ac:spMkLst>
            <pc:docMk/>
            <pc:sldMk cId="0" sldId="322"/>
            <ac:spMk id="1155118" creationId="{1C73F39A-ECF9-44CF-9821-FFECB6130F68}"/>
          </ac:spMkLst>
        </pc:spChg>
        <pc:spChg chg="mod">
          <ac:chgData name="Marie-Laure Mauborgne" userId="717f1e20-c968-4716-94d0-7143ffa6b39a" providerId="ADAL" clId="{EBB8CBFE-BCB7-4725-A132-D63A59B72226}" dt="2023-06-02T14:42:17.341" v="11239" actId="1038"/>
          <ac:spMkLst>
            <pc:docMk/>
            <pc:sldMk cId="0" sldId="322"/>
            <ac:spMk id="1155120" creationId="{ABAE45DE-845B-485A-8295-DED8BE2AB6B2}"/>
          </ac:spMkLst>
        </pc:spChg>
        <pc:spChg chg="mod">
          <ac:chgData name="Marie-Laure Mauborgne" userId="717f1e20-c968-4716-94d0-7143ffa6b39a" providerId="ADAL" clId="{EBB8CBFE-BCB7-4725-A132-D63A59B72226}" dt="2023-06-02T14:42:17.341" v="11239" actId="1038"/>
          <ac:spMkLst>
            <pc:docMk/>
            <pc:sldMk cId="0" sldId="322"/>
            <ac:spMk id="1155122" creationId="{EDF3E1C9-446F-4603-A004-21A78E9A50FD}"/>
          </ac:spMkLst>
        </pc:spChg>
        <pc:spChg chg="mod">
          <ac:chgData name="Marie-Laure Mauborgne" userId="717f1e20-c968-4716-94d0-7143ffa6b39a" providerId="ADAL" clId="{EBB8CBFE-BCB7-4725-A132-D63A59B72226}" dt="2023-06-02T14:42:17.341" v="11239" actId="1038"/>
          <ac:spMkLst>
            <pc:docMk/>
            <pc:sldMk cId="0" sldId="322"/>
            <ac:spMk id="1155124" creationId="{3A9151D3-F56F-4E9B-8F26-7E67A8491D17}"/>
          </ac:spMkLst>
        </pc:spChg>
        <pc:spChg chg="mod">
          <ac:chgData name="Marie-Laure Mauborgne" userId="717f1e20-c968-4716-94d0-7143ffa6b39a" providerId="ADAL" clId="{EBB8CBFE-BCB7-4725-A132-D63A59B72226}" dt="2023-06-02T14:42:17.341" v="11239" actId="1038"/>
          <ac:spMkLst>
            <pc:docMk/>
            <pc:sldMk cId="0" sldId="322"/>
            <ac:spMk id="1155126" creationId="{61CCDB21-8604-4069-BF4C-FEF275336F38}"/>
          </ac:spMkLst>
        </pc:spChg>
        <pc:grpChg chg="mod">
          <ac:chgData name="Marie-Laure Mauborgne" userId="717f1e20-c968-4716-94d0-7143ffa6b39a" providerId="ADAL" clId="{EBB8CBFE-BCB7-4725-A132-D63A59B72226}" dt="2023-06-02T14:42:17.341" v="11239" actId="1038"/>
          <ac:grpSpMkLst>
            <pc:docMk/>
            <pc:sldMk cId="0" sldId="322"/>
            <ac:grpSpMk id="1155101" creationId="{9A203897-CBC3-4C45-A751-0F3BF756E27C}"/>
          </ac:grpSpMkLst>
        </pc:grpChg>
        <pc:grpChg chg="mod">
          <ac:chgData name="Marie-Laure Mauborgne" userId="717f1e20-c968-4716-94d0-7143ffa6b39a" providerId="ADAL" clId="{EBB8CBFE-BCB7-4725-A132-D63A59B72226}" dt="2023-06-02T14:42:17.341" v="11239" actId="1038"/>
          <ac:grpSpMkLst>
            <pc:docMk/>
            <pc:sldMk cId="0" sldId="322"/>
            <ac:grpSpMk id="1155102" creationId="{8BDC5799-BD72-4DC8-BAB2-ED476330E0EC}"/>
          </ac:grpSpMkLst>
        </pc:grpChg>
        <pc:grpChg chg="mod">
          <ac:chgData name="Marie-Laure Mauborgne" userId="717f1e20-c968-4716-94d0-7143ffa6b39a" providerId="ADAL" clId="{EBB8CBFE-BCB7-4725-A132-D63A59B72226}" dt="2023-06-02T14:42:17.341" v="11239" actId="1038"/>
          <ac:grpSpMkLst>
            <pc:docMk/>
            <pc:sldMk cId="0" sldId="322"/>
            <ac:grpSpMk id="1155112" creationId="{46D08A5E-CA2C-4D7A-AEF1-F119CBCE246C}"/>
          </ac:grpSpMkLst>
        </pc:grpChg>
        <pc:grpChg chg="mod">
          <ac:chgData name="Marie-Laure Mauborgne" userId="717f1e20-c968-4716-94d0-7143ffa6b39a" providerId="ADAL" clId="{EBB8CBFE-BCB7-4725-A132-D63A59B72226}" dt="2023-06-02T14:42:17.341" v="11239" actId="1038"/>
          <ac:grpSpMkLst>
            <pc:docMk/>
            <pc:sldMk cId="0" sldId="322"/>
            <ac:grpSpMk id="1155114" creationId="{2773960B-216C-4D30-ABB8-AF3BCAC8496F}"/>
          </ac:grpSpMkLst>
        </pc:grpChg>
        <pc:grpChg chg="mod">
          <ac:chgData name="Marie-Laure Mauborgne" userId="717f1e20-c968-4716-94d0-7143ffa6b39a" providerId="ADAL" clId="{EBB8CBFE-BCB7-4725-A132-D63A59B72226}" dt="2023-06-02T14:42:17.341" v="11239" actId="1038"/>
          <ac:grpSpMkLst>
            <pc:docMk/>
            <pc:sldMk cId="0" sldId="322"/>
            <ac:grpSpMk id="1155119" creationId="{1DCF5CC5-BBAC-412E-AB0E-1E9B1EB7C1DC}"/>
          </ac:grpSpMkLst>
        </pc:grpChg>
        <pc:grpChg chg="mod">
          <ac:chgData name="Marie-Laure Mauborgne" userId="717f1e20-c968-4716-94d0-7143ffa6b39a" providerId="ADAL" clId="{EBB8CBFE-BCB7-4725-A132-D63A59B72226}" dt="2023-06-02T14:42:17.341" v="11239" actId="1038"/>
          <ac:grpSpMkLst>
            <pc:docMk/>
            <pc:sldMk cId="0" sldId="322"/>
            <ac:grpSpMk id="1155123" creationId="{4EBE33CE-4FDE-4448-B29B-1C84AA23E899}"/>
          </ac:grpSpMkLst>
        </pc:grpChg>
        <pc:picChg chg="mod">
          <ac:chgData name="Marie-Laure Mauborgne" userId="717f1e20-c968-4716-94d0-7143ffa6b39a" providerId="ADAL" clId="{EBB8CBFE-BCB7-4725-A132-D63A59B72226}" dt="2023-06-02T14:42:17.341" v="11239" actId="1038"/>
          <ac:picMkLst>
            <pc:docMk/>
            <pc:sldMk cId="0" sldId="322"/>
            <ac:picMk id="1155103" creationId="{493DA5B7-96C6-450F-8C48-84A723CEE266}"/>
          </ac:picMkLst>
        </pc:picChg>
        <pc:picChg chg="mod">
          <ac:chgData name="Marie-Laure Mauborgne" userId="717f1e20-c968-4716-94d0-7143ffa6b39a" providerId="ADAL" clId="{EBB8CBFE-BCB7-4725-A132-D63A59B72226}" dt="2023-06-02T14:42:17.341" v="11239" actId="1038"/>
          <ac:picMkLst>
            <pc:docMk/>
            <pc:sldMk cId="0" sldId="322"/>
            <ac:picMk id="1155104" creationId="{3EDD706C-C3F6-43CF-82B7-28163D8DD49B}"/>
          </ac:picMkLst>
        </pc:picChg>
        <pc:picChg chg="mod">
          <ac:chgData name="Marie-Laure Mauborgne" userId="717f1e20-c968-4716-94d0-7143ffa6b39a" providerId="ADAL" clId="{EBB8CBFE-BCB7-4725-A132-D63A59B72226}" dt="2023-06-02T14:42:17.341" v="11239" actId="1038"/>
          <ac:picMkLst>
            <pc:docMk/>
            <pc:sldMk cId="0" sldId="322"/>
            <ac:picMk id="1155113" creationId="{F445FD47-49DE-4D08-9A15-3B57533EF5E6}"/>
          </ac:picMkLst>
        </pc:picChg>
        <pc:picChg chg="mod">
          <ac:chgData name="Marie-Laure Mauborgne" userId="717f1e20-c968-4716-94d0-7143ffa6b39a" providerId="ADAL" clId="{EBB8CBFE-BCB7-4725-A132-D63A59B72226}" dt="2023-06-02T14:42:17.341" v="11239" actId="1038"/>
          <ac:picMkLst>
            <pc:docMk/>
            <pc:sldMk cId="0" sldId="322"/>
            <ac:picMk id="1155121" creationId="{830F47CC-0C39-4B37-B727-3CB1B4FE87C4}"/>
          </ac:picMkLst>
        </pc:picChg>
        <pc:picChg chg="mod">
          <ac:chgData name="Marie-Laure Mauborgne" userId="717f1e20-c968-4716-94d0-7143ffa6b39a" providerId="ADAL" clId="{EBB8CBFE-BCB7-4725-A132-D63A59B72226}" dt="2023-06-02T14:42:17.341" v="11239" actId="1038"/>
          <ac:picMkLst>
            <pc:docMk/>
            <pc:sldMk cId="0" sldId="322"/>
            <ac:picMk id="1155125" creationId="{5BCDE95B-3F58-4D3E-A41B-7E0C3924D176}"/>
          </ac:picMkLst>
        </pc:picChg>
      </pc:sldChg>
      <pc:sldChg chg="add del mod modShow">
        <pc:chgData name="Marie-Laure Mauborgne" userId="717f1e20-c968-4716-94d0-7143ffa6b39a" providerId="ADAL" clId="{EBB8CBFE-BCB7-4725-A132-D63A59B72226}" dt="2023-06-02T10:16:15.726" v="9673" actId="2696"/>
        <pc:sldMkLst>
          <pc:docMk/>
          <pc:sldMk cId="1582482732" sldId="334"/>
        </pc:sldMkLst>
      </pc:sldChg>
      <pc:sldChg chg="add">
        <pc:chgData name="Marie-Laure Mauborgne" userId="717f1e20-c968-4716-94d0-7143ffa6b39a" providerId="ADAL" clId="{EBB8CBFE-BCB7-4725-A132-D63A59B72226}" dt="2023-06-02T10:16:18.752" v="9674"/>
        <pc:sldMkLst>
          <pc:docMk/>
          <pc:sldMk cId="4258844567" sldId="334"/>
        </pc:sldMkLst>
      </pc:sldChg>
      <pc:sldChg chg="addSp delSp modSp add del mod modShow">
        <pc:chgData name="Marie-Laure Mauborgne" userId="717f1e20-c968-4716-94d0-7143ffa6b39a" providerId="ADAL" clId="{EBB8CBFE-BCB7-4725-A132-D63A59B72226}" dt="2023-06-02T10:16:15.726" v="9673" actId="2696"/>
        <pc:sldMkLst>
          <pc:docMk/>
          <pc:sldMk cId="2959717728" sldId="347"/>
        </pc:sldMkLst>
        <pc:spChg chg="add mod">
          <ac:chgData name="Marie-Laure Mauborgne" userId="717f1e20-c968-4716-94d0-7143ffa6b39a" providerId="ADAL" clId="{EBB8CBFE-BCB7-4725-A132-D63A59B72226}" dt="2023-06-01T08:22:07.369" v="6834" actId="1076"/>
          <ac:spMkLst>
            <pc:docMk/>
            <pc:sldMk cId="2959717728" sldId="347"/>
            <ac:spMk id="3" creationId="{151A94D0-3B1F-4054-02B6-4EE004DE422E}"/>
          </ac:spMkLst>
        </pc:spChg>
        <pc:spChg chg="add del mod">
          <ac:chgData name="Marie-Laure Mauborgne" userId="717f1e20-c968-4716-94d0-7143ffa6b39a" providerId="ADAL" clId="{EBB8CBFE-BCB7-4725-A132-D63A59B72226}" dt="2023-06-01T08:22:02.535" v="6833" actId="478"/>
          <ac:spMkLst>
            <pc:docMk/>
            <pc:sldMk cId="2959717728" sldId="347"/>
            <ac:spMk id="5" creationId="{40990D89-BE83-45CE-A0D9-26E8CA06D244}"/>
          </ac:spMkLst>
        </pc:spChg>
        <pc:spChg chg="add mod">
          <ac:chgData name="Marie-Laure Mauborgne" userId="717f1e20-c968-4716-94d0-7143ffa6b39a" providerId="ADAL" clId="{EBB8CBFE-BCB7-4725-A132-D63A59B72226}" dt="2023-06-01T08:21:55.814" v="6831" actId="1076"/>
          <ac:spMkLst>
            <pc:docMk/>
            <pc:sldMk cId="2959717728" sldId="347"/>
            <ac:spMk id="6" creationId="{4C10EB3F-5604-787B-0093-19C4D070C32F}"/>
          </ac:spMkLst>
        </pc:spChg>
        <pc:spChg chg="add mod">
          <ac:chgData name="Marie-Laure Mauborgne" userId="717f1e20-c968-4716-94d0-7143ffa6b39a" providerId="ADAL" clId="{EBB8CBFE-BCB7-4725-A132-D63A59B72226}" dt="2023-06-01T08:21:59.425" v="6832" actId="1076"/>
          <ac:spMkLst>
            <pc:docMk/>
            <pc:sldMk cId="2959717728" sldId="347"/>
            <ac:spMk id="7" creationId="{502B6F6D-F60D-FE94-756A-A2A88A068B17}"/>
          </ac:spMkLst>
        </pc:spChg>
        <pc:spChg chg="add mod">
          <ac:chgData name="Marie-Laure Mauborgne" userId="717f1e20-c968-4716-94d0-7143ffa6b39a" providerId="ADAL" clId="{EBB8CBFE-BCB7-4725-A132-D63A59B72226}" dt="2023-06-01T08:21:53.388" v="6830" actId="1076"/>
          <ac:spMkLst>
            <pc:docMk/>
            <pc:sldMk cId="2959717728" sldId="347"/>
            <ac:spMk id="9" creationId="{93020DCB-8505-5BE4-749E-CD9F4BCFD9C3}"/>
          </ac:spMkLst>
        </pc:spChg>
        <pc:spChg chg="add mod">
          <ac:chgData name="Marie-Laure Mauborgne" userId="717f1e20-c968-4716-94d0-7143ffa6b39a" providerId="ADAL" clId="{EBB8CBFE-BCB7-4725-A132-D63A59B72226}" dt="2023-06-01T08:22:24.791" v="6838" actId="207"/>
          <ac:spMkLst>
            <pc:docMk/>
            <pc:sldMk cId="2959717728" sldId="347"/>
            <ac:spMk id="10" creationId="{22C6E02C-FF4A-D605-0684-8D60AA1C7215}"/>
          </ac:spMkLst>
        </pc:spChg>
        <pc:spChg chg="add mod">
          <ac:chgData name="Marie-Laure Mauborgne" userId="717f1e20-c968-4716-94d0-7143ffa6b39a" providerId="ADAL" clId="{EBB8CBFE-BCB7-4725-A132-D63A59B72226}" dt="2023-06-01T08:22:12.623" v="6835" actId="1076"/>
          <ac:spMkLst>
            <pc:docMk/>
            <pc:sldMk cId="2959717728" sldId="347"/>
            <ac:spMk id="11" creationId="{FA5E796B-566B-B6D1-A91D-F7BCE63993D5}"/>
          </ac:spMkLst>
        </pc:spChg>
        <pc:spChg chg="add mod">
          <ac:chgData name="Marie-Laure Mauborgne" userId="717f1e20-c968-4716-94d0-7143ffa6b39a" providerId="ADAL" clId="{EBB8CBFE-BCB7-4725-A132-D63A59B72226}" dt="2023-06-01T08:23:12.795" v="6850" actId="1076"/>
          <ac:spMkLst>
            <pc:docMk/>
            <pc:sldMk cId="2959717728" sldId="347"/>
            <ac:spMk id="12" creationId="{5C202BA5-B8CB-02EF-9321-F5A1F6980308}"/>
          </ac:spMkLst>
        </pc:spChg>
        <pc:spChg chg="add mod">
          <ac:chgData name="Marie-Laure Mauborgne" userId="717f1e20-c968-4716-94d0-7143ffa6b39a" providerId="ADAL" clId="{EBB8CBFE-BCB7-4725-A132-D63A59B72226}" dt="2023-06-01T08:23:52.463" v="6858" actId="6549"/>
          <ac:spMkLst>
            <pc:docMk/>
            <pc:sldMk cId="2959717728" sldId="347"/>
            <ac:spMk id="13" creationId="{EE678559-11D7-06F3-F416-A9944349C69A}"/>
          </ac:spMkLst>
        </pc:spChg>
        <pc:spChg chg="add mod">
          <ac:chgData name="Marie-Laure Mauborgne" userId="717f1e20-c968-4716-94d0-7143ffa6b39a" providerId="ADAL" clId="{EBB8CBFE-BCB7-4725-A132-D63A59B72226}" dt="2023-06-01T08:24:41.303" v="6878" actId="408"/>
          <ac:spMkLst>
            <pc:docMk/>
            <pc:sldMk cId="2959717728" sldId="347"/>
            <ac:spMk id="14" creationId="{E89C9D05-4B89-0D43-674E-1096D69D7C9D}"/>
          </ac:spMkLst>
        </pc:spChg>
        <pc:spChg chg="add mod">
          <ac:chgData name="Marie-Laure Mauborgne" userId="717f1e20-c968-4716-94d0-7143ffa6b39a" providerId="ADAL" clId="{EBB8CBFE-BCB7-4725-A132-D63A59B72226}" dt="2023-06-01T08:24:41.303" v="6878" actId="408"/>
          <ac:spMkLst>
            <pc:docMk/>
            <pc:sldMk cId="2959717728" sldId="347"/>
            <ac:spMk id="15" creationId="{94E8BB0A-D290-8782-9DB4-ED8E2284F7A8}"/>
          </ac:spMkLst>
        </pc:spChg>
        <pc:spChg chg="add mod">
          <ac:chgData name="Marie-Laure Mauborgne" userId="717f1e20-c968-4716-94d0-7143ffa6b39a" providerId="ADAL" clId="{EBB8CBFE-BCB7-4725-A132-D63A59B72226}" dt="2023-06-01T08:24:34.253" v="6877" actId="1038"/>
          <ac:spMkLst>
            <pc:docMk/>
            <pc:sldMk cId="2959717728" sldId="347"/>
            <ac:spMk id="16" creationId="{79B9E4B6-F775-B55F-E61D-28884AE71610}"/>
          </ac:spMkLst>
        </pc:spChg>
        <pc:picChg chg="mod">
          <ac:chgData name="Marie-Laure Mauborgne" userId="717f1e20-c968-4716-94d0-7143ffa6b39a" providerId="ADAL" clId="{EBB8CBFE-BCB7-4725-A132-D63A59B72226}" dt="2023-06-01T08:21:45.319" v="6829" actId="1076"/>
          <ac:picMkLst>
            <pc:docMk/>
            <pc:sldMk cId="2959717728" sldId="347"/>
            <ac:picMk id="8" creationId="{05118C21-41BC-46C3-8EE9-421D6C9352F2}"/>
          </ac:picMkLst>
        </pc:picChg>
      </pc:sldChg>
      <pc:sldChg chg="add">
        <pc:chgData name="Marie-Laure Mauborgne" userId="717f1e20-c968-4716-94d0-7143ffa6b39a" providerId="ADAL" clId="{EBB8CBFE-BCB7-4725-A132-D63A59B72226}" dt="2023-06-02T10:16:18.752" v="9674"/>
        <pc:sldMkLst>
          <pc:docMk/>
          <pc:sldMk cId="3044428301" sldId="347"/>
        </pc:sldMkLst>
      </pc:sldChg>
      <pc:sldChg chg="modSp del mod modShow">
        <pc:chgData name="Marie-Laure Mauborgne" userId="717f1e20-c968-4716-94d0-7143ffa6b39a" providerId="ADAL" clId="{EBB8CBFE-BCB7-4725-A132-D63A59B72226}" dt="2023-06-02T09:04:30.092" v="8502" actId="2696"/>
        <pc:sldMkLst>
          <pc:docMk/>
          <pc:sldMk cId="1408238407" sldId="354"/>
        </pc:sldMkLst>
        <pc:spChg chg="mod">
          <ac:chgData name="Marie-Laure Mauborgne" userId="717f1e20-c968-4716-94d0-7143ffa6b39a" providerId="ADAL" clId="{EBB8CBFE-BCB7-4725-A132-D63A59B72226}" dt="2023-05-29T18:17:47.628" v="67" actId="20577"/>
          <ac:spMkLst>
            <pc:docMk/>
            <pc:sldMk cId="1408238407" sldId="354"/>
            <ac:spMk id="6" creationId="{BAA208E1-3882-7434-85FC-51F40EF4E4C8}"/>
          </ac:spMkLst>
        </pc:spChg>
      </pc:sldChg>
      <pc:sldChg chg="add">
        <pc:chgData name="Marie-Laure Mauborgne" userId="717f1e20-c968-4716-94d0-7143ffa6b39a" providerId="ADAL" clId="{EBB8CBFE-BCB7-4725-A132-D63A59B72226}" dt="2023-06-02T09:04:34.218" v="8503"/>
        <pc:sldMkLst>
          <pc:docMk/>
          <pc:sldMk cId="4007955932" sldId="354"/>
        </pc:sldMkLst>
      </pc:sldChg>
      <pc:sldChg chg="modSp del mod ord modShow">
        <pc:chgData name="Marie-Laure Mauborgne" userId="717f1e20-c968-4716-94d0-7143ffa6b39a" providerId="ADAL" clId="{EBB8CBFE-BCB7-4725-A132-D63A59B72226}" dt="2023-05-31T13:50:07.378" v="4677" actId="47"/>
        <pc:sldMkLst>
          <pc:docMk/>
          <pc:sldMk cId="1550801614" sldId="361"/>
        </pc:sldMkLst>
        <pc:spChg chg="mod">
          <ac:chgData name="Marie-Laure Mauborgne" userId="717f1e20-c968-4716-94d0-7143ffa6b39a" providerId="ADAL" clId="{EBB8CBFE-BCB7-4725-A132-D63A59B72226}" dt="2023-05-31T13:49:25.025" v="4675"/>
          <ac:spMkLst>
            <pc:docMk/>
            <pc:sldMk cId="1550801614" sldId="361"/>
            <ac:spMk id="7" creationId="{2D7EFEB5-E0F1-FAC8-9899-9C74B495810D}"/>
          </ac:spMkLst>
        </pc:spChg>
      </pc:sldChg>
      <pc:sldChg chg="mod ord modShow">
        <pc:chgData name="Marie-Laure Mauborgne" userId="717f1e20-c968-4716-94d0-7143ffa6b39a" providerId="ADAL" clId="{EBB8CBFE-BCB7-4725-A132-D63A59B72226}" dt="2023-06-02T13:55:39.889" v="10915"/>
        <pc:sldMkLst>
          <pc:docMk/>
          <pc:sldMk cId="352217459" sldId="372"/>
        </pc:sldMkLst>
      </pc:sldChg>
      <pc:sldChg chg="modSp mod modClrScheme chgLayout">
        <pc:chgData name="Marie-Laure Mauborgne" userId="717f1e20-c968-4716-94d0-7143ffa6b39a" providerId="ADAL" clId="{EBB8CBFE-BCB7-4725-A132-D63A59B72226}" dt="2023-06-02T13:57:51.953" v="10950" actId="1035"/>
        <pc:sldMkLst>
          <pc:docMk/>
          <pc:sldMk cId="2901120980" sldId="376"/>
        </pc:sldMkLst>
        <pc:spChg chg="mod ord">
          <ac:chgData name="Marie-Laure Mauborgne" userId="717f1e20-c968-4716-94d0-7143ffa6b39a" providerId="ADAL" clId="{EBB8CBFE-BCB7-4725-A132-D63A59B72226}" dt="2023-06-02T13:57:08.504" v="10930" actId="14100"/>
          <ac:spMkLst>
            <pc:docMk/>
            <pc:sldMk cId="2901120980" sldId="376"/>
            <ac:spMk id="5" creationId="{75D50FEE-0918-3B41-96C6-219FC73FAD29}"/>
          </ac:spMkLst>
        </pc:spChg>
        <pc:spChg chg="mod">
          <ac:chgData name="Marie-Laure Mauborgne" userId="717f1e20-c968-4716-94d0-7143ffa6b39a" providerId="ADAL" clId="{EBB8CBFE-BCB7-4725-A132-D63A59B72226}" dt="2023-06-02T13:57:48.659" v="10947" actId="1035"/>
          <ac:spMkLst>
            <pc:docMk/>
            <pc:sldMk cId="2901120980" sldId="376"/>
            <ac:spMk id="8" creationId="{13C52FE5-5CEC-E3E3-9EA9-C24CA19BB627}"/>
          </ac:spMkLst>
        </pc:spChg>
        <pc:spChg chg="mod">
          <ac:chgData name="Marie-Laure Mauborgne" userId="717f1e20-c968-4716-94d0-7143ffa6b39a" providerId="ADAL" clId="{EBB8CBFE-BCB7-4725-A132-D63A59B72226}" dt="2023-06-02T08:00:35.220" v="7424" actId="207"/>
          <ac:spMkLst>
            <pc:docMk/>
            <pc:sldMk cId="2901120980" sldId="376"/>
            <ac:spMk id="16" creationId="{7661214B-890E-0EAD-CA39-3353100C7426}"/>
          </ac:spMkLst>
        </pc:spChg>
        <pc:spChg chg="mod">
          <ac:chgData name="Marie-Laure Mauborgne" userId="717f1e20-c968-4716-94d0-7143ffa6b39a" providerId="ADAL" clId="{EBB8CBFE-BCB7-4725-A132-D63A59B72226}" dt="2023-06-02T13:56:44.345" v="10926" actId="1036"/>
          <ac:spMkLst>
            <pc:docMk/>
            <pc:sldMk cId="2901120980" sldId="376"/>
            <ac:spMk id="21" creationId="{E35465EF-ADD8-27E9-E46C-CAC92CD16510}"/>
          </ac:spMkLst>
        </pc:spChg>
        <pc:spChg chg="mod">
          <ac:chgData name="Marie-Laure Mauborgne" userId="717f1e20-c968-4716-94d0-7143ffa6b39a" providerId="ADAL" clId="{EBB8CBFE-BCB7-4725-A132-D63A59B72226}" dt="2023-06-02T13:57:45.851" v="10945" actId="1035"/>
          <ac:spMkLst>
            <pc:docMk/>
            <pc:sldMk cId="2901120980" sldId="376"/>
            <ac:spMk id="22" creationId="{7A04BEFE-F2AC-AB13-026F-D08AB7E46CC4}"/>
          </ac:spMkLst>
        </pc:spChg>
        <pc:spChg chg="mod">
          <ac:chgData name="Marie-Laure Mauborgne" userId="717f1e20-c968-4716-94d0-7143ffa6b39a" providerId="ADAL" clId="{EBB8CBFE-BCB7-4725-A132-D63A59B72226}" dt="2023-06-02T13:57:51.953" v="10950" actId="1035"/>
          <ac:spMkLst>
            <pc:docMk/>
            <pc:sldMk cId="2901120980" sldId="376"/>
            <ac:spMk id="24" creationId="{B487487E-E7F5-30D5-C077-EBADE22BAD7B}"/>
          </ac:spMkLst>
        </pc:spChg>
        <pc:spChg chg="mod ord">
          <ac:chgData name="Marie-Laure Mauborgne" userId="717f1e20-c968-4716-94d0-7143ffa6b39a" providerId="ADAL" clId="{EBB8CBFE-BCB7-4725-A132-D63A59B72226}" dt="2023-06-02T13:57:16.985" v="10937" actId="1076"/>
          <ac:spMkLst>
            <pc:docMk/>
            <pc:sldMk cId="2901120980" sldId="376"/>
            <ac:spMk id="29" creationId="{D94D551C-8BEC-0F0D-DF59-8B144760F0CF}"/>
          </ac:spMkLst>
        </pc:spChg>
        <pc:grpChg chg="mod">
          <ac:chgData name="Marie-Laure Mauborgne" userId="717f1e20-c968-4716-94d0-7143ffa6b39a" providerId="ADAL" clId="{EBB8CBFE-BCB7-4725-A132-D63A59B72226}" dt="2023-06-02T13:56:44.345" v="10926" actId="1036"/>
          <ac:grpSpMkLst>
            <pc:docMk/>
            <pc:sldMk cId="2901120980" sldId="376"/>
            <ac:grpSpMk id="9" creationId="{A69DDDE8-BDBC-20F3-9FB7-2B3EB20E7CA0}"/>
          </ac:grpSpMkLst>
        </pc:grpChg>
        <pc:grpChg chg="mod">
          <ac:chgData name="Marie-Laure Mauborgne" userId="717f1e20-c968-4716-94d0-7143ffa6b39a" providerId="ADAL" clId="{EBB8CBFE-BCB7-4725-A132-D63A59B72226}" dt="2023-06-02T13:56:44.345" v="10926" actId="1036"/>
          <ac:grpSpMkLst>
            <pc:docMk/>
            <pc:sldMk cId="2901120980" sldId="376"/>
            <ac:grpSpMk id="15" creationId="{FBDA7EB9-5E5E-485A-7352-1172CF7078E6}"/>
          </ac:grpSpMkLst>
        </pc:grpChg>
        <pc:grpChg chg="mod">
          <ac:chgData name="Marie-Laure Mauborgne" userId="717f1e20-c968-4716-94d0-7143ffa6b39a" providerId="ADAL" clId="{EBB8CBFE-BCB7-4725-A132-D63A59B72226}" dt="2023-06-02T13:56:52.145" v="10927" actId="14100"/>
          <ac:grpSpMkLst>
            <pc:docMk/>
            <pc:sldMk cId="2901120980" sldId="376"/>
            <ac:grpSpMk id="25" creationId="{FBBEBEB5-9AF1-F46F-C8A8-940AEAC3E7D8}"/>
          </ac:grpSpMkLst>
        </pc:grpChg>
        <pc:cxnChg chg="mod">
          <ac:chgData name="Marie-Laure Mauborgne" userId="717f1e20-c968-4716-94d0-7143ffa6b39a" providerId="ADAL" clId="{EBB8CBFE-BCB7-4725-A132-D63A59B72226}" dt="2023-06-02T13:56:52.145" v="10927" actId="14100"/>
          <ac:cxnSpMkLst>
            <pc:docMk/>
            <pc:sldMk cId="2901120980" sldId="376"/>
            <ac:cxnSpMk id="18" creationId="{7AE0AD87-DB26-8DB0-C562-3AC5298793B2}"/>
          </ac:cxnSpMkLst>
        </pc:cxnChg>
        <pc:cxnChg chg="mod">
          <ac:chgData name="Marie-Laure Mauborgne" userId="717f1e20-c968-4716-94d0-7143ffa6b39a" providerId="ADAL" clId="{EBB8CBFE-BCB7-4725-A132-D63A59B72226}" dt="2023-06-02T13:56:52.145" v="10927" actId="14100"/>
          <ac:cxnSpMkLst>
            <pc:docMk/>
            <pc:sldMk cId="2901120980" sldId="376"/>
            <ac:cxnSpMk id="19" creationId="{EC9DBBDD-321B-95EB-DCF2-9DB7FCC43572}"/>
          </ac:cxnSpMkLst>
        </pc:cxnChg>
        <pc:cxnChg chg="mod">
          <ac:chgData name="Marie-Laure Mauborgne" userId="717f1e20-c968-4716-94d0-7143ffa6b39a" providerId="ADAL" clId="{EBB8CBFE-BCB7-4725-A132-D63A59B72226}" dt="2023-06-02T13:57:48.659" v="10947" actId="1035"/>
          <ac:cxnSpMkLst>
            <pc:docMk/>
            <pc:sldMk cId="2901120980" sldId="376"/>
            <ac:cxnSpMk id="23" creationId="{29BE45D4-7F3A-0B0B-3AAB-2322EDE5AB30}"/>
          </ac:cxnSpMkLst>
        </pc:cxnChg>
      </pc:sldChg>
      <pc:sldChg chg="modSp mod ord">
        <pc:chgData name="Marie-Laure Mauborgne" userId="717f1e20-c968-4716-94d0-7143ffa6b39a" providerId="ADAL" clId="{EBB8CBFE-BCB7-4725-A132-D63A59B72226}" dt="2023-06-02T08:20:25.896" v="7549" actId="1076"/>
        <pc:sldMkLst>
          <pc:docMk/>
          <pc:sldMk cId="500936331" sldId="377"/>
        </pc:sldMkLst>
        <pc:spChg chg="mod">
          <ac:chgData name="Marie-Laure Mauborgne" userId="717f1e20-c968-4716-94d0-7143ffa6b39a" providerId="ADAL" clId="{EBB8CBFE-BCB7-4725-A132-D63A59B72226}" dt="2023-05-29T19:24:59.187" v="1216" actId="20577"/>
          <ac:spMkLst>
            <pc:docMk/>
            <pc:sldMk cId="500936331" sldId="377"/>
            <ac:spMk id="6" creationId="{5CB6A210-82CE-6F94-987B-E9FB855E1243}"/>
          </ac:spMkLst>
        </pc:spChg>
        <pc:graphicFrameChg chg="mod modGraphic">
          <ac:chgData name="Marie-Laure Mauborgne" userId="717f1e20-c968-4716-94d0-7143ffa6b39a" providerId="ADAL" clId="{EBB8CBFE-BCB7-4725-A132-D63A59B72226}" dt="2023-06-02T08:20:25.896" v="7549" actId="1076"/>
          <ac:graphicFrameMkLst>
            <pc:docMk/>
            <pc:sldMk cId="500936331" sldId="377"/>
            <ac:graphicFrameMk id="4" creationId="{0AD34314-0767-6612-96E9-6D68FBCC62A9}"/>
          </ac:graphicFrameMkLst>
        </pc:graphicFrameChg>
      </pc:sldChg>
      <pc:sldChg chg="del">
        <pc:chgData name="Marie-Laure Mauborgne" userId="717f1e20-c968-4716-94d0-7143ffa6b39a" providerId="ADAL" clId="{EBB8CBFE-BCB7-4725-A132-D63A59B72226}" dt="2023-05-30T09:32:00.493" v="1680" actId="2696"/>
        <pc:sldMkLst>
          <pc:docMk/>
          <pc:sldMk cId="3357076986" sldId="378"/>
        </pc:sldMkLst>
      </pc:sldChg>
      <pc:sldChg chg="add mod modShow">
        <pc:chgData name="Marie-Laure Mauborgne" userId="717f1e20-c968-4716-94d0-7143ffa6b39a" providerId="ADAL" clId="{EBB8CBFE-BCB7-4725-A132-D63A59B72226}" dt="2023-05-30T09:32:16.693" v="1682" actId="729"/>
        <pc:sldMkLst>
          <pc:docMk/>
          <pc:sldMk cId="4176226012" sldId="378"/>
        </pc:sldMkLst>
      </pc:sldChg>
      <pc:sldChg chg="del">
        <pc:chgData name="Marie-Laure Mauborgne" userId="717f1e20-c968-4716-94d0-7143ffa6b39a" providerId="ADAL" clId="{EBB8CBFE-BCB7-4725-A132-D63A59B72226}" dt="2023-05-29T18:20:39.542" v="82" actId="47"/>
        <pc:sldMkLst>
          <pc:docMk/>
          <pc:sldMk cId="3065482779" sldId="381"/>
        </pc:sldMkLst>
      </pc:sldChg>
      <pc:sldChg chg="add del ord">
        <pc:chgData name="Marie-Laure Mauborgne" userId="717f1e20-c968-4716-94d0-7143ffa6b39a" providerId="ADAL" clId="{EBB8CBFE-BCB7-4725-A132-D63A59B72226}" dt="2023-06-01T12:47:29.200" v="7176" actId="47"/>
        <pc:sldMkLst>
          <pc:docMk/>
          <pc:sldMk cId="1041884285" sldId="388"/>
        </pc:sldMkLst>
      </pc:sldChg>
      <pc:sldChg chg="add del">
        <pc:chgData name="Marie-Laure Mauborgne" userId="717f1e20-c968-4716-94d0-7143ffa6b39a" providerId="ADAL" clId="{EBB8CBFE-BCB7-4725-A132-D63A59B72226}" dt="2023-05-29T19:23:50.374" v="1196"/>
        <pc:sldMkLst>
          <pc:docMk/>
          <pc:sldMk cId="1304667171" sldId="388"/>
        </pc:sldMkLst>
      </pc:sldChg>
      <pc:sldChg chg="addSp modSp add del mod modShow">
        <pc:chgData name="Marie-Laure Mauborgne" userId="717f1e20-c968-4716-94d0-7143ffa6b39a" providerId="ADAL" clId="{EBB8CBFE-BCB7-4725-A132-D63A59B72226}" dt="2023-06-02T10:15:07.102" v="9665" actId="2696"/>
        <pc:sldMkLst>
          <pc:docMk/>
          <pc:sldMk cId="904548694" sldId="412"/>
        </pc:sldMkLst>
        <pc:spChg chg="add mod">
          <ac:chgData name="Marie-Laure Mauborgne" userId="717f1e20-c968-4716-94d0-7143ffa6b39a" providerId="ADAL" clId="{EBB8CBFE-BCB7-4725-A132-D63A59B72226}" dt="2023-06-02T09:03:06.556" v="8385" actId="6549"/>
          <ac:spMkLst>
            <pc:docMk/>
            <pc:sldMk cId="904548694" sldId="412"/>
            <ac:spMk id="2" creationId="{92EB174C-6A2E-30BE-E3F9-2825C6CD2272}"/>
          </ac:spMkLst>
        </pc:spChg>
        <pc:spChg chg="add mod">
          <ac:chgData name="Marie-Laure Mauborgne" userId="717f1e20-c968-4716-94d0-7143ffa6b39a" providerId="ADAL" clId="{EBB8CBFE-BCB7-4725-A132-D63A59B72226}" dt="2023-06-02T09:02:47.527" v="8381"/>
          <ac:spMkLst>
            <pc:docMk/>
            <pc:sldMk cId="904548694" sldId="412"/>
            <ac:spMk id="3" creationId="{DA9D94A9-5C5F-D0FA-BCDB-E6187D7308FC}"/>
          </ac:spMkLst>
        </pc:spChg>
        <pc:spChg chg="mod">
          <ac:chgData name="Marie-Laure Mauborgne" userId="717f1e20-c968-4716-94d0-7143ffa6b39a" providerId="ADAL" clId="{EBB8CBFE-BCB7-4725-A132-D63A59B72226}" dt="2023-06-02T09:03:21.729" v="8476" actId="1036"/>
          <ac:spMkLst>
            <pc:docMk/>
            <pc:sldMk cId="904548694" sldId="412"/>
            <ac:spMk id="21"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3"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4"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5"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6"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8"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9" creationId="{00000000-0000-0000-0000-000000000000}"/>
          </ac:spMkLst>
        </pc:spChg>
        <pc:spChg chg="mod">
          <ac:chgData name="Marie-Laure Mauborgne" userId="717f1e20-c968-4716-94d0-7143ffa6b39a" providerId="ADAL" clId="{EBB8CBFE-BCB7-4725-A132-D63A59B72226}" dt="2023-06-02T09:02:54.400" v="8382" actId="21"/>
          <ac:spMkLst>
            <pc:docMk/>
            <pc:sldMk cId="904548694" sldId="412"/>
            <ac:spMk id="30"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31"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32"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8677"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8680"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8682"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28688" creationId="{00000000-0000-0000-0000-000000000000}"/>
          </ac:spMkLst>
        </pc:spChg>
        <pc:spChg chg="mod">
          <ac:chgData name="Marie-Laure Mauborgne" userId="717f1e20-c968-4716-94d0-7143ffa6b39a" providerId="ADAL" clId="{EBB8CBFE-BCB7-4725-A132-D63A59B72226}" dt="2023-06-02T09:02:47.527" v="8381"/>
          <ac:spMkLst>
            <pc:docMk/>
            <pc:sldMk cId="904548694" sldId="412"/>
            <ac:spMk id="28690"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32781"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32782"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107526"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107527"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107529"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107531"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107532" creationId="{00000000-0000-0000-0000-000000000000}"/>
          </ac:spMkLst>
        </pc:spChg>
        <pc:spChg chg="mod">
          <ac:chgData name="Marie-Laure Mauborgne" userId="717f1e20-c968-4716-94d0-7143ffa6b39a" providerId="ADAL" clId="{EBB8CBFE-BCB7-4725-A132-D63A59B72226}" dt="2023-06-02T09:03:21.729" v="8476" actId="1036"/>
          <ac:spMkLst>
            <pc:docMk/>
            <pc:sldMk cId="904548694" sldId="412"/>
            <ac:spMk id="107533" creationId="{00000000-0000-0000-0000-000000000000}"/>
          </ac:spMkLst>
        </pc:spChg>
        <pc:picChg chg="mod">
          <ac:chgData name="Marie-Laure Mauborgne" userId="717f1e20-c968-4716-94d0-7143ffa6b39a" providerId="ADAL" clId="{EBB8CBFE-BCB7-4725-A132-D63A59B72226}" dt="2023-06-02T09:03:21.729" v="8476" actId="1036"/>
          <ac:picMkLst>
            <pc:docMk/>
            <pc:sldMk cId="904548694" sldId="412"/>
            <ac:picMk id="28692" creationId="{00000000-0000-0000-0000-000000000000}"/>
          </ac:picMkLst>
        </pc:picChg>
        <pc:picChg chg="mod">
          <ac:chgData name="Marie-Laure Mauborgne" userId="717f1e20-c968-4716-94d0-7143ffa6b39a" providerId="ADAL" clId="{EBB8CBFE-BCB7-4725-A132-D63A59B72226}" dt="2023-06-02T09:03:21.729" v="8476" actId="1036"/>
          <ac:picMkLst>
            <pc:docMk/>
            <pc:sldMk cId="904548694" sldId="412"/>
            <ac:picMk id="28695" creationId="{00000000-0000-0000-0000-000000000000}"/>
          </ac:picMkLst>
        </pc:picChg>
      </pc:sldChg>
      <pc:sldChg chg="addSp delSp modSp add del mod modShow">
        <pc:chgData name="Marie-Laure Mauborgne" userId="717f1e20-c968-4716-94d0-7143ffa6b39a" providerId="ADAL" clId="{EBB8CBFE-BCB7-4725-A132-D63A59B72226}" dt="2023-06-02T10:15:07.102" v="9665" actId="2696"/>
        <pc:sldMkLst>
          <pc:docMk/>
          <pc:sldMk cId="3232965873" sldId="413"/>
        </pc:sldMkLst>
        <pc:spChg chg="add mod">
          <ac:chgData name="Marie-Laure Mauborgne" userId="717f1e20-c968-4716-94d0-7143ffa6b39a" providerId="ADAL" clId="{EBB8CBFE-BCB7-4725-A132-D63A59B72226}" dt="2023-06-02T09:03:39.921" v="8497" actId="313"/>
          <ac:spMkLst>
            <pc:docMk/>
            <pc:sldMk cId="3232965873" sldId="413"/>
            <ac:spMk id="3" creationId="{1F22FCA7-FB6F-EF17-543E-C18057DB6EF3}"/>
          </ac:spMkLst>
        </pc:spChg>
        <pc:spChg chg="add mod">
          <ac:chgData name="Marie-Laure Mauborgne" userId="717f1e20-c968-4716-94d0-7143ffa6b39a" providerId="ADAL" clId="{EBB8CBFE-BCB7-4725-A132-D63A59B72226}" dt="2023-06-02T09:02:47.527" v="8381"/>
          <ac:spMkLst>
            <pc:docMk/>
            <pc:sldMk cId="3232965873" sldId="413"/>
            <ac:spMk id="4" creationId="{53E2C469-9DB1-BF43-10E9-F66120C9822E}"/>
          </ac:spMkLst>
        </pc:spChg>
        <pc:spChg chg="mod">
          <ac:chgData name="Marie-Laure Mauborgne" userId="717f1e20-c968-4716-94d0-7143ffa6b39a" providerId="ADAL" clId="{EBB8CBFE-BCB7-4725-A132-D63A59B72226}" dt="2023-06-02T09:03:53.494" v="8498" actId="1076"/>
          <ac:spMkLst>
            <pc:docMk/>
            <pc:sldMk cId="3232965873" sldId="413"/>
            <ac:spMk id="22"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24"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25"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26"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31"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32"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33"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34" creationId="{00000000-0000-0000-0000-000000000000}"/>
          </ac:spMkLst>
        </pc:spChg>
        <pc:spChg chg="del">
          <ac:chgData name="Marie-Laure Mauborgne" userId="717f1e20-c968-4716-94d0-7143ffa6b39a" providerId="ADAL" clId="{EBB8CBFE-BCB7-4725-A132-D63A59B72226}" dt="2023-06-02T09:03:38.038" v="8496" actId="478"/>
          <ac:spMkLst>
            <pc:docMk/>
            <pc:sldMk cId="3232965873" sldId="413"/>
            <ac:spMk id="40"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46"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47" creationId="{00000000-0000-0000-0000-000000000000}"/>
          </ac:spMkLst>
        </pc:spChg>
        <pc:spChg chg="mod">
          <ac:chgData name="Marie-Laure Mauborgne" userId="717f1e20-c968-4716-94d0-7143ffa6b39a" providerId="ADAL" clId="{EBB8CBFE-BCB7-4725-A132-D63A59B72226}" dt="2023-06-02T09:03:53.494" v="8498" actId="1076"/>
          <ac:spMkLst>
            <pc:docMk/>
            <pc:sldMk cId="3232965873" sldId="413"/>
            <ac:spMk id="48" creationId="{00000000-0000-0000-0000-000000000000}"/>
          </ac:spMkLst>
        </pc:spChg>
        <pc:spChg chg="mod">
          <ac:chgData name="Marie-Laure Mauborgne" userId="717f1e20-c968-4716-94d0-7143ffa6b39a" providerId="ADAL" clId="{EBB8CBFE-BCB7-4725-A132-D63A59B72226}" dt="2023-06-02T09:02:47.527" v="8381"/>
          <ac:spMkLst>
            <pc:docMk/>
            <pc:sldMk cId="3232965873" sldId="413"/>
            <ac:spMk id="29700" creationId="{00000000-0000-0000-0000-000000000000}"/>
          </ac:spMkLst>
        </pc:spChg>
        <pc:grpChg chg="mod">
          <ac:chgData name="Marie-Laure Mauborgne" userId="717f1e20-c968-4716-94d0-7143ffa6b39a" providerId="ADAL" clId="{EBB8CBFE-BCB7-4725-A132-D63A59B72226}" dt="2023-06-02T09:03:53.494" v="8498" actId="1076"/>
          <ac:grpSpMkLst>
            <pc:docMk/>
            <pc:sldMk cId="3232965873" sldId="413"/>
            <ac:grpSpMk id="2" creationId="{00000000-0000-0000-0000-000000000000}"/>
          </ac:grpSpMkLst>
        </pc:grpChg>
        <pc:picChg chg="mod">
          <ac:chgData name="Marie-Laure Mauborgne" userId="717f1e20-c968-4716-94d0-7143ffa6b39a" providerId="ADAL" clId="{EBB8CBFE-BCB7-4725-A132-D63A59B72226}" dt="2023-06-02T09:03:53.494" v="8498" actId="1076"/>
          <ac:picMkLst>
            <pc:docMk/>
            <pc:sldMk cId="3232965873" sldId="413"/>
            <ac:picMk id="29704" creationId="{00000000-0000-0000-0000-000000000000}"/>
          </ac:picMkLst>
        </pc:picChg>
        <pc:picChg chg="mod">
          <ac:chgData name="Marie-Laure Mauborgne" userId="717f1e20-c968-4716-94d0-7143ffa6b39a" providerId="ADAL" clId="{EBB8CBFE-BCB7-4725-A132-D63A59B72226}" dt="2023-06-02T09:03:53.494" v="8498" actId="1076"/>
          <ac:picMkLst>
            <pc:docMk/>
            <pc:sldMk cId="3232965873" sldId="413"/>
            <ac:picMk id="29711" creationId="{00000000-0000-0000-0000-000000000000}"/>
          </ac:picMkLst>
        </pc:picChg>
        <pc:picChg chg="mod">
          <ac:chgData name="Marie-Laure Mauborgne" userId="717f1e20-c968-4716-94d0-7143ffa6b39a" providerId="ADAL" clId="{EBB8CBFE-BCB7-4725-A132-D63A59B72226}" dt="2023-06-02T09:03:53.494" v="8498" actId="1076"/>
          <ac:picMkLst>
            <pc:docMk/>
            <pc:sldMk cId="3232965873" sldId="413"/>
            <ac:picMk id="29717" creationId="{00000000-0000-0000-0000-000000000000}"/>
          </ac:picMkLst>
        </pc:picChg>
        <pc:picChg chg="mod">
          <ac:chgData name="Marie-Laure Mauborgne" userId="717f1e20-c968-4716-94d0-7143ffa6b39a" providerId="ADAL" clId="{EBB8CBFE-BCB7-4725-A132-D63A59B72226}" dt="2023-06-02T09:03:53.494" v="8498" actId="1076"/>
          <ac:picMkLst>
            <pc:docMk/>
            <pc:sldMk cId="3232965873" sldId="413"/>
            <ac:picMk id="29723" creationId="{00000000-0000-0000-0000-000000000000}"/>
          </ac:picMkLst>
        </pc:picChg>
      </pc:sldChg>
      <pc:sldChg chg="addSp delSp modSp mod modClrScheme chgLayout modNotesTx">
        <pc:chgData name="Marie-Laure Mauborgne" userId="717f1e20-c968-4716-94d0-7143ffa6b39a" providerId="ADAL" clId="{EBB8CBFE-BCB7-4725-A132-D63A59B72226}" dt="2023-06-02T08:33:02.102" v="7798" actId="6549"/>
        <pc:sldMkLst>
          <pc:docMk/>
          <pc:sldMk cId="4061605685" sldId="422"/>
        </pc:sldMkLst>
        <pc:spChg chg="mod ord">
          <ac:chgData name="Marie-Laure Mauborgne" userId="717f1e20-c968-4716-94d0-7143ffa6b39a" providerId="ADAL" clId="{EBB8CBFE-BCB7-4725-A132-D63A59B72226}" dt="2023-06-02T08:22:19.695" v="7571"/>
          <ac:spMkLst>
            <pc:docMk/>
            <pc:sldMk cId="4061605685" sldId="422"/>
            <ac:spMk id="2" creationId="{426BF4F6-38F9-4349-A945-EDED98990FA5}"/>
          </ac:spMkLst>
        </pc:spChg>
        <pc:spChg chg="mod ord">
          <ac:chgData name="Marie-Laure Mauborgne" userId="717f1e20-c968-4716-94d0-7143ffa6b39a" providerId="ADAL" clId="{EBB8CBFE-BCB7-4725-A132-D63A59B72226}" dt="2023-06-02T08:33:02.102" v="7798" actId="6549"/>
          <ac:spMkLst>
            <pc:docMk/>
            <pc:sldMk cId="4061605685" sldId="422"/>
            <ac:spMk id="3" creationId="{D7E727C1-9DDC-4E75-AC94-2DB30CB563BA}"/>
          </ac:spMkLst>
        </pc:spChg>
        <pc:spChg chg="mod">
          <ac:chgData name="Marie-Laure Mauborgne" userId="717f1e20-c968-4716-94d0-7143ffa6b39a" providerId="ADAL" clId="{EBB8CBFE-BCB7-4725-A132-D63A59B72226}" dt="2023-05-30T13:26:58.376" v="2939" actId="1076"/>
          <ac:spMkLst>
            <pc:docMk/>
            <pc:sldMk cId="4061605685" sldId="422"/>
            <ac:spMk id="5" creationId="{0EBF6EE9-0832-4F57-9FF7-5591F54A4197}"/>
          </ac:spMkLst>
        </pc:spChg>
        <pc:spChg chg="mod">
          <ac:chgData name="Marie-Laure Mauborgne" userId="717f1e20-c968-4716-94d0-7143ffa6b39a" providerId="ADAL" clId="{EBB8CBFE-BCB7-4725-A132-D63A59B72226}" dt="2023-05-30T13:26:58.376" v="2939" actId="1076"/>
          <ac:spMkLst>
            <pc:docMk/>
            <pc:sldMk cId="4061605685" sldId="422"/>
            <ac:spMk id="6" creationId="{080BD45F-0FBE-4DC7-BD00-3F6EB20B95BE}"/>
          </ac:spMkLst>
        </pc:spChg>
        <pc:spChg chg="mod">
          <ac:chgData name="Marie-Laure Mauborgne" userId="717f1e20-c968-4716-94d0-7143ffa6b39a" providerId="ADAL" clId="{EBB8CBFE-BCB7-4725-A132-D63A59B72226}" dt="2023-05-30T13:26:58.376" v="2939" actId="1076"/>
          <ac:spMkLst>
            <pc:docMk/>
            <pc:sldMk cId="4061605685" sldId="422"/>
            <ac:spMk id="7" creationId="{AAC039D4-CA58-492B-857F-C067D877FB41}"/>
          </ac:spMkLst>
        </pc:spChg>
        <pc:spChg chg="mod">
          <ac:chgData name="Marie-Laure Mauborgne" userId="717f1e20-c968-4716-94d0-7143ffa6b39a" providerId="ADAL" clId="{EBB8CBFE-BCB7-4725-A132-D63A59B72226}" dt="2023-05-30T13:26:58.376" v="2939" actId="1076"/>
          <ac:spMkLst>
            <pc:docMk/>
            <pc:sldMk cId="4061605685" sldId="422"/>
            <ac:spMk id="10" creationId="{80B7494B-6D25-446C-A29B-8C95676A41A4}"/>
          </ac:spMkLst>
        </pc:spChg>
        <pc:spChg chg="add del mod">
          <ac:chgData name="Marie-Laure Mauborgne" userId="717f1e20-c968-4716-94d0-7143ffa6b39a" providerId="ADAL" clId="{EBB8CBFE-BCB7-4725-A132-D63A59B72226}" dt="2023-06-02T08:22:19.695" v="7571"/>
          <ac:spMkLst>
            <pc:docMk/>
            <pc:sldMk cId="4061605685" sldId="422"/>
            <ac:spMk id="11" creationId="{7877A568-AD33-B494-C2C0-21D13D2A2267}"/>
          </ac:spMkLst>
        </pc:spChg>
        <pc:spChg chg="add del mod">
          <ac:chgData name="Marie-Laure Mauborgne" userId="717f1e20-c968-4716-94d0-7143ffa6b39a" providerId="ADAL" clId="{EBB8CBFE-BCB7-4725-A132-D63A59B72226}" dt="2023-06-02T08:22:19.695" v="7571"/>
          <ac:spMkLst>
            <pc:docMk/>
            <pc:sldMk cId="4061605685" sldId="422"/>
            <ac:spMk id="12" creationId="{0CC047FA-9F9D-196E-0047-9ABCA1EDCC59}"/>
          </ac:spMkLst>
        </pc:spChg>
        <pc:grpChg chg="del">
          <ac:chgData name="Marie-Laure Mauborgne" userId="717f1e20-c968-4716-94d0-7143ffa6b39a" providerId="ADAL" clId="{EBB8CBFE-BCB7-4725-A132-D63A59B72226}" dt="2023-05-30T13:26:48.430" v="2936" actId="478"/>
          <ac:grpSpMkLst>
            <pc:docMk/>
            <pc:sldMk cId="4061605685" sldId="422"/>
            <ac:grpSpMk id="11" creationId="{CD023DB6-3090-42F5-AEA6-0A2693938CFF}"/>
          </ac:grpSpMkLst>
        </pc:grpChg>
        <pc:picChg chg="mod">
          <ac:chgData name="Marie-Laure Mauborgne" userId="717f1e20-c968-4716-94d0-7143ffa6b39a" providerId="ADAL" clId="{EBB8CBFE-BCB7-4725-A132-D63A59B72226}" dt="2023-05-30T13:26:58.376" v="2939" actId="1076"/>
          <ac:picMkLst>
            <pc:docMk/>
            <pc:sldMk cId="4061605685" sldId="422"/>
            <ac:picMk id="4" creationId="{838780FD-9AC0-4662-A83C-13E52F822F74}"/>
          </ac:picMkLst>
        </pc:picChg>
        <pc:cxnChg chg="mod">
          <ac:chgData name="Marie-Laure Mauborgne" userId="717f1e20-c968-4716-94d0-7143ffa6b39a" providerId="ADAL" clId="{EBB8CBFE-BCB7-4725-A132-D63A59B72226}" dt="2023-05-30T13:26:58.376" v="2939" actId="1076"/>
          <ac:cxnSpMkLst>
            <pc:docMk/>
            <pc:sldMk cId="4061605685" sldId="422"/>
            <ac:cxnSpMk id="8" creationId="{996AF24C-0EE3-4289-ACDA-D49EDA931D36}"/>
          </ac:cxnSpMkLst>
        </pc:cxnChg>
        <pc:cxnChg chg="mod">
          <ac:chgData name="Marie-Laure Mauborgne" userId="717f1e20-c968-4716-94d0-7143ffa6b39a" providerId="ADAL" clId="{EBB8CBFE-BCB7-4725-A132-D63A59B72226}" dt="2023-05-30T13:26:58.376" v="2939" actId="1076"/>
          <ac:cxnSpMkLst>
            <pc:docMk/>
            <pc:sldMk cId="4061605685" sldId="422"/>
            <ac:cxnSpMk id="9" creationId="{4113EA84-653C-4A77-8A09-7346140C41FF}"/>
          </ac:cxnSpMkLst>
        </pc:cxnChg>
      </pc:sldChg>
      <pc:sldChg chg="modSp mod">
        <pc:chgData name="Marie-Laure Mauborgne" userId="717f1e20-c968-4716-94d0-7143ffa6b39a" providerId="ADAL" clId="{EBB8CBFE-BCB7-4725-A132-D63A59B72226}" dt="2023-06-02T15:01:09.007" v="11288" actId="20577"/>
        <pc:sldMkLst>
          <pc:docMk/>
          <pc:sldMk cId="2306752089" sldId="434"/>
        </pc:sldMkLst>
        <pc:spChg chg="mod">
          <ac:chgData name="Marie-Laure Mauborgne" userId="717f1e20-c968-4716-94d0-7143ffa6b39a" providerId="ADAL" clId="{EBB8CBFE-BCB7-4725-A132-D63A59B72226}" dt="2023-06-02T15:01:09.007" v="11288" actId="20577"/>
          <ac:spMkLst>
            <pc:docMk/>
            <pc:sldMk cId="2306752089" sldId="434"/>
            <ac:spMk id="77" creationId="{49C0FDBB-BE31-86A2-F483-60E86A33C1F1}"/>
          </ac:spMkLst>
        </pc:spChg>
        <pc:spChg chg="mod">
          <ac:chgData name="Marie-Laure Mauborgne" userId="717f1e20-c968-4716-94d0-7143ffa6b39a" providerId="ADAL" clId="{EBB8CBFE-BCB7-4725-A132-D63A59B72226}" dt="2023-06-02T15:01:01.323" v="11281" actId="20577"/>
          <ac:spMkLst>
            <pc:docMk/>
            <pc:sldMk cId="2306752089" sldId="434"/>
            <ac:spMk id="108" creationId="{B8A936EE-B9B6-AB8D-B6F8-90FBC8F0728D}"/>
          </ac:spMkLst>
        </pc:spChg>
      </pc:sldChg>
      <pc:sldChg chg="add del ord modAnim">
        <pc:chgData name="Marie-Laure Mauborgne" userId="717f1e20-c968-4716-94d0-7143ffa6b39a" providerId="ADAL" clId="{EBB8CBFE-BCB7-4725-A132-D63A59B72226}" dt="2023-06-02T09:00:15.002" v="8366"/>
        <pc:sldMkLst>
          <pc:docMk/>
          <pc:sldMk cId="0" sldId="522"/>
        </pc:sldMkLst>
      </pc:sldChg>
      <pc:sldChg chg="add del">
        <pc:chgData name="Marie-Laure Mauborgne" userId="717f1e20-c968-4716-94d0-7143ffa6b39a" providerId="ADAL" clId="{EBB8CBFE-BCB7-4725-A132-D63A59B72226}" dt="2023-05-29T19:23:50.374" v="1196"/>
        <pc:sldMkLst>
          <pc:docMk/>
          <pc:sldMk cId="2085252638" sldId="522"/>
        </pc:sldMkLst>
      </pc:sldChg>
      <pc:sldChg chg="modSp add mod modClrScheme chgLayout">
        <pc:chgData name="Marie-Laure Mauborgne" userId="717f1e20-c968-4716-94d0-7143ffa6b39a" providerId="ADAL" clId="{EBB8CBFE-BCB7-4725-A132-D63A59B72226}" dt="2023-06-02T08:39:25.179" v="8206" actId="20577"/>
        <pc:sldMkLst>
          <pc:docMk/>
          <pc:sldMk cId="3057331779" sldId="595"/>
        </pc:sldMkLst>
        <pc:spChg chg="mod ord">
          <ac:chgData name="Marie-Laure Mauborgne" userId="717f1e20-c968-4716-94d0-7143ffa6b39a" providerId="ADAL" clId="{EBB8CBFE-BCB7-4725-A132-D63A59B72226}" dt="2023-05-31T07:09:09.006" v="3144" actId="20577"/>
          <ac:spMkLst>
            <pc:docMk/>
            <pc:sldMk cId="3057331779" sldId="595"/>
            <ac:spMk id="2" creationId="{00000000-0000-0000-0000-000000000000}"/>
          </ac:spMkLst>
        </pc:spChg>
        <pc:spChg chg="mod ord">
          <ac:chgData name="Marie-Laure Mauborgne" userId="717f1e20-c968-4716-94d0-7143ffa6b39a" providerId="ADAL" clId="{EBB8CBFE-BCB7-4725-A132-D63A59B72226}" dt="2023-06-02T08:39:25.179" v="8206" actId="20577"/>
          <ac:spMkLst>
            <pc:docMk/>
            <pc:sldMk cId="3057331779" sldId="595"/>
            <ac:spMk id="3" creationId="{00000000-0000-0000-0000-000000000000}"/>
          </ac:spMkLst>
        </pc:spChg>
        <pc:spChg chg="mod">
          <ac:chgData name="Marie-Laure Mauborgne" userId="717f1e20-c968-4716-94d0-7143ffa6b39a" providerId="ADAL" clId="{EBB8CBFE-BCB7-4725-A132-D63A59B72226}" dt="2023-06-02T08:34:49.689" v="7909" actId="20577"/>
          <ac:spMkLst>
            <pc:docMk/>
            <pc:sldMk cId="3057331779" sldId="595"/>
            <ac:spMk id="6" creationId="{3B770EDD-223B-6D18-3998-9A9760EC3728}"/>
          </ac:spMkLst>
        </pc:spChg>
        <pc:spChg chg="mod">
          <ac:chgData name="Marie-Laure Mauborgne" userId="717f1e20-c968-4716-94d0-7143ffa6b39a" providerId="ADAL" clId="{EBB8CBFE-BCB7-4725-A132-D63A59B72226}" dt="2023-06-02T08:35:54.469" v="7938" actId="20577"/>
          <ac:spMkLst>
            <pc:docMk/>
            <pc:sldMk cId="3057331779" sldId="595"/>
            <ac:spMk id="7" creationId="{61E9039F-2553-47C4-9652-AF983F253BE3}"/>
          </ac:spMkLst>
        </pc:spChg>
        <pc:spChg chg="mod">
          <ac:chgData name="Marie-Laure Mauborgne" userId="717f1e20-c968-4716-94d0-7143ffa6b39a" providerId="ADAL" clId="{EBB8CBFE-BCB7-4725-A132-D63A59B72226}" dt="2023-06-02T08:36:38.082" v="7985" actId="14100"/>
          <ac:spMkLst>
            <pc:docMk/>
            <pc:sldMk cId="3057331779" sldId="595"/>
            <ac:spMk id="8" creationId="{C27B1A28-65B5-45E4-E8CF-7F0812C85D40}"/>
          </ac:spMkLst>
        </pc:spChg>
        <pc:spChg chg="mod">
          <ac:chgData name="Marie-Laure Mauborgne" userId="717f1e20-c968-4716-94d0-7143ffa6b39a" providerId="ADAL" clId="{EBB8CBFE-BCB7-4725-A132-D63A59B72226}" dt="2023-06-02T08:36:02.293" v="7958" actId="20577"/>
          <ac:spMkLst>
            <pc:docMk/>
            <pc:sldMk cId="3057331779" sldId="595"/>
            <ac:spMk id="9" creationId="{5B48E076-FA04-1552-79F6-DBC56B1BC8CF}"/>
          </ac:spMkLst>
        </pc:spChg>
        <pc:spChg chg="mod">
          <ac:chgData name="Marie-Laure Mauborgne" userId="717f1e20-c968-4716-94d0-7143ffa6b39a" providerId="ADAL" clId="{EBB8CBFE-BCB7-4725-A132-D63A59B72226}" dt="2023-06-02T08:36:27.313" v="7983" actId="14100"/>
          <ac:spMkLst>
            <pc:docMk/>
            <pc:sldMk cId="3057331779" sldId="595"/>
            <ac:spMk id="10" creationId="{F9A38308-D7AC-A1DC-3E68-18E987DEEAB3}"/>
          </ac:spMkLst>
        </pc:spChg>
        <pc:spChg chg="mod">
          <ac:chgData name="Marie-Laure Mauborgne" userId="717f1e20-c968-4716-94d0-7143ffa6b39a" providerId="ADAL" clId="{EBB8CBFE-BCB7-4725-A132-D63A59B72226}" dt="2023-06-02T08:34:54.624" v="7916" actId="20577"/>
          <ac:spMkLst>
            <pc:docMk/>
            <pc:sldMk cId="3057331779" sldId="595"/>
            <ac:spMk id="11" creationId="{C6D45AB4-B6C9-3E4E-850F-06914EFD2946}"/>
          </ac:spMkLst>
        </pc:spChg>
        <pc:grpChg chg="mod">
          <ac:chgData name="Marie-Laure Mauborgne" userId="717f1e20-c968-4716-94d0-7143ffa6b39a" providerId="ADAL" clId="{EBB8CBFE-BCB7-4725-A132-D63A59B72226}" dt="2023-06-02T08:39:05.340" v="8190" actId="1036"/>
          <ac:grpSpMkLst>
            <pc:docMk/>
            <pc:sldMk cId="3057331779" sldId="595"/>
            <ac:grpSpMk id="14" creationId="{40FC20E4-E7D7-6D05-6CBB-40E134B074C2}"/>
          </ac:grpSpMkLst>
        </pc:grpChg>
        <pc:grpChg chg="mod">
          <ac:chgData name="Marie-Laure Mauborgne" userId="717f1e20-c968-4716-94d0-7143ffa6b39a" providerId="ADAL" clId="{EBB8CBFE-BCB7-4725-A132-D63A59B72226}" dt="2023-06-02T08:39:05.340" v="8190" actId="1036"/>
          <ac:grpSpMkLst>
            <pc:docMk/>
            <pc:sldMk cId="3057331779" sldId="595"/>
            <ac:grpSpMk id="15" creationId="{016B33E8-6AC0-FEFC-B524-641A0898187F}"/>
          </ac:grpSpMkLst>
        </pc:grpChg>
        <pc:picChg chg="mod">
          <ac:chgData name="Marie-Laure Mauborgne" userId="717f1e20-c968-4716-94d0-7143ffa6b39a" providerId="ADAL" clId="{EBB8CBFE-BCB7-4725-A132-D63A59B72226}" dt="2023-05-30T12:52:30.858" v="2890" actId="207"/>
          <ac:picMkLst>
            <pc:docMk/>
            <pc:sldMk cId="3057331779" sldId="595"/>
            <ac:picMk id="4" creationId="{C225FFD1-9DE2-0BFF-9930-CDD03975E4F3}"/>
          </ac:picMkLst>
        </pc:picChg>
        <pc:picChg chg="mod">
          <ac:chgData name="Marie-Laure Mauborgne" userId="717f1e20-c968-4716-94d0-7143ffa6b39a" providerId="ADAL" clId="{EBB8CBFE-BCB7-4725-A132-D63A59B72226}" dt="2023-05-30T12:52:33.262" v="2891" actId="207"/>
          <ac:picMkLst>
            <pc:docMk/>
            <pc:sldMk cId="3057331779" sldId="595"/>
            <ac:picMk id="5" creationId="{4ECC8315-E754-4336-45EA-D8ACB69DA1BF}"/>
          </ac:picMkLst>
        </pc:picChg>
      </pc:sldChg>
      <pc:sldChg chg="del">
        <pc:chgData name="Marie-Laure Mauborgne" userId="717f1e20-c968-4716-94d0-7143ffa6b39a" providerId="ADAL" clId="{EBB8CBFE-BCB7-4725-A132-D63A59B72226}" dt="2023-05-30T13:50:13.423" v="3048" actId="47"/>
        <pc:sldMkLst>
          <pc:docMk/>
          <pc:sldMk cId="3919984126" sldId="666"/>
        </pc:sldMkLst>
      </pc:sldChg>
      <pc:sldChg chg="del">
        <pc:chgData name="Marie-Laure Mauborgne" userId="717f1e20-c968-4716-94d0-7143ffa6b39a" providerId="ADAL" clId="{EBB8CBFE-BCB7-4725-A132-D63A59B72226}" dt="2023-05-30T09:28:43.169" v="1607" actId="47"/>
        <pc:sldMkLst>
          <pc:docMk/>
          <pc:sldMk cId="3156044333" sldId="667"/>
        </pc:sldMkLst>
      </pc:sldChg>
      <pc:sldChg chg="del">
        <pc:chgData name="Marie-Laure Mauborgne" userId="717f1e20-c968-4716-94d0-7143ffa6b39a" providerId="ADAL" clId="{EBB8CBFE-BCB7-4725-A132-D63A59B72226}" dt="2023-05-30T09:31:55.148" v="1679" actId="47"/>
        <pc:sldMkLst>
          <pc:docMk/>
          <pc:sldMk cId="1568999786" sldId="674"/>
        </pc:sldMkLst>
      </pc:sldChg>
      <pc:sldChg chg="add del">
        <pc:chgData name="Marie-Laure Mauborgne" userId="717f1e20-c968-4716-94d0-7143ffa6b39a" providerId="ADAL" clId="{EBB8CBFE-BCB7-4725-A132-D63A59B72226}" dt="2023-06-01T12:47:25.813" v="7175"/>
        <pc:sldMkLst>
          <pc:docMk/>
          <pc:sldMk cId="2988685174" sldId="681"/>
        </pc:sldMkLst>
      </pc:sldChg>
      <pc:sldChg chg="addSp modSp add mod modClrScheme chgLayout">
        <pc:chgData name="Marie-Laure Mauborgne" userId="717f1e20-c968-4716-94d0-7143ffa6b39a" providerId="ADAL" clId="{EBB8CBFE-BCB7-4725-A132-D63A59B72226}" dt="2023-05-31T15:01:10.214" v="6227" actId="13822"/>
        <pc:sldMkLst>
          <pc:docMk/>
          <pc:sldMk cId="1160698084" sldId="682"/>
        </pc:sldMkLst>
        <pc:spChg chg="mod ord">
          <ac:chgData name="Marie-Laure Mauborgne" userId="717f1e20-c968-4716-94d0-7143ffa6b39a" providerId="ADAL" clId="{EBB8CBFE-BCB7-4725-A132-D63A59B72226}" dt="2023-05-29T19:00:26.024" v="841" actId="700"/>
          <ac:spMkLst>
            <pc:docMk/>
            <pc:sldMk cId="1160698084" sldId="682"/>
            <ac:spMk id="2" creationId="{3B424575-0BD0-6012-7B55-4D9883A8CD8D}"/>
          </ac:spMkLst>
        </pc:spChg>
        <pc:spChg chg="add mod ord">
          <ac:chgData name="Marie-Laure Mauborgne" userId="717f1e20-c968-4716-94d0-7143ffa6b39a" providerId="ADAL" clId="{EBB8CBFE-BCB7-4725-A132-D63A59B72226}" dt="2023-05-29T19:00:26.024" v="841" actId="700"/>
          <ac:spMkLst>
            <pc:docMk/>
            <pc:sldMk cId="1160698084" sldId="682"/>
            <ac:spMk id="3" creationId="{6B249E56-4E58-3557-E784-5B6D24482DFE}"/>
          </ac:spMkLst>
        </pc:spChg>
        <pc:cxnChg chg="mod">
          <ac:chgData name="Marie-Laure Mauborgne" userId="717f1e20-c968-4716-94d0-7143ffa6b39a" providerId="ADAL" clId="{EBB8CBFE-BCB7-4725-A132-D63A59B72226}" dt="2023-05-31T15:01:07.435" v="6226" actId="13822"/>
          <ac:cxnSpMkLst>
            <pc:docMk/>
            <pc:sldMk cId="1160698084" sldId="682"/>
            <ac:cxnSpMk id="7" creationId="{99A74B6D-5730-DD2B-4C48-F94F8557DD6D}"/>
          </ac:cxnSpMkLst>
        </pc:cxnChg>
        <pc:cxnChg chg="mod">
          <ac:chgData name="Marie-Laure Mauborgne" userId="717f1e20-c968-4716-94d0-7143ffa6b39a" providerId="ADAL" clId="{EBB8CBFE-BCB7-4725-A132-D63A59B72226}" dt="2023-05-31T15:01:01.334" v="6224" actId="13822"/>
          <ac:cxnSpMkLst>
            <pc:docMk/>
            <pc:sldMk cId="1160698084" sldId="682"/>
            <ac:cxnSpMk id="8" creationId="{4BDB9F1E-D837-DC75-C6E3-6BFAF7C5BD39}"/>
          </ac:cxnSpMkLst>
        </pc:cxnChg>
        <pc:cxnChg chg="mod">
          <ac:chgData name="Marie-Laure Mauborgne" userId="717f1e20-c968-4716-94d0-7143ffa6b39a" providerId="ADAL" clId="{EBB8CBFE-BCB7-4725-A132-D63A59B72226}" dt="2023-05-31T15:01:10.214" v="6227" actId="13822"/>
          <ac:cxnSpMkLst>
            <pc:docMk/>
            <pc:sldMk cId="1160698084" sldId="682"/>
            <ac:cxnSpMk id="9" creationId="{FB4A47A8-0DCD-F1EC-EFE2-CA2A2D3E29B5}"/>
          </ac:cxnSpMkLst>
        </pc:cxnChg>
        <pc:cxnChg chg="mod">
          <ac:chgData name="Marie-Laure Mauborgne" userId="717f1e20-c968-4716-94d0-7143ffa6b39a" providerId="ADAL" clId="{EBB8CBFE-BCB7-4725-A132-D63A59B72226}" dt="2023-05-31T15:01:04.037" v="6225" actId="13822"/>
          <ac:cxnSpMkLst>
            <pc:docMk/>
            <pc:sldMk cId="1160698084" sldId="682"/>
            <ac:cxnSpMk id="13" creationId="{5DD9958E-6A31-D787-FA74-8E8738C7B721}"/>
          </ac:cxnSpMkLst>
        </pc:cxnChg>
      </pc:sldChg>
      <pc:sldChg chg="addSp modSp add mod modClrScheme chgLayout">
        <pc:chgData name="Marie-Laure Mauborgne" userId="717f1e20-c968-4716-94d0-7143ffa6b39a" providerId="ADAL" clId="{EBB8CBFE-BCB7-4725-A132-D63A59B72226}" dt="2023-06-02T15:36:47.707" v="11297" actId="20577"/>
        <pc:sldMkLst>
          <pc:docMk/>
          <pc:sldMk cId="2155701121" sldId="683"/>
        </pc:sldMkLst>
        <pc:spChg chg="mod ord">
          <ac:chgData name="Marie-Laure Mauborgne" userId="717f1e20-c968-4716-94d0-7143ffa6b39a" providerId="ADAL" clId="{EBB8CBFE-BCB7-4725-A132-D63A59B72226}" dt="2023-06-02T15:36:47.707" v="11297" actId="20577"/>
          <ac:spMkLst>
            <pc:docMk/>
            <pc:sldMk cId="2155701121" sldId="683"/>
            <ac:spMk id="2" creationId="{D28891A1-9AC6-F162-318C-199273484D20}"/>
          </ac:spMkLst>
        </pc:spChg>
        <pc:spChg chg="add mod ord">
          <ac:chgData name="Marie-Laure Mauborgne" userId="717f1e20-c968-4716-94d0-7143ffa6b39a" providerId="ADAL" clId="{EBB8CBFE-BCB7-4725-A132-D63A59B72226}" dt="2023-05-29T19:00:26.024" v="841" actId="700"/>
          <ac:spMkLst>
            <pc:docMk/>
            <pc:sldMk cId="2155701121" sldId="683"/>
            <ac:spMk id="3" creationId="{7F2AD448-D8C3-CD98-ACC9-F626B51FC06C}"/>
          </ac:spMkLst>
        </pc:spChg>
      </pc:sldChg>
      <pc:sldChg chg="modSp add mod modClrScheme chgLayout">
        <pc:chgData name="Marie-Laure Mauborgne" userId="717f1e20-c968-4716-94d0-7143ffa6b39a" providerId="ADAL" clId="{EBB8CBFE-BCB7-4725-A132-D63A59B72226}" dt="2023-06-02T15:36:54.079" v="11304" actId="20577"/>
        <pc:sldMkLst>
          <pc:docMk/>
          <pc:sldMk cId="2537473705" sldId="684"/>
        </pc:sldMkLst>
        <pc:spChg chg="mod ord">
          <ac:chgData name="Marie-Laure Mauborgne" userId="717f1e20-c968-4716-94d0-7143ffa6b39a" providerId="ADAL" clId="{EBB8CBFE-BCB7-4725-A132-D63A59B72226}" dt="2023-06-02T15:36:54.079" v="11304" actId="20577"/>
          <ac:spMkLst>
            <pc:docMk/>
            <pc:sldMk cId="2537473705" sldId="684"/>
            <ac:spMk id="2" creationId="{101AF34F-754F-6D34-6496-C8E1BA74AB91}"/>
          </ac:spMkLst>
        </pc:spChg>
        <pc:spChg chg="mod ord">
          <ac:chgData name="Marie-Laure Mauborgne" userId="717f1e20-c968-4716-94d0-7143ffa6b39a" providerId="ADAL" clId="{EBB8CBFE-BCB7-4725-A132-D63A59B72226}" dt="2023-05-29T19:00:26.024" v="841" actId="700"/>
          <ac:spMkLst>
            <pc:docMk/>
            <pc:sldMk cId="2537473705" sldId="684"/>
            <ac:spMk id="3" creationId="{E4D48361-D9BE-33DE-1395-F6E5CD9FE5C3}"/>
          </ac:spMkLst>
        </pc:spChg>
      </pc:sldChg>
      <pc:sldChg chg="del">
        <pc:chgData name="Marie-Laure Mauborgne" userId="717f1e20-c968-4716-94d0-7143ffa6b39a" providerId="ADAL" clId="{EBB8CBFE-BCB7-4725-A132-D63A59B72226}" dt="2023-05-29T18:19:00.371" v="80" actId="47"/>
        <pc:sldMkLst>
          <pc:docMk/>
          <pc:sldMk cId="790279500" sldId="685"/>
        </pc:sldMkLst>
      </pc:sldChg>
      <pc:sldChg chg="add">
        <pc:chgData name="Marie-Laure Mauborgne" userId="717f1e20-c968-4716-94d0-7143ffa6b39a" providerId="ADAL" clId="{EBB8CBFE-BCB7-4725-A132-D63A59B72226}" dt="2023-06-02T10:14:45.278" v="9664"/>
        <pc:sldMkLst>
          <pc:docMk/>
          <pc:sldMk cId="1174788246" sldId="687"/>
        </pc:sldMkLst>
      </pc:sldChg>
      <pc:sldChg chg="add del">
        <pc:chgData name="Marie-Laure Mauborgne" userId="717f1e20-c968-4716-94d0-7143ffa6b39a" providerId="ADAL" clId="{EBB8CBFE-BCB7-4725-A132-D63A59B72226}" dt="2023-06-02T10:14:40.156" v="9663" actId="2696"/>
        <pc:sldMkLst>
          <pc:docMk/>
          <pc:sldMk cId="1188754590" sldId="687"/>
        </pc:sldMkLst>
      </pc:sldChg>
      <pc:sldChg chg="add">
        <pc:chgData name="Marie-Laure Mauborgne" userId="717f1e20-c968-4716-94d0-7143ffa6b39a" providerId="ADAL" clId="{EBB8CBFE-BCB7-4725-A132-D63A59B72226}" dt="2023-06-02T10:14:45.278" v="9664"/>
        <pc:sldMkLst>
          <pc:docMk/>
          <pc:sldMk cId="1435108589" sldId="688"/>
        </pc:sldMkLst>
      </pc:sldChg>
      <pc:sldChg chg="add del">
        <pc:chgData name="Marie-Laure Mauborgne" userId="717f1e20-c968-4716-94d0-7143ffa6b39a" providerId="ADAL" clId="{EBB8CBFE-BCB7-4725-A132-D63A59B72226}" dt="2023-06-02T10:14:40.156" v="9663" actId="2696"/>
        <pc:sldMkLst>
          <pc:docMk/>
          <pc:sldMk cId="2960686114" sldId="688"/>
        </pc:sldMkLst>
      </pc:sldChg>
      <pc:sldChg chg="modSp mod">
        <pc:chgData name="Marie-Laure Mauborgne" userId="717f1e20-c968-4716-94d0-7143ffa6b39a" providerId="ADAL" clId="{EBB8CBFE-BCB7-4725-A132-D63A59B72226}" dt="2023-06-02T13:53:38.167" v="10897" actId="1076"/>
        <pc:sldMkLst>
          <pc:docMk/>
          <pc:sldMk cId="954897603" sldId="2134804504"/>
        </pc:sldMkLst>
        <pc:graphicFrameChg chg="mod modGraphic">
          <ac:chgData name="Marie-Laure Mauborgne" userId="717f1e20-c968-4716-94d0-7143ffa6b39a" providerId="ADAL" clId="{EBB8CBFE-BCB7-4725-A132-D63A59B72226}" dt="2023-06-02T13:53:38.167" v="10897" actId="1076"/>
          <ac:graphicFrameMkLst>
            <pc:docMk/>
            <pc:sldMk cId="954897603" sldId="2134804504"/>
            <ac:graphicFrameMk id="4" creationId="{2743016F-07B1-B536-D98F-B6339E029F70}"/>
          </ac:graphicFrameMkLst>
        </pc:graphicFrameChg>
      </pc:sldChg>
      <pc:sldChg chg="addSp modSp mod">
        <pc:chgData name="Marie-Laure Mauborgne" userId="717f1e20-c968-4716-94d0-7143ffa6b39a" providerId="ADAL" clId="{EBB8CBFE-BCB7-4725-A132-D63A59B72226}" dt="2023-06-02T13:55:22.876" v="10913" actId="20577"/>
        <pc:sldMkLst>
          <pc:docMk/>
          <pc:sldMk cId="1736574082" sldId="2134804508"/>
        </pc:sldMkLst>
        <pc:spChg chg="mod">
          <ac:chgData name="Marie-Laure Mauborgne" userId="717f1e20-c968-4716-94d0-7143ffa6b39a" providerId="ADAL" clId="{EBB8CBFE-BCB7-4725-A132-D63A59B72226}" dt="2023-06-02T13:55:22.876" v="10913" actId="20577"/>
          <ac:spMkLst>
            <pc:docMk/>
            <pc:sldMk cId="1736574082" sldId="2134804508"/>
            <ac:spMk id="7" creationId="{2D7EFEB5-E0F1-FAC8-9899-9C74B495810D}"/>
          </ac:spMkLst>
        </pc:spChg>
        <pc:graphicFrameChg chg="add mod modGraphic">
          <ac:chgData name="Marie-Laure Mauborgne" userId="717f1e20-c968-4716-94d0-7143ffa6b39a" providerId="ADAL" clId="{EBB8CBFE-BCB7-4725-A132-D63A59B72226}" dt="2023-06-02T13:55:07.163" v="10908" actId="20577"/>
          <ac:graphicFrameMkLst>
            <pc:docMk/>
            <pc:sldMk cId="1736574082" sldId="2134804508"/>
            <ac:graphicFrameMk id="4" creationId="{FFA306A5-F933-0F48-90C9-2995B66135DB}"/>
          </ac:graphicFrameMkLst>
        </pc:graphicFrameChg>
      </pc:sldChg>
      <pc:sldChg chg="modSp mod ord modShow">
        <pc:chgData name="Marie-Laure Mauborgne" userId="717f1e20-c968-4716-94d0-7143ffa6b39a" providerId="ADAL" clId="{EBB8CBFE-BCB7-4725-A132-D63A59B72226}" dt="2023-06-02T13:51:27.985" v="10881" actId="20577"/>
        <pc:sldMkLst>
          <pc:docMk/>
          <pc:sldMk cId="1395785707" sldId="2134804513"/>
        </pc:sldMkLst>
        <pc:spChg chg="mod">
          <ac:chgData name="Marie-Laure Mauborgne" userId="717f1e20-c968-4716-94d0-7143ffa6b39a" providerId="ADAL" clId="{EBB8CBFE-BCB7-4725-A132-D63A59B72226}" dt="2023-06-02T13:51:27.985" v="10881" actId="20577"/>
          <ac:spMkLst>
            <pc:docMk/>
            <pc:sldMk cId="1395785707" sldId="2134804513"/>
            <ac:spMk id="7" creationId="{2D7EFEB5-E0F1-FAC8-9899-9C74B495810D}"/>
          </ac:spMkLst>
        </pc:spChg>
      </pc:sldChg>
      <pc:sldChg chg="addSp delSp modSp add mod">
        <pc:chgData name="Marie-Laure Mauborgne" userId="717f1e20-c968-4716-94d0-7143ffa6b39a" providerId="ADAL" clId="{EBB8CBFE-BCB7-4725-A132-D63A59B72226}" dt="2023-05-31T11:09:06.673" v="4494" actId="1076"/>
        <pc:sldMkLst>
          <pc:docMk/>
          <pc:sldMk cId="1210725577" sldId="2134804516"/>
        </pc:sldMkLst>
        <pc:spChg chg="mod">
          <ac:chgData name="Marie-Laure Mauborgne" userId="717f1e20-c968-4716-94d0-7143ffa6b39a" providerId="ADAL" clId="{EBB8CBFE-BCB7-4725-A132-D63A59B72226}" dt="2023-05-31T10:55:01.632" v="4412" actId="404"/>
          <ac:spMkLst>
            <pc:docMk/>
            <pc:sldMk cId="1210725577" sldId="2134804516"/>
            <ac:spMk id="5" creationId="{5A62E944-D4C5-2836-4462-2040F23EA5A9}"/>
          </ac:spMkLst>
        </pc:spChg>
        <pc:graphicFrameChg chg="del">
          <ac:chgData name="Marie-Laure Mauborgne" userId="717f1e20-c968-4716-94d0-7143ffa6b39a" providerId="ADAL" clId="{EBB8CBFE-BCB7-4725-A132-D63A59B72226}" dt="2023-05-31T11:08:46.655" v="4488" actId="478"/>
          <ac:graphicFrameMkLst>
            <pc:docMk/>
            <pc:sldMk cId="1210725577" sldId="2134804516"/>
            <ac:graphicFrameMk id="7" creationId="{1388805D-BE1D-E358-A02D-B4DEF8D2A730}"/>
          </ac:graphicFrameMkLst>
        </pc:graphicFrameChg>
        <pc:picChg chg="add mod">
          <ac:chgData name="Marie-Laure Mauborgne" userId="717f1e20-c968-4716-94d0-7143ffa6b39a" providerId="ADAL" clId="{EBB8CBFE-BCB7-4725-A132-D63A59B72226}" dt="2023-05-31T11:09:06.673" v="4494" actId="1076"/>
          <ac:picMkLst>
            <pc:docMk/>
            <pc:sldMk cId="1210725577" sldId="2134804516"/>
            <ac:picMk id="2" creationId="{1BB5F505-5A8C-6148-FC55-BF690DAF917F}"/>
          </ac:picMkLst>
        </pc:picChg>
        <pc:picChg chg="del">
          <ac:chgData name="Marie-Laure Mauborgne" userId="717f1e20-c968-4716-94d0-7143ffa6b39a" providerId="ADAL" clId="{EBB8CBFE-BCB7-4725-A132-D63A59B72226}" dt="2023-05-31T11:08:43.616" v="4487" actId="478"/>
          <ac:picMkLst>
            <pc:docMk/>
            <pc:sldMk cId="1210725577" sldId="2134804516"/>
            <ac:picMk id="6" creationId="{4B8B1BF8-8F8B-0428-0D31-F6B7D98AB9AE}"/>
          </ac:picMkLst>
        </pc:picChg>
      </pc:sldChg>
      <pc:sldChg chg="add del">
        <pc:chgData name="Marie-Laure Mauborgne" userId="717f1e20-c968-4716-94d0-7143ffa6b39a" providerId="ADAL" clId="{EBB8CBFE-BCB7-4725-A132-D63A59B72226}" dt="2023-05-31T10:54:45.289" v="4410" actId="2696"/>
        <pc:sldMkLst>
          <pc:docMk/>
          <pc:sldMk cId="1565211620" sldId="2134804516"/>
        </pc:sldMkLst>
      </pc:sldChg>
      <pc:sldChg chg="del">
        <pc:chgData name="Marie-Laure Mauborgne" userId="717f1e20-c968-4716-94d0-7143ffa6b39a" providerId="ADAL" clId="{EBB8CBFE-BCB7-4725-A132-D63A59B72226}" dt="2023-05-30T09:54:37.794" v="1766" actId="2696"/>
        <pc:sldMkLst>
          <pc:docMk/>
          <pc:sldMk cId="3726248283" sldId="2134804516"/>
        </pc:sldMkLst>
      </pc:sldChg>
      <pc:sldChg chg="del">
        <pc:chgData name="Marie-Laure Mauborgne" userId="717f1e20-c968-4716-94d0-7143ffa6b39a" providerId="ADAL" clId="{EBB8CBFE-BCB7-4725-A132-D63A59B72226}" dt="2023-05-30T09:54:37.794" v="1766" actId="2696"/>
        <pc:sldMkLst>
          <pc:docMk/>
          <pc:sldMk cId="415415669" sldId="2134804517"/>
        </pc:sldMkLst>
      </pc:sldChg>
      <pc:sldChg chg="addSp delSp modSp add del mod">
        <pc:chgData name="Marie-Laure Mauborgne" userId="717f1e20-c968-4716-94d0-7143ffa6b39a" providerId="ADAL" clId="{EBB8CBFE-BCB7-4725-A132-D63A59B72226}" dt="2023-05-31T13:54:48.571" v="4679" actId="2696"/>
        <pc:sldMkLst>
          <pc:docMk/>
          <pc:sldMk cId="924042277" sldId="2134804517"/>
        </pc:sldMkLst>
        <pc:spChg chg="mod">
          <ac:chgData name="Marie-Laure Mauborgne" userId="717f1e20-c968-4716-94d0-7143ffa6b39a" providerId="ADAL" clId="{EBB8CBFE-BCB7-4725-A132-D63A59B72226}" dt="2023-05-31T13:46:52.820" v="4628" actId="14100"/>
          <ac:spMkLst>
            <pc:docMk/>
            <pc:sldMk cId="924042277" sldId="2134804517"/>
            <ac:spMk id="4" creationId="{13153CB3-A442-6CE0-C1CC-7E16820149E1}"/>
          </ac:spMkLst>
        </pc:spChg>
        <pc:spChg chg="del">
          <ac:chgData name="Marie-Laure Mauborgne" userId="717f1e20-c968-4716-94d0-7143ffa6b39a" providerId="ADAL" clId="{EBB8CBFE-BCB7-4725-A132-D63A59B72226}" dt="2023-05-31T13:46:48.293" v="4627" actId="478"/>
          <ac:spMkLst>
            <pc:docMk/>
            <pc:sldMk cId="924042277" sldId="2134804517"/>
            <ac:spMk id="6" creationId="{CD6EDC1F-8151-093E-9623-B824AE71195E}"/>
          </ac:spMkLst>
        </pc:spChg>
        <pc:spChg chg="del">
          <ac:chgData name="Marie-Laure Mauborgne" userId="717f1e20-c968-4716-94d0-7143ffa6b39a" providerId="ADAL" clId="{EBB8CBFE-BCB7-4725-A132-D63A59B72226}" dt="2023-05-31T13:43:35.033" v="4570" actId="478"/>
          <ac:spMkLst>
            <pc:docMk/>
            <pc:sldMk cId="924042277" sldId="2134804517"/>
            <ac:spMk id="9" creationId="{85944BC5-0AE5-F0D9-5269-377FD43F3632}"/>
          </ac:spMkLst>
        </pc:spChg>
        <pc:spChg chg="mod">
          <ac:chgData name="Marie-Laure Mauborgne" userId="717f1e20-c968-4716-94d0-7143ffa6b39a" providerId="ADAL" clId="{EBB8CBFE-BCB7-4725-A132-D63A59B72226}" dt="2023-05-31T13:45:12.512" v="4604" actId="1076"/>
          <ac:spMkLst>
            <pc:docMk/>
            <pc:sldMk cId="924042277" sldId="2134804517"/>
            <ac:spMk id="10" creationId="{BA8EB49A-F290-6F59-1B33-56ADAE506597}"/>
          </ac:spMkLst>
        </pc:spChg>
        <pc:spChg chg="mod">
          <ac:chgData name="Marie-Laure Mauborgne" userId="717f1e20-c968-4716-94d0-7143ffa6b39a" providerId="ADAL" clId="{EBB8CBFE-BCB7-4725-A132-D63A59B72226}" dt="2023-05-31T13:44:55.295" v="4589" actId="1076"/>
          <ac:spMkLst>
            <pc:docMk/>
            <pc:sldMk cId="924042277" sldId="2134804517"/>
            <ac:spMk id="11" creationId="{4393C8C9-AB93-A80B-A38F-39F5A0CA5BC9}"/>
          </ac:spMkLst>
        </pc:spChg>
        <pc:spChg chg="del">
          <ac:chgData name="Marie-Laure Mauborgne" userId="717f1e20-c968-4716-94d0-7143ffa6b39a" providerId="ADAL" clId="{EBB8CBFE-BCB7-4725-A132-D63A59B72226}" dt="2023-05-31T13:43:58.750" v="4576" actId="478"/>
          <ac:spMkLst>
            <pc:docMk/>
            <pc:sldMk cId="924042277" sldId="2134804517"/>
            <ac:spMk id="14" creationId="{60572169-395B-1E9F-4C64-DB20B8371330}"/>
          </ac:spMkLst>
        </pc:spChg>
        <pc:spChg chg="mod">
          <ac:chgData name="Marie-Laure Mauborgne" userId="717f1e20-c968-4716-94d0-7143ffa6b39a" providerId="ADAL" clId="{EBB8CBFE-BCB7-4725-A132-D63A59B72226}" dt="2023-05-31T13:45:37.009" v="4610" actId="1076"/>
          <ac:spMkLst>
            <pc:docMk/>
            <pc:sldMk cId="924042277" sldId="2134804517"/>
            <ac:spMk id="15" creationId="{817A9D70-0CF4-4409-AF46-F29B4126370E}"/>
          </ac:spMkLst>
        </pc:spChg>
        <pc:spChg chg="mod">
          <ac:chgData name="Marie-Laure Mauborgne" userId="717f1e20-c968-4716-94d0-7143ffa6b39a" providerId="ADAL" clId="{EBB8CBFE-BCB7-4725-A132-D63A59B72226}" dt="2023-05-31T13:45:59.281" v="4611" actId="1076"/>
          <ac:spMkLst>
            <pc:docMk/>
            <pc:sldMk cId="924042277" sldId="2134804517"/>
            <ac:spMk id="16" creationId="{0A9C7C6F-2381-1A48-F23A-A70391A017E0}"/>
          </ac:spMkLst>
        </pc:spChg>
        <pc:spChg chg="add mod ord">
          <ac:chgData name="Marie-Laure Mauborgne" userId="717f1e20-c968-4716-94d0-7143ffa6b39a" providerId="ADAL" clId="{EBB8CBFE-BCB7-4725-A132-D63A59B72226}" dt="2023-05-31T13:46:37.313" v="4626" actId="20577"/>
          <ac:spMkLst>
            <pc:docMk/>
            <pc:sldMk cId="924042277" sldId="2134804517"/>
            <ac:spMk id="21" creationId="{142DD4C7-4CED-125A-0ABD-ADF70B51D20E}"/>
          </ac:spMkLst>
        </pc:spChg>
        <pc:spChg chg="add mod">
          <ac:chgData name="Marie-Laure Mauborgne" userId="717f1e20-c968-4716-94d0-7143ffa6b39a" providerId="ADAL" clId="{EBB8CBFE-BCB7-4725-A132-D63A59B72226}" dt="2023-05-31T13:45:00.706" v="4600" actId="1038"/>
          <ac:spMkLst>
            <pc:docMk/>
            <pc:sldMk cId="924042277" sldId="2134804517"/>
            <ac:spMk id="23" creationId="{B46E0C3D-AC9A-1610-3814-75C1007A6F06}"/>
          </ac:spMkLst>
        </pc:spChg>
        <pc:picChg chg="add del mod">
          <ac:chgData name="Marie-Laure Mauborgne" userId="717f1e20-c968-4716-94d0-7143ffa6b39a" providerId="ADAL" clId="{EBB8CBFE-BCB7-4725-A132-D63A59B72226}" dt="2023-05-31T13:43:16.652" v="4566" actId="478"/>
          <ac:picMkLst>
            <pc:docMk/>
            <pc:sldMk cId="924042277" sldId="2134804517"/>
            <ac:picMk id="2" creationId="{66761FB1-ED96-24C6-1095-A5623934BEC1}"/>
          </ac:picMkLst>
        </pc:picChg>
        <pc:picChg chg="del">
          <ac:chgData name="Marie-Laure Mauborgne" userId="717f1e20-c968-4716-94d0-7143ffa6b39a" providerId="ADAL" clId="{EBB8CBFE-BCB7-4725-A132-D63A59B72226}" dt="2023-05-31T13:43:27.832" v="4568" actId="478"/>
          <ac:picMkLst>
            <pc:docMk/>
            <pc:sldMk cId="924042277" sldId="2134804517"/>
            <ac:picMk id="7" creationId="{EC548DCC-458E-B658-218D-C92553D6913C}"/>
          </ac:picMkLst>
        </pc:picChg>
        <pc:picChg chg="del">
          <ac:chgData name="Marie-Laure Mauborgne" userId="717f1e20-c968-4716-94d0-7143ffa6b39a" providerId="ADAL" clId="{EBB8CBFE-BCB7-4725-A132-D63A59B72226}" dt="2023-05-31T13:43:56.809" v="4575" actId="478"/>
          <ac:picMkLst>
            <pc:docMk/>
            <pc:sldMk cId="924042277" sldId="2134804517"/>
            <ac:picMk id="12" creationId="{235032F5-A6A1-1CC8-4E11-7CD4AA64D684}"/>
          </ac:picMkLst>
        </pc:picChg>
        <pc:picChg chg="add del mod ord">
          <ac:chgData name="Marie-Laure Mauborgne" userId="717f1e20-c968-4716-94d0-7143ffa6b39a" providerId="ADAL" clId="{EBB8CBFE-BCB7-4725-A132-D63A59B72226}" dt="2023-05-31T13:44:51.181" v="4588" actId="478"/>
          <ac:picMkLst>
            <pc:docMk/>
            <pc:sldMk cId="924042277" sldId="2134804517"/>
            <ac:picMk id="17" creationId="{7845B43F-CC98-E23D-0683-44014D0471EC}"/>
          </ac:picMkLst>
        </pc:picChg>
        <pc:picChg chg="add mod ord">
          <ac:chgData name="Marie-Laure Mauborgne" userId="717f1e20-c968-4716-94d0-7143ffa6b39a" providerId="ADAL" clId="{EBB8CBFE-BCB7-4725-A132-D63A59B72226}" dt="2023-05-31T13:45:08.956" v="4603" actId="1076"/>
          <ac:picMkLst>
            <pc:docMk/>
            <pc:sldMk cId="924042277" sldId="2134804517"/>
            <ac:picMk id="18" creationId="{B81D547F-4549-EBBC-A70B-DB79FDE49EC5}"/>
          </ac:picMkLst>
        </pc:picChg>
        <pc:picChg chg="add mod ord">
          <ac:chgData name="Marie-Laure Mauborgne" userId="717f1e20-c968-4716-94d0-7143ffa6b39a" providerId="ADAL" clId="{EBB8CBFE-BCB7-4725-A132-D63A59B72226}" dt="2023-05-31T13:46:27.507" v="4614" actId="14100"/>
          <ac:picMkLst>
            <pc:docMk/>
            <pc:sldMk cId="924042277" sldId="2134804517"/>
            <ac:picMk id="19" creationId="{3E909710-B405-1AD4-A5C2-90F20BCAE30B}"/>
          </ac:picMkLst>
        </pc:picChg>
        <pc:cxnChg chg="del">
          <ac:chgData name="Marie-Laure Mauborgne" userId="717f1e20-c968-4716-94d0-7143ffa6b39a" providerId="ADAL" clId="{EBB8CBFE-BCB7-4725-A132-D63A59B72226}" dt="2023-05-31T13:43:36.802" v="4571" actId="478"/>
          <ac:cxnSpMkLst>
            <pc:docMk/>
            <pc:sldMk cId="924042277" sldId="2134804517"/>
            <ac:cxnSpMk id="8" creationId="{87811643-4FB2-E2C9-8010-D55651D2D23E}"/>
          </ac:cxnSpMkLst>
        </pc:cxnChg>
        <pc:cxnChg chg="del">
          <ac:chgData name="Marie-Laure Mauborgne" userId="717f1e20-c968-4716-94d0-7143ffa6b39a" providerId="ADAL" clId="{EBB8CBFE-BCB7-4725-A132-D63A59B72226}" dt="2023-05-31T13:44:00.553" v="4577" actId="478"/>
          <ac:cxnSpMkLst>
            <pc:docMk/>
            <pc:sldMk cId="924042277" sldId="2134804517"/>
            <ac:cxnSpMk id="13" creationId="{62A67E05-FF8B-3F55-9A24-8B56115A6A2F}"/>
          </ac:cxnSpMkLst>
        </pc:cxnChg>
        <pc:cxnChg chg="add mod ord">
          <ac:chgData name="Marie-Laure Mauborgne" userId="717f1e20-c968-4716-94d0-7143ffa6b39a" providerId="ADAL" clId="{EBB8CBFE-BCB7-4725-A132-D63A59B72226}" dt="2023-05-31T13:46:31.448" v="4616" actId="1038"/>
          <ac:cxnSpMkLst>
            <pc:docMk/>
            <pc:sldMk cId="924042277" sldId="2134804517"/>
            <ac:cxnSpMk id="20" creationId="{655F6B01-C9A7-30B2-C45D-74E334D7F873}"/>
          </ac:cxnSpMkLst>
        </pc:cxnChg>
        <pc:cxnChg chg="add mod">
          <ac:chgData name="Marie-Laure Mauborgne" userId="717f1e20-c968-4716-94d0-7143ffa6b39a" providerId="ADAL" clId="{EBB8CBFE-BCB7-4725-A132-D63A59B72226}" dt="2023-05-31T13:45:05.865" v="4601" actId="14100"/>
          <ac:cxnSpMkLst>
            <pc:docMk/>
            <pc:sldMk cId="924042277" sldId="2134804517"/>
            <ac:cxnSpMk id="22" creationId="{1B9B7173-19F3-1351-520E-684CCE439AE7}"/>
          </ac:cxnSpMkLst>
        </pc:cxnChg>
      </pc:sldChg>
      <pc:sldChg chg="addSp delSp modSp add mod">
        <pc:chgData name="Marie-Laure Mauborgne" userId="717f1e20-c968-4716-94d0-7143ffa6b39a" providerId="ADAL" clId="{EBB8CBFE-BCB7-4725-A132-D63A59B72226}" dt="2023-06-02T12:45:25.218" v="10063" actId="20577"/>
        <pc:sldMkLst>
          <pc:docMk/>
          <pc:sldMk cId="4195000952" sldId="2134804517"/>
        </pc:sldMkLst>
        <pc:spChg chg="mod">
          <ac:chgData name="Marie-Laure Mauborgne" userId="717f1e20-c968-4716-94d0-7143ffa6b39a" providerId="ADAL" clId="{EBB8CBFE-BCB7-4725-A132-D63A59B72226}" dt="2023-06-02T10:12:44.635" v="9658" actId="313"/>
          <ac:spMkLst>
            <pc:docMk/>
            <pc:sldMk cId="4195000952" sldId="2134804517"/>
            <ac:spMk id="4" creationId="{13153CB3-A442-6CE0-C1CC-7E16820149E1}"/>
          </ac:spMkLst>
        </pc:spChg>
        <pc:spChg chg="add mod">
          <ac:chgData name="Marie-Laure Mauborgne" userId="717f1e20-c968-4716-94d0-7143ffa6b39a" providerId="ADAL" clId="{EBB8CBFE-BCB7-4725-A132-D63A59B72226}" dt="2023-06-02T12:45:18.768" v="10055" actId="1076"/>
          <ac:spMkLst>
            <pc:docMk/>
            <pc:sldMk cId="4195000952" sldId="2134804517"/>
            <ac:spMk id="7" creationId="{620B8AF1-D407-C423-8B35-24F40AF39BC2}"/>
          </ac:spMkLst>
        </pc:spChg>
        <pc:spChg chg="mod">
          <ac:chgData name="Marie-Laure Mauborgne" userId="717f1e20-c968-4716-94d0-7143ffa6b39a" providerId="ADAL" clId="{EBB8CBFE-BCB7-4725-A132-D63A59B72226}" dt="2023-06-02T12:45:25.218" v="10063" actId="20577"/>
          <ac:spMkLst>
            <pc:docMk/>
            <pc:sldMk cId="4195000952" sldId="2134804517"/>
            <ac:spMk id="10" creationId="{BA8EB49A-F290-6F59-1B33-56ADAE506597}"/>
          </ac:spMkLst>
        </pc:spChg>
        <pc:spChg chg="del">
          <ac:chgData name="Marie-Laure Mauborgne" userId="717f1e20-c968-4716-94d0-7143ffa6b39a" providerId="ADAL" clId="{EBB8CBFE-BCB7-4725-A132-D63A59B72226}" dt="2023-06-02T12:45:20.806" v="10056" actId="478"/>
          <ac:spMkLst>
            <pc:docMk/>
            <pc:sldMk cId="4195000952" sldId="2134804517"/>
            <ac:spMk id="15" creationId="{817A9D70-0CF4-4409-AF46-F29B4126370E}"/>
          </ac:spMkLst>
        </pc:spChg>
        <pc:picChg chg="add mod ord">
          <ac:chgData name="Marie-Laure Mauborgne" userId="717f1e20-c968-4716-94d0-7143ffa6b39a" providerId="ADAL" clId="{EBB8CBFE-BCB7-4725-A132-D63A59B72226}" dt="2023-06-02T12:44:46.298" v="10036" actId="1037"/>
          <ac:picMkLst>
            <pc:docMk/>
            <pc:sldMk cId="4195000952" sldId="2134804517"/>
            <ac:picMk id="6" creationId="{71CF20ED-CE0F-3862-D07B-FD62892D9ED5}"/>
          </ac:picMkLst>
        </pc:picChg>
        <pc:picChg chg="del">
          <ac:chgData name="Marie-Laure Mauborgne" userId="717f1e20-c968-4716-94d0-7143ffa6b39a" providerId="ADAL" clId="{EBB8CBFE-BCB7-4725-A132-D63A59B72226}" dt="2023-06-02T12:44:38.561" v="10032" actId="478"/>
          <ac:picMkLst>
            <pc:docMk/>
            <pc:sldMk cId="4195000952" sldId="2134804517"/>
            <ac:picMk id="18" creationId="{B81D547F-4549-EBBC-A70B-DB79FDE49EC5}"/>
          </ac:picMkLst>
        </pc:picChg>
      </pc:sldChg>
      <pc:sldChg chg="del">
        <pc:chgData name="Marie-Laure Mauborgne" userId="717f1e20-c968-4716-94d0-7143ffa6b39a" providerId="ADAL" clId="{EBB8CBFE-BCB7-4725-A132-D63A59B72226}" dt="2023-05-29T18:17:59.965" v="68" actId="47"/>
        <pc:sldMkLst>
          <pc:docMk/>
          <pc:sldMk cId="2653008997" sldId="2134804521"/>
        </pc:sldMkLst>
      </pc:sldChg>
      <pc:sldChg chg="del mod modShow">
        <pc:chgData name="Marie-Laure Mauborgne" userId="717f1e20-c968-4716-94d0-7143ffa6b39a" providerId="ADAL" clId="{EBB8CBFE-BCB7-4725-A132-D63A59B72226}" dt="2023-06-02T09:04:28.196" v="8501" actId="47"/>
        <pc:sldMkLst>
          <pc:docMk/>
          <pc:sldMk cId="1617946034" sldId="2134804522"/>
        </pc:sldMkLst>
      </pc:sldChg>
      <pc:sldChg chg="del ord">
        <pc:chgData name="Marie-Laure Mauborgne" userId="717f1e20-c968-4716-94d0-7143ffa6b39a" providerId="ADAL" clId="{EBB8CBFE-BCB7-4725-A132-D63A59B72226}" dt="2023-05-30T09:54:37.794" v="1766" actId="2696"/>
        <pc:sldMkLst>
          <pc:docMk/>
          <pc:sldMk cId="2419785585" sldId="2134804524"/>
        </pc:sldMkLst>
      </pc:sldChg>
      <pc:sldChg chg="add">
        <pc:chgData name="Marie-Laure Mauborgne" userId="717f1e20-c968-4716-94d0-7143ffa6b39a" providerId="ADAL" clId="{EBB8CBFE-BCB7-4725-A132-D63A59B72226}" dt="2023-06-02T10:16:08.713" v="9672"/>
        <pc:sldMkLst>
          <pc:docMk/>
          <pc:sldMk cId="2524168430" sldId="2134804524"/>
        </pc:sldMkLst>
      </pc:sldChg>
      <pc:sldChg chg="modSp add del mod ord modShow">
        <pc:chgData name="Marie-Laure Mauborgne" userId="717f1e20-c968-4716-94d0-7143ffa6b39a" providerId="ADAL" clId="{EBB8CBFE-BCB7-4725-A132-D63A59B72226}" dt="2023-06-02T10:16:05.025" v="9671" actId="2696"/>
        <pc:sldMkLst>
          <pc:docMk/>
          <pc:sldMk cId="3079073105" sldId="2134804524"/>
        </pc:sldMkLst>
        <pc:spChg chg="mod">
          <ac:chgData name="Marie-Laure Mauborgne" userId="717f1e20-c968-4716-94d0-7143ffa6b39a" providerId="ADAL" clId="{EBB8CBFE-BCB7-4725-A132-D63A59B72226}" dt="2023-05-31T14:34:06.631" v="5703" actId="20577"/>
          <ac:spMkLst>
            <pc:docMk/>
            <pc:sldMk cId="3079073105" sldId="2134804524"/>
            <ac:spMk id="10" creationId="{FFC57CF1-A1BA-E68C-4CE0-71883D13FBB2}"/>
          </ac:spMkLst>
        </pc:spChg>
      </pc:sldChg>
      <pc:sldChg chg="del">
        <pc:chgData name="Marie-Laure Mauborgne" userId="717f1e20-c968-4716-94d0-7143ffa6b39a" providerId="ADAL" clId="{EBB8CBFE-BCB7-4725-A132-D63A59B72226}" dt="2023-05-29T18:20:46.165" v="88" actId="47"/>
        <pc:sldMkLst>
          <pc:docMk/>
          <pc:sldMk cId="1689646336" sldId="2142535367"/>
        </pc:sldMkLst>
      </pc:sldChg>
      <pc:sldChg chg="del">
        <pc:chgData name="Marie-Laure Mauborgne" userId="717f1e20-c968-4716-94d0-7143ffa6b39a" providerId="ADAL" clId="{EBB8CBFE-BCB7-4725-A132-D63A59B72226}" dt="2023-05-29T18:20:45.487" v="87" actId="47"/>
        <pc:sldMkLst>
          <pc:docMk/>
          <pc:sldMk cId="377998030" sldId="2142535368"/>
        </pc:sldMkLst>
      </pc:sldChg>
      <pc:sldChg chg="del">
        <pc:chgData name="Marie-Laure Mauborgne" userId="717f1e20-c968-4716-94d0-7143ffa6b39a" providerId="ADAL" clId="{EBB8CBFE-BCB7-4725-A132-D63A59B72226}" dt="2023-05-29T18:20:42.981" v="84" actId="47"/>
        <pc:sldMkLst>
          <pc:docMk/>
          <pc:sldMk cId="2639490425" sldId="2147378789"/>
        </pc:sldMkLst>
      </pc:sldChg>
      <pc:sldChg chg="del">
        <pc:chgData name="Marie-Laure Mauborgne" userId="717f1e20-c968-4716-94d0-7143ffa6b39a" providerId="ADAL" clId="{EBB8CBFE-BCB7-4725-A132-D63A59B72226}" dt="2023-05-29T18:18:46.194" v="75" actId="47"/>
        <pc:sldMkLst>
          <pc:docMk/>
          <pc:sldMk cId="1786774589" sldId="2147378812"/>
        </pc:sldMkLst>
      </pc:sldChg>
      <pc:sldChg chg="del">
        <pc:chgData name="Marie-Laure Mauborgne" userId="717f1e20-c968-4716-94d0-7143ffa6b39a" providerId="ADAL" clId="{EBB8CBFE-BCB7-4725-A132-D63A59B72226}" dt="2023-05-29T18:18:16.485" v="69" actId="47"/>
        <pc:sldMkLst>
          <pc:docMk/>
          <pc:sldMk cId="3658751145" sldId="2147378818"/>
        </pc:sldMkLst>
      </pc:sldChg>
      <pc:sldChg chg="del">
        <pc:chgData name="Marie-Laure Mauborgne" userId="717f1e20-c968-4716-94d0-7143ffa6b39a" providerId="ADAL" clId="{EBB8CBFE-BCB7-4725-A132-D63A59B72226}" dt="2023-05-29T18:18:17.668" v="70" actId="47"/>
        <pc:sldMkLst>
          <pc:docMk/>
          <pc:sldMk cId="2344860147" sldId="2147378819"/>
        </pc:sldMkLst>
      </pc:sldChg>
      <pc:sldChg chg="del mod ord modShow">
        <pc:chgData name="Marie-Laure Mauborgne" userId="717f1e20-c968-4716-94d0-7143ffa6b39a" providerId="ADAL" clId="{EBB8CBFE-BCB7-4725-A132-D63A59B72226}" dt="2023-06-02T08:32:12.480" v="7732" actId="47"/>
        <pc:sldMkLst>
          <pc:docMk/>
          <pc:sldMk cId="4092030658" sldId="2147378821"/>
        </pc:sldMkLst>
      </pc:sldChg>
      <pc:sldChg chg="del">
        <pc:chgData name="Marie-Laure Mauborgne" userId="717f1e20-c968-4716-94d0-7143ffa6b39a" providerId="ADAL" clId="{EBB8CBFE-BCB7-4725-A132-D63A59B72226}" dt="2023-05-29T18:18:54.577" v="77" actId="47"/>
        <pc:sldMkLst>
          <pc:docMk/>
          <pc:sldMk cId="470958028" sldId="2147378824"/>
        </pc:sldMkLst>
      </pc:sldChg>
      <pc:sldChg chg="del">
        <pc:chgData name="Marie-Laure Mauborgne" userId="717f1e20-c968-4716-94d0-7143ffa6b39a" providerId="ADAL" clId="{EBB8CBFE-BCB7-4725-A132-D63A59B72226}" dt="2023-05-29T18:18:58.026" v="79" actId="47"/>
        <pc:sldMkLst>
          <pc:docMk/>
          <pc:sldMk cId="3078460102" sldId="2147378825"/>
        </pc:sldMkLst>
      </pc:sldChg>
      <pc:sldChg chg="addSp modSp add del mod ord modClrScheme chgLayout">
        <pc:chgData name="Marie-Laure Mauborgne" userId="717f1e20-c968-4716-94d0-7143ffa6b39a" providerId="ADAL" clId="{EBB8CBFE-BCB7-4725-A132-D63A59B72226}" dt="2023-06-02T07:56:46.917" v="7402" actId="20577"/>
        <pc:sldMkLst>
          <pc:docMk/>
          <pc:sldMk cId="3818289999" sldId="2147378829"/>
        </pc:sldMkLst>
        <pc:spChg chg="mod ord">
          <ac:chgData name="Marie-Laure Mauborgne" userId="717f1e20-c968-4716-94d0-7143ffa6b39a" providerId="ADAL" clId="{EBB8CBFE-BCB7-4725-A132-D63A59B72226}" dt="2023-05-29T18:52:01.936" v="646" actId="700"/>
          <ac:spMkLst>
            <pc:docMk/>
            <pc:sldMk cId="3818289999" sldId="2147378829"/>
            <ac:spMk id="2" creationId="{00000000-0000-0000-0000-000000000000}"/>
          </ac:spMkLst>
        </pc:spChg>
        <pc:spChg chg="add mod ord">
          <ac:chgData name="Marie-Laure Mauborgne" userId="717f1e20-c968-4716-94d0-7143ffa6b39a" providerId="ADAL" clId="{EBB8CBFE-BCB7-4725-A132-D63A59B72226}" dt="2023-06-02T07:56:46.917" v="7402" actId="20577"/>
          <ac:spMkLst>
            <pc:docMk/>
            <pc:sldMk cId="3818289999" sldId="2147378829"/>
            <ac:spMk id="3" creationId="{3FC3C927-A29C-CF9E-EAF9-CA301F0A2722}"/>
          </ac:spMkLst>
        </pc:spChg>
        <pc:spChg chg="mod ord">
          <ac:chgData name="Marie-Laure Mauborgne" userId="717f1e20-c968-4716-94d0-7143ffa6b39a" providerId="ADAL" clId="{EBB8CBFE-BCB7-4725-A132-D63A59B72226}" dt="2023-05-29T18:52:01.936" v="646" actId="700"/>
          <ac:spMkLst>
            <pc:docMk/>
            <pc:sldMk cId="3818289999" sldId="2147378829"/>
            <ac:spMk id="4" creationId="{00000000-0000-0000-0000-000000000000}"/>
          </ac:spMkLst>
        </pc:spChg>
        <pc:spChg chg="mod ord">
          <ac:chgData name="Marie-Laure Mauborgne" userId="717f1e20-c968-4716-94d0-7143ffa6b39a" providerId="ADAL" clId="{EBB8CBFE-BCB7-4725-A132-D63A59B72226}" dt="2023-05-29T18:52:01.936" v="646" actId="700"/>
          <ac:spMkLst>
            <pc:docMk/>
            <pc:sldMk cId="3818289999" sldId="2147378829"/>
            <ac:spMk id="5" creationId="{00000000-0000-0000-0000-000000000000}"/>
          </ac:spMkLst>
        </pc:spChg>
        <pc:spChg chg="mod">
          <ac:chgData name="Marie-Laure Mauborgne" userId="717f1e20-c968-4716-94d0-7143ffa6b39a" providerId="ADAL" clId="{EBB8CBFE-BCB7-4725-A132-D63A59B72226}" dt="2023-05-29T18:17:29.331" v="63" actId="6549"/>
          <ac:spMkLst>
            <pc:docMk/>
            <pc:sldMk cId="3818289999" sldId="2147378829"/>
            <ac:spMk id="6" creationId="{4A46C37D-4637-46E0-99BE-2B6B42CE6ED0}"/>
          </ac:spMkLst>
        </pc:spChg>
      </pc:sldChg>
      <pc:sldChg chg="del">
        <pc:chgData name="Marie-Laure Mauborgne" userId="717f1e20-c968-4716-94d0-7143ffa6b39a" providerId="ADAL" clId="{EBB8CBFE-BCB7-4725-A132-D63A59B72226}" dt="2023-05-29T18:20:44.409" v="86" actId="47"/>
        <pc:sldMkLst>
          <pc:docMk/>
          <pc:sldMk cId="400922107" sldId="2147378830"/>
        </pc:sldMkLst>
      </pc:sldChg>
      <pc:sldChg chg="addSp delSp modSp mod modClrScheme modShow chgLayout">
        <pc:chgData name="Marie-Laure Mauborgne" userId="717f1e20-c968-4716-94d0-7143ffa6b39a" providerId="ADAL" clId="{EBB8CBFE-BCB7-4725-A132-D63A59B72226}" dt="2023-06-02T08:17:19.534" v="7506" actId="14100"/>
        <pc:sldMkLst>
          <pc:docMk/>
          <pc:sldMk cId="3693928197" sldId="2147379066"/>
        </pc:sldMkLst>
        <pc:spChg chg="mod ord">
          <ac:chgData name="Marie-Laure Mauborgne" userId="717f1e20-c968-4716-94d0-7143ffa6b39a" providerId="ADAL" clId="{EBB8CBFE-BCB7-4725-A132-D63A59B72226}" dt="2023-06-02T08:12:13.305" v="7429" actId="1076"/>
          <ac:spMkLst>
            <pc:docMk/>
            <pc:sldMk cId="3693928197" sldId="2147379066"/>
            <ac:spMk id="2" creationId="{0A7E3458-FCCA-C340-EA5E-5CCF5265DCD1}"/>
          </ac:spMkLst>
        </pc:spChg>
        <pc:spChg chg="mod ord">
          <ac:chgData name="Marie-Laure Mauborgne" userId="717f1e20-c968-4716-94d0-7143ffa6b39a" providerId="ADAL" clId="{EBB8CBFE-BCB7-4725-A132-D63A59B72226}" dt="2023-05-31T07:06:01.572" v="3131" actId="700"/>
          <ac:spMkLst>
            <pc:docMk/>
            <pc:sldMk cId="3693928197" sldId="2147379066"/>
            <ac:spMk id="4" creationId="{53A9DB43-F67B-6C12-8C04-5E9CB96356A1}"/>
          </ac:spMkLst>
        </pc:spChg>
        <pc:spChg chg="mod ord">
          <ac:chgData name="Marie-Laure Mauborgne" userId="717f1e20-c968-4716-94d0-7143ffa6b39a" providerId="ADAL" clId="{EBB8CBFE-BCB7-4725-A132-D63A59B72226}" dt="2023-05-31T07:06:01.572" v="3131" actId="700"/>
          <ac:spMkLst>
            <pc:docMk/>
            <pc:sldMk cId="3693928197" sldId="2147379066"/>
            <ac:spMk id="5" creationId="{DEF6262A-EBFE-BE21-6D7D-DFE6BB6ED2AB}"/>
          </ac:spMkLst>
        </pc:spChg>
        <pc:spChg chg="add mod ord">
          <ac:chgData name="Marie-Laure Mauborgne" userId="717f1e20-c968-4716-94d0-7143ffa6b39a" providerId="ADAL" clId="{EBB8CBFE-BCB7-4725-A132-D63A59B72226}" dt="2023-06-02T07:00:33.919" v="7251" actId="167"/>
          <ac:spMkLst>
            <pc:docMk/>
            <pc:sldMk cId="3693928197" sldId="2147379066"/>
            <ac:spMk id="6" creationId="{86DD17EC-9249-A030-DB62-3C440DFC803F}"/>
          </ac:spMkLst>
        </pc:spChg>
        <pc:spChg chg="mod">
          <ac:chgData name="Marie-Laure Mauborgne" userId="717f1e20-c968-4716-94d0-7143ffa6b39a" providerId="ADAL" clId="{EBB8CBFE-BCB7-4725-A132-D63A59B72226}" dt="2023-05-29T18:30:47.822" v="309" actId="1036"/>
          <ac:spMkLst>
            <pc:docMk/>
            <pc:sldMk cId="3693928197" sldId="2147379066"/>
            <ac:spMk id="8" creationId="{3620C76A-D423-B5E0-9A1F-628546B28EE7}"/>
          </ac:spMkLst>
        </pc:spChg>
        <pc:spChg chg="add mod">
          <ac:chgData name="Marie-Laure Mauborgne" userId="717f1e20-c968-4716-94d0-7143ffa6b39a" providerId="ADAL" clId="{EBB8CBFE-BCB7-4725-A132-D63A59B72226}" dt="2023-05-29T18:31:29.579" v="350" actId="1038"/>
          <ac:spMkLst>
            <pc:docMk/>
            <pc:sldMk cId="3693928197" sldId="2147379066"/>
            <ac:spMk id="10" creationId="{6B10ED1D-6DCC-2E83-8917-EBDFF391256B}"/>
          </ac:spMkLst>
        </pc:spChg>
        <pc:spChg chg="mod">
          <ac:chgData name="Marie-Laure Mauborgne" userId="717f1e20-c968-4716-94d0-7143ffa6b39a" providerId="ADAL" clId="{EBB8CBFE-BCB7-4725-A132-D63A59B72226}" dt="2023-05-29T18:31:29.579" v="350" actId="1038"/>
          <ac:spMkLst>
            <pc:docMk/>
            <pc:sldMk cId="3693928197" sldId="2147379066"/>
            <ac:spMk id="11" creationId="{0E3AC79E-2EA7-7BC3-5B5B-E88629B7981D}"/>
          </ac:spMkLst>
        </pc:spChg>
        <pc:spChg chg="del">
          <ac:chgData name="Marie-Laure Mauborgne" userId="717f1e20-c968-4716-94d0-7143ffa6b39a" providerId="ADAL" clId="{EBB8CBFE-BCB7-4725-A132-D63A59B72226}" dt="2023-05-29T18:28:29.703" v="196" actId="478"/>
          <ac:spMkLst>
            <pc:docMk/>
            <pc:sldMk cId="3693928197" sldId="2147379066"/>
            <ac:spMk id="12" creationId="{EE276D03-4EF7-A5E8-7140-F43917164D43}"/>
          </ac:spMkLst>
        </pc:spChg>
        <pc:spChg chg="add del">
          <ac:chgData name="Marie-Laure Mauborgne" userId="717f1e20-c968-4716-94d0-7143ffa6b39a" providerId="ADAL" clId="{EBB8CBFE-BCB7-4725-A132-D63A59B72226}" dt="2023-05-29T18:25:00.675" v="125" actId="478"/>
          <ac:spMkLst>
            <pc:docMk/>
            <pc:sldMk cId="3693928197" sldId="2147379066"/>
            <ac:spMk id="13" creationId="{A2F85E98-44DC-7C11-805D-60D0E94B2768}"/>
          </ac:spMkLst>
        </pc:spChg>
        <pc:spChg chg="add mod">
          <ac:chgData name="Marie-Laure Mauborgne" userId="717f1e20-c968-4716-94d0-7143ffa6b39a" providerId="ADAL" clId="{EBB8CBFE-BCB7-4725-A132-D63A59B72226}" dt="2023-06-02T08:14:04.993" v="7461" actId="20577"/>
          <ac:spMkLst>
            <pc:docMk/>
            <pc:sldMk cId="3693928197" sldId="2147379066"/>
            <ac:spMk id="14" creationId="{78CA0DEC-7D7E-8ADA-9A19-EB06FF2EE95C}"/>
          </ac:spMkLst>
        </pc:spChg>
        <pc:spChg chg="mod">
          <ac:chgData name="Marie-Laure Mauborgne" userId="717f1e20-c968-4716-94d0-7143ffa6b39a" providerId="ADAL" clId="{EBB8CBFE-BCB7-4725-A132-D63A59B72226}" dt="2023-05-29T18:31:29.579" v="350" actId="1038"/>
          <ac:spMkLst>
            <pc:docMk/>
            <pc:sldMk cId="3693928197" sldId="2147379066"/>
            <ac:spMk id="15" creationId="{500BCF8F-DC76-AACF-1858-30F5C6C630CC}"/>
          </ac:spMkLst>
        </pc:spChg>
        <pc:spChg chg="add mod">
          <ac:chgData name="Marie-Laure Mauborgne" userId="717f1e20-c968-4716-94d0-7143ffa6b39a" providerId="ADAL" clId="{EBB8CBFE-BCB7-4725-A132-D63A59B72226}" dt="2023-05-29T18:31:29.579" v="350" actId="1038"/>
          <ac:spMkLst>
            <pc:docMk/>
            <pc:sldMk cId="3693928197" sldId="2147379066"/>
            <ac:spMk id="17" creationId="{C3D22EE4-2B55-5183-FF54-B1233ADA5056}"/>
          </ac:spMkLst>
        </pc:spChg>
        <pc:spChg chg="mod">
          <ac:chgData name="Marie-Laure Mauborgne" userId="717f1e20-c968-4716-94d0-7143ffa6b39a" providerId="ADAL" clId="{EBB8CBFE-BCB7-4725-A132-D63A59B72226}" dt="2023-05-29T18:31:29.579" v="350" actId="1038"/>
          <ac:spMkLst>
            <pc:docMk/>
            <pc:sldMk cId="3693928197" sldId="2147379066"/>
            <ac:spMk id="19" creationId="{B9FF3146-0055-CF54-F633-E553E57CD8F3}"/>
          </ac:spMkLst>
        </pc:spChg>
        <pc:spChg chg="add mod">
          <ac:chgData name="Marie-Laure Mauborgne" userId="717f1e20-c968-4716-94d0-7143ffa6b39a" providerId="ADAL" clId="{EBB8CBFE-BCB7-4725-A132-D63A59B72226}" dt="2023-06-02T08:16:41.658" v="7495" actId="1076"/>
          <ac:spMkLst>
            <pc:docMk/>
            <pc:sldMk cId="3693928197" sldId="2147379066"/>
            <ac:spMk id="21" creationId="{7884E15A-B47C-D8CC-4449-22FC00904FDE}"/>
          </ac:spMkLst>
        </pc:spChg>
        <pc:spChg chg="del">
          <ac:chgData name="Marie-Laure Mauborgne" userId="717f1e20-c968-4716-94d0-7143ffa6b39a" providerId="ADAL" clId="{EBB8CBFE-BCB7-4725-A132-D63A59B72226}" dt="2023-05-29T18:25:41.337" v="132" actId="478"/>
          <ac:spMkLst>
            <pc:docMk/>
            <pc:sldMk cId="3693928197" sldId="2147379066"/>
            <ac:spMk id="23" creationId="{5292977F-CD56-DBE1-5063-36CF5C809F9D}"/>
          </ac:spMkLst>
        </pc:spChg>
        <pc:spChg chg="del">
          <ac:chgData name="Marie-Laure Mauborgne" userId="717f1e20-c968-4716-94d0-7143ffa6b39a" providerId="ADAL" clId="{EBB8CBFE-BCB7-4725-A132-D63A59B72226}" dt="2023-05-29T18:25:26.513" v="130" actId="478"/>
          <ac:spMkLst>
            <pc:docMk/>
            <pc:sldMk cId="3693928197" sldId="2147379066"/>
            <ac:spMk id="31" creationId="{35E515AF-7899-B1F7-D4D6-6EB37C316386}"/>
          </ac:spMkLst>
        </pc:spChg>
        <pc:spChg chg="del">
          <ac:chgData name="Marie-Laure Mauborgne" userId="717f1e20-c968-4716-94d0-7143ffa6b39a" providerId="ADAL" clId="{EBB8CBFE-BCB7-4725-A132-D63A59B72226}" dt="2023-05-29T18:28:29.703" v="196" actId="478"/>
          <ac:spMkLst>
            <pc:docMk/>
            <pc:sldMk cId="3693928197" sldId="2147379066"/>
            <ac:spMk id="32" creationId="{9E3448D5-DACC-5E93-FBA0-43EE274E5CDC}"/>
          </ac:spMkLst>
        </pc:spChg>
        <pc:spChg chg="mod">
          <ac:chgData name="Marie-Laure Mauborgne" userId="717f1e20-c968-4716-94d0-7143ffa6b39a" providerId="ADAL" clId="{EBB8CBFE-BCB7-4725-A132-D63A59B72226}" dt="2023-06-02T08:17:19.534" v="7506" actId="14100"/>
          <ac:spMkLst>
            <pc:docMk/>
            <pc:sldMk cId="3693928197" sldId="2147379066"/>
            <ac:spMk id="33" creationId="{D8D1EB02-F05A-CA71-3850-605BFD08CF30}"/>
          </ac:spMkLst>
        </pc:spChg>
        <pc:spChg chg="mod">
          <ac:chgData name="Marie-Laure Mauborgne" userId="717f1e20-c968-4716-94d0-7143ffa6b39a" providerId="ADAL" clId="{EBB8CBFE-BCB7-4725-A132-D63A59B72226}" dt="2023-06-02T08:14:09.185" v="7462" actId="14100"/>
          <ac:spMkLst>
            <pc:docMk/>
            <pc:sldMk cId="3693928197" sldId="2147379066"/>
            <ac:spMk id="37" creationId="{6115BB99-952E-A337-CB28-FADA70D2AF78}"/>
          </ac:spMkLst>
        </pc:spChg>
        <pc:spChg chg="mod">
          <ac:chgData name="Marie-Laure Mauborgne" userId="717f1e20-c968-4716-94d0-7143ffa6b39a" providerId="ADAL" clId="{EBB8CBFE-BCB7-4725-A132-D63A59B72226}" dt="2023-06-02T08:12:45.389" v="7434" actId="14100"/>
          <ac:spMkLst>
            <pc:docMk/>
            <pc:sldMk cId="3693928197" sldId="2147379066"/>
            <ac:spMk id="42" creationId="{3F9DD595-5D14-7D16-8152-43D9E95B3FC8}"/>
          </ac:spMkLst>
        </pc:spChg>
        <pc:spChg chg="mod">
          <ac:chgData name="Marie-Laure Mauborgne" userId="717f1e20-c968-4716-94d0-7143ffa6b39a" providerId="ADAL" clId="{EBB8CBFE-BCB7-4725-A132-D63A59B72226}" dt="2023-06-02T08:12:21.624" v="7430" actId="1076"/>
          <ac:spMkLst>
            <pc:docMk/>
            <pc:sldMk cId="3693928197" sldId="2147379066"/>
            <ac:spMk id="45" creationId="{62556E9F-5FE9-017A-79C0-E04ADB1878EE}"/>
          </ac:spMkLst>
        </pc:spChg>
        <pc:spChg chg="del">
          <ac:chgData name="Marie-Laure Mauborgne" userId="717f1e20-c968-4716-94d0-7143ffa6b39a" providerId="ADAL" clId="{EBB8CBFE-BCB7-4725-A132-D63A59B72226}" dt="2023-05-29T18:28:29.703" v="196" actId="478"/>
          <ac:spMkLst>
            <pc:docMk/>
            <pc:sldMk cId="3693928197" sldId="2147379066"/>
            <ac:spMk id="48" creationId="{F021FFD7-E5D2-E8D6-02EB-5D7F8104B5FF}"/>
          </ac:spMkLst>
        </pc:spChg>
        <pc:spChg chg="del">
          <ac:chgData name="Marie-Laure Mauborgne" userId="717f1e20-c968-4716-94d0-7143ffa6b39a" providerId="ADAL" clId="{EBB8CBFE-BCB7-4725-A132-D63A59B72226}" dt="2023-05-29T18:28:25.299" v="195" actId="478"/>
          <ac:spMkLst>
            <pc:docMk/>
            <pc:sldMk cId="3693928197" sldId="2147379066"/>
            <ac:spMk id="49" creationId="{2ED78E6A-FD6E-26D9-831C-C974C1BCECA7}"/>
          </ac:spMkLst>
        </pc:spChg>
        <pc:spChg chg="del">
          <ac:chgData name="Marie-Laure Mauborgne" userId="717f1e20-c968-4716-94d0-7143ffa6b39a" providerId="ADAL" clId="{EBB8CBFE-BCB7-4725-A132-D63A59B72226}" dt="2023-05-29T18:28:32.779" v="197" actId="478"/>
          <ac:spMkLst>
            <pc:docMk/>
            <pc:sldMk cId="3693928197" sldId="2147379066"/>
            <ac:spMk id="67" creationId="{0A876F6B-7AF9-1749-1B72-60752D6AFE94}"/>
          </ac:spMkLst>
        </pc:spChg>
        <pc:spChg chg="mod">
          <ac:chgData name="Marie-Laure Mauborgne" userId="717f1e20-c968-4716-94d0-7143ffa6b39a" providerId="ADAL" clId="{EBB8CBFE-BCB7-4725-A132-D63A59B72226}" dt="2023-06-02T08:17:15.621" v="7505" actId="20577"/>
          <ac:spMkLst>
            <pc:docMk/>
            <pc:sldMk cId="3693928197" sldId="2147379066"/>
            <ac:spMk id="69" creationId="{63D4AF36-E067-0350-F4CD-359735CE531A}"/>
          </ac:spMkLst>
        </pc:spChg>
        <pc:spChg chg="mod">
          <ac:chgData name="Marie-Laure Mauborgne" userId="717f1e20-c968-4716-94d0-7143ffa6b39a" providerId="ADAL" clId="{EBB8CBFE-BCB7-4725-A132-D63A59B72226}" dt="2023-06-02T07:01:27.225" v="7295" actId="1035"/>
          <ac:spMkLst>
            <pc:docMk/>
            <pc:sldMk cId="3693928197" sldId="2147379066"/>
            <ac:spMk id="81" creationId="{2D58B63D-F416-0063-9377-A43DE719F2EF}"/>
          </ac:spMkLst>
        </pc:spChg>
        <pc:spChg chg="mod">
          <ac:chgData name="Marie-Laure Mauborgne" userId="717f1e20-c968-4716-94d0-7143ffa6b39a" providerId="ADAL" clId="{EBB8CBFE-BCB7-4725-A132-D63A59B72226}" dt="2023-06-02T07:01:20.909" v="7282" actId="1036"/>
          <ac:spMkLst>
            <pc:docMk/>
            <pc:sldMk cId="3693928197" sldId="2147379066"/>
            <ac:spMk id="85" creationId="{8DE03278-F6DE-CACB-FE96-7B2B7E75D9CC}"/>
          </ac:spMkLst>
        </pc:spChg>
        <pc:spChg chg="mod">
          <ac:chgData name="Marie-Laure Mauborgne" userId="717f1e20-c968-4716-94d0-7143ffa6b39a" providerId="ADAL" clId="{EBB8CBFE-BCB7-4725-A132-D63A59B72226}" dt="2023-06-02T08:16:57.854" v="7499" actId="1076"/>
          <ac:spMkLst>
            <pc:docMk/>
            <pc:sldMk cId="3693928197" sldId="2147379066"/>
            <ac:spMk id="88" creationId="{176364BA-0606-8CBC-E841-70F119EFA470}"/>
          </ac:spMkLst>
        </pc:spChg>
        <pc:spChg chg="del">
          <ac:chgData name="Marie-Laure Mauborgne" userId="717f1e20-c968-4716-94d0-7143ffa6b39a" providerId="ADAL" clId="{EBB8CBFE-BCB7-4725-A132-D63A59B72226}" dt="2023-05-29T18:25:41.337" v="132" actId="478"/>
          <ac:spMkLst>
            <pc:docMk/>
            <pc:sldMk cId="3693928197" sldId="2147379066"/>
            <ac:spMk id="89" creationId="{3C6F8C5F-0B7A-1898-7A79-2298D9852508}"/>
          </ac:spMkLst>
        </pc:spChg>
        <pc:spChg chg="del">
          <ac:chgData name="Marie-Laure Mauborgne" userId="717f1e20-c968-4716-94d0-7143ffa6b39a" providerId="ADAL" clId="{EBB8CBFE-BCB7-4725-A132-D63A59B72226}" dt="2023-05-29T18:25:41.337" v="132" actId="478"/>
          <ac:spMkLst>
            <pc:docMk/>
            <pc:sldMk cId="3693928197" sldId="2147379066"/>
            <ac:spMk id="92" creationId="{811D5398-D0D3-3D37-8412-FD573A2F1E84}"/>
          </ac:spMkLst>
        </pc:spChg>
        <pc:spChg chg="del">
          <ac:chgData name="Marie-Laure Mauborgne" userId="717f1e20-c968-4716-94d0-7143ffa6b39a" providerId="ADAL" clId="{EBB8CBFE-BCB7-4725-A132-D63A59B72226}" dt="2023-05-29T18:25:41.337" v="132" actId="478"/>
          <ac:spMkLst>
            <pc:docMk/>
            <pc:sldMk cId="3693928197" sldId="2147379066"/>
            <ac:spMk id="95" creationId="{7EF478FA-7529-6177-100C-9AB7D938B051}"/>
          </ac:spMkLst>
        </pc:spChg>
        <pc:spChg chg="mod">
          <ac:chgData name="Marie-Laure Mauborgne" userId="717f1e20-c968-4716-94d0-7143ffa6b39a" providerId="ADAL" clId="{EBB8CBFE-BCB7-4725-A132-D63A59B72226}" dt="2023-06-02T08:12:32.790" v="7432" actId="14100"/>
          <ac:spMkLst>
            <pc:docMk/>
            <pc:sldMk cId="3693928197" sldId="2147379066"/>
            <ac:spMk id="223232" creationId="{2A92BAD3-0167-E8FF-1D69-83A7D395FF48}"/>
          </ac:spMkLst>
        </pc:spChg>
        <pc:spChg chg="add del">
          <ac:chgData name="Marie-Laure Mauborgne" userId="717f1e20-c968-4716-94d0-7143ffa6b39a" providerId="ADAL" clId="{EBB8CBFE-BCB7-4725-A132-D63A59B72226}" dt="2023-05-29T18:26:02.115" v="142" actId="478"/>
          <ac:spMkLst>
            <pc:docMk/>
            <pc:sldMk cId="3693928197" sldId="2147379066"/>
            <ac:spMk id="223233" creationId="{262B0474-717C-FB4C-FEC1-9EFD73A2DD40}"/>
          </ac:spMkLst>
        </pc:spChg>
        <pc:spChg chg="add del mod">
          <ac:chgData name="Marie-Laure Mauborgne" userId="717f1e20-c968-4716-94d0-7143ffa6b39a" providerId="ADAL" clId="{EBB8CBFE-BCB7-4725-A132-D63A59B72226}" dt="2023-05-29T18:31:29.579" v="350" actId="1038"/>
          <ac:spMkLst>
            <pc:docMk/>
            <pc:sldMk cId="3693928197" sldId="2147379066"/>
            <ac:spMk id="223237" creationId="{BE7DCECC-646A-624C-FD4C-1A8F6FA7B3E8}"/>
          </ac:spMkLst>
        </pc:spChg>
        <pc:spChg chg="del">
          <ac:chgData name="Marie-Laure Mauborgne" userId="717f1e20-c968-4716-94d0-7143ffa6b39a" providerId="ADAL" clId="{EBB8CBFE-BCB7-4725-A132-D63A59B72226}" dt="2023-05-29T18:26:06.499" v="144" actId="478"/>
          <ac:spMkLst>
            <pc:docMk/>
            <pc:sldMk cId="3693928197" sldId="2147379066"/>
            <ac:spMk id="223241" creationId="{617EB612-D2CB-7A8B-CAAD-9DE162CE0FE6}"/>
          </ac:spMkLst>
        </pc:spChg>
        <pc:spChg chg="mod">
          <ac:chgData name="Marie-Laure Mauborgne" userId="717f1e20-c968-4716-94d0-7143ffa6b39a" providerId="ADAL" clId="{EBB8CBFE-BCB7-4725-A132-D63A59B72226}" dt="2023-05-29T18:31:29.579" v="350" actId="1038"/>
          <ac:spMkLst>
            <pc:docMk/>
            <pc:sldMk cId="3693928197" sldId="2147379066"/>
            <ac:spMk id="223242" creationId="{45A5BCE7-CC93-A609-3817-4D42DEA815C0}"/>
          </ac:spMkLst>
        </pc:spChg>
        <pc:spChg chg="del mod">
          <ac:chgData name="Marie-Laure Mauborgne" userId="717f1e20-c968-4716-94d0-7143ffa6b39a" providerId="ADAL" clId="{EBB8CBFE-BCB7-4725-A132-D63A59B72226}" dt="2023-05-29T18:27:38.806" v="193" actId="478"/>
          <ac:spMkLst>
            <pc:docMk/>
            <pc:sldMk cId="3693928197" sldId="2147379066"/>
            <ac:spMk id="223243" creationId="{A901EE0F-667F-3008-38D3-D6D28891E4F1}"/>
          </ac:spMkLst>
        </pc:spChg>
        <pc:spChg chg="del mod">
          <ac:chgData name="Marie-Laure Mauborgne" userId="717f1e20-c968-4716-94d0-7143ffa6b39a" providerId="ADAL" clId="{EBB8CBFE-BCB7-4725-A132-D63A59B72226}" dt="2023-05-29T18:26:44.826" v="166" actId="21"/>
          <ac:spMkLst>
            <pc:docMk/>
            <pc:sldMk cId="3693928197" sldId="2147379066"/>
            <ac:spMk id="223246" creationId="{7234AB30-8BBE-CB88-29CE-83487C7CB7C8}"/>
          </ac:spMkLst>
        </pc:spChg>
        <pc:picChg chg="mod">
          <ac:chgData name="Marie-Laure Mauborgne" userId="717f1e20-c968-4716-94d0-7143ffa6b39a" providerId="ADAL" clId="{EBB8CBFE-BCB7-4725-A132-D63A59B72226}" dt="2023-05-29T18:30:47.822" v="309" actId="1036"/>
          <ac:picMkLst>
            <pc:docMk/>
            <pc:sldMk cId="3693928197" sldId="2147379066"/>
            <ac:picMk id="3" creationId="{9E391D18-5ACA-00CE-7305-F36FC6336DA3}"/>
          </ac:picMkLst>
        </pc:picChg>
        <pc:picChg chg="del">
          <ac:chgData name="Marie-Laure Mauborgne" userId="717f1e20-c968-4716-94d0-7143ffa6b39a" providerId="ADAL" clId="{EBB8CBFE-BCB7-4725-A132-D63A59B72226}" dt="2023-05-29T18:25:41.337" v="132" actId="478"/>
          <ac:picMkLst>
            <pc:docMk/>
            <pc:sldMk cId="3693928197" sldId="2147379066"/>
            <ac:picMk id="6" creationId="{73A1E3B0-6AC2-1C80-EB69-1B0C2DB91DA2}"/>
          </ac:picMkLst>
        </pc:picChg>
        <pc:picChg chg="add mod">
          <ac:chgData name="Marie-Laure Mauborgne" userId="717f1e20-c968-4716-94d0-7143ffa6b39a" providerId="ADAL" clId="{EBB8CBFE-BCB7-4725-A132-D63A59B72226}" dt="2023-06-02T07:01:12.292" v="7270" actId="465"/>
          <ac:picMkLst>
            <pc:docMk/>
            <pc:sldMk cId="3693928197" sldId="2147379066"/>
            <ac:picMk id="7" creationId="{68F3E1FC-EC30-0E60-F96D-39F84C07BC3B}"/>
          </ac:picMkLst>
        </pc:picChg>
        <pc:picChg chg="del">
          <ac:chgData name="Marie-Laure Mauborgne" userId="717f1e20-c968-4716-94d0-7143ffa6b39a" providerId="ADAL" clId="{EBB8CBFE-BCB7-4725-A132-D63A59B72226}" dt="2023-05-29T18:28:29.703" v="196" actId="478"/>
          <ac:picMkLst>
            <pc:docMk/>
            <pc:sldMk cId="3693928197" sldId="2147379066"/>
            <ac:picMk id="7" creationId="{F83031BF-0147-1810-64C0-95C9A7CFF95D}"/>
          </ac:picMkLst>
        </pc:picChg>
        <pc:picChg chg="add mod">
          <ac:chgData name="Marie-Laure Mauborgne" userId="717f1e20-c968-4716-94d0-7143ffa6b39a" providerId="ADAL" clId="{EBB8CBFE-BCB7-4725-A132-D63A59B72226}" dt="2023-05-29T18:31:29.579" v="350" actId="1038"/>
          <ac:picMkLst>
            <pc:docMk/>
            <pc:sldMk cId="3693928197" sldId="2147379066"/>
            <ac:picMk id="9" creationId="{9013D2CE-7C12-4C2B-C2C9-653CCACE1F43}"/>
          </ac:picMkLst>
        </pc:picChg>
        <pc:picChg chg="add mod">
          <ac:chgData name="Marie-Laure Mauborgne" userId="717f1e20-c968-4716-94d0-7143ffa6b39a" providerId="ADAL" clId="{EBB8CBFE-BCB7-4725-A132-D63A59B72226}" dt="2023-06-02T08:17:01.159" v="7502" actId="1038"/>
          <ac:picMkLst>
            <pc:docMk/>
            <pc:sldMk cId="3693928197" sldId="2147379066"/>
            <ac:picMk id="12" creationId="{A5DD65B5-9393-E3D2-A150-BB5383E5EEAE}"/>
          </ac:picMkLst>
        </pc:picChg>
        <pc:picChg chg="add mod">
          <ac:chgData name="Marie-Laure Mauborgne" userId="717f1e20-c968-4716-94d0-7143ffa6b39a" providerId="ADAL" clId="{EBB8CBFE-BCB7-4725-A132-D63A59B72226}" dt="2023-06-02T07:06:47.151" v="7307" actId="1076"/>
          <ac:picMkLst>
            <pc:docMk/>
            <pc:sldMk cId="3693928197" sldId="2147379066"/>
            <ac:picMk id="13" creationId="{5CDE5CAD-B1C9-8459-EC5C-2BC34C4F4AE1}"/>
          </ac:picMkLst>
        </pc:picChg>
        <pc:picChg chg="del">
          <ac:chgData name="Marie-Laure Mauborgne" userId="717f1e20-c968-4716-94d0-7143ffa6b39a" providerId="ADAL" clId="{EBB8CBFE-BCB7-4725-A132-D63A59B72226}" dt="2023-05-29T18:28:29.703" v="196" actId="478"/>
          <ac:picMkLst>
            <pc:docMk/>
            <pc:sldMk cId="3693928197" sldId="2147379066"/>
            <ac:picMk id="14" creationId="{EDCA85EB-DC11-802D-BAA6-BBB2B16DD8B2}"/>
          </ac:picMkLst>
        </pc:picChg>
        <pc:picChg chg="add mod">
          <ac:chgData name="Marie-Laure Mauborgne" userId="717f1e20-c968-4716-94d0-7143ffa6b39a" providerId="ADAL" clId="{EBB8CBFE-BCB7-4725-A132-D63A59B72226}" dt="2023-05-29T18:31:29.579" v="350" actId="1038"/>
          <ac:picMkLst>
            <pc:docMk/>
            <pc:sldMk cId="3693928197" sldId="2147379066"/>
            <ac:picMk id="16" creationId="{1911B91C-4297-B892-1A8B-7EF3CAEDA7C1}"/>
          </ac:picMkLst>
        </pc:picChg>
        <pc:picChg chg="mod">
          <ac:chgData name="Marie-Laure Mauborgne" userId="717f1e20-c968-4716-94d0-7143ffa6b39a" providerId="ADAL" clId="{EBB8CBFE-BCB7-4725-A132-D63A59B72226}" dt="2023-05-29T18:31:29.579" v="350" actId="1038"/>
          <ac:picMkLst>
            <pc:docMk/>
            <pc:sldMk cId="3693928197" sldId="2147379066"/>
            <ac:picMk id="18" creationId="{AADBAF7E-F7A1-63AA-95E9-0B4D96772FD9}"/>
          </ac:picMkLst>
        </pc:picChg>
        <pc:picChg chg="add mod">
          <ac:chgData name="Marie-Laure Mauborgne" userId="717f1e20-c968-4716-94d0-7143ffa6b39a" providerId="ADAL" clId="{EBB8CBFE-BCB7-4725-A132-D63A59B72226}" dt="2023-06-02T08:16:41.658" v="7495" actId="1076"/>
          <ac:picMkLst>
            <pc:docMk/>
            <pc:sldMk cId="3693928197" sldId="2147379066"/>
            <ac:picMk id="20" creationId="{13161E0A-C248-EBC2-B632-C070008D09D9}"/>
          </ac:picMkLst>
        </pc:picChg>
        <pc:picChg chg="del">
          <ac:chgData name="Marie-Laure Mauborgne" userId="717f1e20-c968-4716-94d0-7143ffa6b39a" providerId="ADAL" clId="{EBB8CBFE-BCB7-4725-A132-D63A59B72226}" dt="2023-05-29T18:25:41.337" v="132" actId="478"/>
          <ac:picMkLst>
            <pc:docMk/>
            <pc:sldMk cId="3693928197" sldId="2147379066"/>
            <ac:picMk id="21" creationId="{00166E3C-7B62-AF6C-9C42-B9C8F563B143}"/>
          </ac:picMkLst>
        </pc:picChg>
        <pc:picChg chg="del">
          <ac:chgData name="Marie-Laure Mauborgne" userId="717f1e20-c968-4716-94d0-7143ffa6b39a" providerId="ADAL" clId="{EBB8CBFE-BCB7-4725-A132-D63A59B72226}" dt="2023-05-29T18:25:23.582" v="129" actId="478"/>
          <ac:picMkLst>
            <pc:docMk/>
            <pc:sldMk cId="3693928197" sldId="2147379066"/>
            <ac:picMk id="30" creationId="{17A7BA3B-3A07-7486-D33D-055CBCD70B44}"/>
          </ac:picMkLst>
        </pc:picChg>
        <pc:picChg chg="mod">
          <ac:chgData name="Marie-Laure Mauborgne" userId="717f1e20-c968-4716-94d0-7143ffa6b39a" providerId="ADAL" clId="{EBB8CBFE-BCB7-4725-A132-D63A59B72226}" dt="2023-06-02T08:12:21.624" v="7430" actId="1076"/>
          <ac:picMkLst>
            <pc:docMk/>
            <pc:sldMk cId="3693928197" sldId="2147379066"/>
            <ac:picMk id="41" creationId="{D9CB5E41-1580-7DBE-6E4A-2BB32D44117B}"/>
          </ac:picMkLst>
        </pc:picChg>
        <pc:picChg chg="del">
          <ac:chgData name="Marie-Laure Mauborgne" userId="717f1e20-c968-4716-94d0-7143ffa6b39a" providerId="ADAL" clId="{EBB8CBFE-BCB7-4725-A132-D63A59B72226}" dt="2023-05-29T18:28:29.703" v="196" actId="478"/>
          <ac:picMkLst>
            <pc:docMk/>
            <pc:sldMk cId="3693928197" sldId="2147379066"/>
            <ac:picMk id="51" creationId="{7689895F-7E2B-C26E-E2BA-84AD0DF8F86C}"/>
          </ac:picMkLst>
        </pc:picChg>
        <pc:picChg chg="del">
          <ac:chgData name="Marie-Laure Mauborgne" userId="717f1e20-c968-4716-94d0-7143ffa6b39a" providerId="ADAL" clId="{EBB8CBFE-BCB7-4725-A132-D63A59B72226}" dt="2023-05-29T18:28:29.703" v="196" actId="478"/>
          <ac:picMkLst>
            <pc:docMk/>
            <pc:sldMk cId="3693928197" sldId="2147379066"/>
            <ac:picMk id="65" creationId="{5BC9CD11-5732-7273-A872-190AFC010F16}"/>
          </ac:picMkLst>
        </pc:picChg>
        <pc:picChg chg="del mod">
          <ac:chgData name="Marie-Laure Mauborgne" userId="717f1e20-c968-4716-94d0-7143ffa6b39a" providerId="ADAL" clId="{EBB8CBFE-BCB7-4725-A132-D63A59B72226}" dt="2023-06-02T07:01:29.776" v="7296" actId="478"/>
          <ac:picMkLst>
            <pc:docMk/>
            <pc:sldMk cId="3693928197" sldId="2147379066"/>
            <ac:picMk id="70" creationId="{866F9530-1C5B-B4AC-5343-FD3C12F1144E}"/>
          </ac:picMkLst>
        </pc:picChg>
        <pc:picChg chg="add del mod">
          <ac:chgData name="Marie-Laure Mauborgne" userId="717f1e20-c968-4716-94d0-7143ffa6b39a" providerId="ADAL" clId="{EBB8CBFE-BCB7-4725-A132-D63A59B72226}" dt="2023-05-29T18:31:29.579" v="350" actId="1038"/>
          <ac:picMkLst>
            <pc:docMk/>
            <pc:sldMk cId="3693928197" sldId="2147379066"/>
            <ac:picMk id="71" creationId="{2D40649F-B2DA-2DC4-6549-0D7AE49E4956}"/>
          </ac:picMkLst>
        </pc:picChg>
        <pc:picChg chg="mod">
          <ac:chgData name="Marie-Laure Mauborgne" userId="717f1e20-c968-4716-94d0-7143ffa6b39a" providerId="ADAL" clId="{EBB8CBFE-BCB7-4725-A132-D63A59B72226}" dt="2023-05-29T18:30:47.822" v="309" actId="1036"/>
          <ac:picMkLst>
            <pc:docMk/>
            <pc:sldMk cId="3693928197" sldId="2147379066"/>
            <ac:picMk id="84" creationId="{C2931D19-6A32-A4FA-BE7C-DC8290EF76D0}"/>
          </ac:picMkLst>
        </pc:picChg>
        <pc:picChg chg="del">
          <ac:chgData name="Marie-Laure Mauborgne" userId="717f1e20-c968-4716-94d0-7143ffa6b39a" providerId="ADAL" clId="{EBB8CBFE-BCB7-4725-A132-D63A59B72226}" dt="2023-05-29T18:28:29.703" v="196" actId="478"/>
          <ac:picMkLst>
            <pc:docMk/>
            <pc:sldMk cId="3693928197" sldId="2147379066"/>
            <ac:picMk id="86" creationId="{E38D9295-609A-10CC-0FE2-8919379EB8C2}"/>
          </ac:picMkLst>
        </pc:picChg>
        <pc:picChg chg="del mod">
          <ac:chgData name="Marie-Laure Mauborgne" userId="717f1e20-c968-4716-94d0-7143ffa6b39a" providerId="ADAL" clId="{EBB8CBFE-BCB7-4725-A132-D63A59B72226}" dt="2023-06-02T07:00:57.882" v="7269" actId="478"/>
          <ac:picMkLst>
            <pc:docMk/>
            <pc:sldMk cId="3693928197" sldId="2147379066"/>
            <ac:picMk id="87" creationId="{46201253-3B67-D8F3-1A21-AB9B984BA3EC}"/>
          </ac:picMkLst>
        </pc:picChg>
        <pc:picChg chg="add mod">
          <ac:chgData name="Marie-Laure Mauborgne" userId="717f1e20-c968-4716-94d0-7143ffa6b39a" providerId="ADAL" clId="{EBB8CBFE-BCB7-4725-A132-D63A59B72226}" dt="2023-06-02T07:01:12.292" v="7270" actId="465"/>
          <ac:picMkLst>
            <pc:docMk/>
            <pc:sldMk cId="3693928197" sldId="2147379066"/>
            <ac:picMk id="1026" creationId="{3ADE646A-5C2E-9A2A-8BC8-F3EC6428B299}"/>
          </ac:picMkLst>
        </pc:picChg>
        <pc:picChg chg="add del">
          <ac:chgData name="Marie-Laure Mauborgne" userId="717f1e20-c968-4716-94d0-7143ffa6b39a" providerId="ADAL" clId="{EBB8CBFE-BCB7-4725-A132-D63A59B72226}" dt="2023-05-29T18:24:52.693" v="123" actId="478"/>
          <ac:picMkLst>
            <pc:docMk/>
            <pc:sldMk cId="3693928197" sldId="2147379066"/>
            <ac:picMk id="1026" creationId="{6F9C1647-0B3A-DE9E-18C2-9378C75BA4A7}"/>
          </ac:picMkLst>
        </pc:picChg>
        <pc:picChg chg="mod">
          <ac:chgData name="Marie-Laure Mauborgne" userId="717f1e20-c968-4716-94d0-7143ffa6b39a" providerId="ADAL" clId="{EBB8CBFE-BCB7-4725-A132-D63A59B72226}" dt="2023-05-29T18:31:29.579" v="350" actId="1038"/>
          <ac:picMkLst>
            <pc:docMk/>
            <pc:sldMk cId="3693928197" sldId="2147379066"/>
            <ac:picMk id="1028" creationId="{18359F7C-6258-5C1C-787C-4F5DF091EB24}"/>
          </ac:picMkLst>
        </pc:picChg>
        <pc:picChg chg="mod">
          <ac:chgData name="Marie-Laure Mauborgne" userId="717f1e20-c968-4716-94d0-7143ffa6b39a" providerId="ADAL" clId="{EBB8CBFE-BCB7-4725-A132-D63A59B72226}" dt="2023-05-29T18:31:29.579" v="350" actId="1038"/>
          <ac:picMkLst>
            <pc:docMk/>
            <pc:sldMk cId="3693928197" sldId="2147379066"/>
            <ac:picMk id="1030" creationId="{C9FA175F-7F18-757A-0651-173659CA2CEB}"/>
          </ac:picMkLst>
        </pc:picChg>
        <pc:picChg chg="add mod">
          <ac:chgData name="Marie-Laure Mauborgne" userId="717f1e20-c968-4716-94d0-7143ffa6b39a" providerId="ADAL" clId="{EBB8CBFE-BCB7-4725-A132-D63A59B72226}" dt="2023-06-02T07:03:12.929" v="7303" actId="1076"/>
          <ac:picMkLst>
            <pc:docMk/>
            <pc:sldMk cId="3693928197" sldId="2147379066"/>
            <ac:picMk id="1032" creationId="{1C1045B3-8898-CED4-2325-91D5B3F1142E}"/>
          </ac:picMkLst>
        </pc:picChg>
        <pc:picChg chg="mod">
          <ac:chgData name="Marie-Laure Mauborgne" userId="717f1e20-c968-4716-94d0-7143ffa6b39a" providerId="ADAL" clId="{EBB8CBFE-BCB7-4725-A132-D63A59B72226}" dt="2023-06-02T08:15:45.566" v="7479" actId="1076"/>
          <ac:picMkLst>
            <pc:docMk/>
            <pc:sldMk cId="3693928197" sldId="2147379066"/>
            <ac:picMk id="1034" creationId="{B049D17D-4C1F-F7A2-1E1C-6838030CAA77}"/>
          </ac:picMkLst>
        </pc:picChg>
        <pc:picChg chg="add mod">
          <ac:chgData name="Marie-Laure Mauborgne" userId="717f1e20-c968-4716-94d0-7143ffa6b39a" providerId="ADAL" clId="{EBB8CBFE-BCB7-4725-A132-D63A59B72226}" dt="2023-06-02T08:13:50.457" v="7444" actId="1076"/>
          <ac:picMkLst>
            <pc:docMk/>
            <pc:sldMk cId="3693928197" sldId="2147379066"/>
            <ac:picMk id="1036" creationId="{C0419B12-412C-8EA7-014A-E03E48C1EE67}"/>
          </ac:picMkLst>
        </pc:picChg>
        <pc:picChg chg="add del">
          <ac:chgData name="Marie-Laure Mauborgne" userId="717f1e20-c968-4716-94d0-7143ffa6b39a" providerId="ADAL" clId="{EBB8CBFE-BCB7-4725-A132-D63A59B72226}" dt="2023-05-29T18:26:00.096" v="141" actId="478"/>
          <ac:picMkLst>
            <pc:docMk/>
            <pc:sldMk cId="3693928197" sldId="2147379066"/>
            <ac:picMk id="1036" creationId="{C556EFCD-41D2-FA57-AAE2-37B5958796F1}"/>
          </ac:picMkLst>
        </pc:picChg>
        <pc:picChg chg="mod">
          <ac:chgData name="Marie-Laure Mauborgne" userId="717f1e20-c968-4716-94d0-7143ffa6b39a" providerId="ADAL" clId="{EBB8CBFE-BCB7-4725-A132-D63A59B72226}" dt="2023-05-29T18:31:29.579" v="350" actId="1038"/>
          <ac:picMkLst>
            <pc:docMk/>
            <pc:sldMk cId="3693928197" sldId="2147379066"/>
            <ac:picMk id="1038" creationId="{05A748D7-2375-51D2-B111-4FFB81A10349}"/>
          </ac:picMkLst>
        </pc:picChg>
        <pc:picChg chg="add del mod">
          <ac:chgData name="Marie-Laure Mauborgne" userId="717f1e20-c968-4716-94d0-7143ffa6b39a" providerId="ADAL" clId="{EBB8CBFE-BCB7-4725-A132-D63A59B72226}" dt="2023-05-29T18:31:29.579" v="350" actId="1038"/>
          <ac:picMkLst>
            <pc:docMk/>
            <pc:sldMk cId="3693928197" sldId="2147379066"/>
            <ac:picMk id="223235" creationId="{C7B3686C-52A6-D88A-720C-6D83DA434E54}"/>
          </ac:picMkLst>
        </pc:picChg>
        <pc:picChg chg="del">
          <ac:chgData name="Marie-Laure Mauborgne" userId="717f1e20-c968-4716-94d0-7143ffa6b39a" providerId="ADAL" clId="{EBB8CBFE-BCB7-4725-A132-D63A59B72226}" dt="2023-05-29T18:26:04.023" v="143" actId="478"/>
          <ac:picMkLst>
            <pc:docMk/>
            <pc:sldMk cId="3693928197" sldId="2147379066"/>
            <ac:picMk id="223239" creationId="{9AB77FAD-43EC-185D-E5ED-F48719BD1479}"/>
          </ac:picMkLst>
        </pc:picChg>
        <pc:picChg chg="del">
          <ac:chgData name="Marie-Laure Mauborgne" userId="717f1e20-c968-4716-94d0-7143ffa6b39a" providerId="ADAL" clId="{EBB8CBFE-BCB7-4725-A132-D63A59B72226}" dt="2023-05-29T18:25:41.337" v="132" actId="478"/>
          <ac:picMkLst>
            <pc:docMk/>
            <pc:sldMk cId="3693928197" sldId="2147379066"/>
            <ac:picMk id="223244" creationId="{79F41CA3-69BA-D756-410D-6A3D78D7DD50}"/>
          </ac:picMkLst>
        </pc:picChg>
        <pc:picChg chg="del">
          <ac:chgData name="Marie-Laure Mauborgne" userId="717f1e20-c968-4716-94d0-7143ffa6b39a" providerId="ADAL" clId="{EBB8CBFE-BCB7-4725-A132-D63A59B72226}" dt="2023-05-29T18:26:44.826" v="166" actId="21"/>
          <ac:picMkLst>
            <pc:docMk/>
            <pc:sldMk cId="3693928197" sldId="2147379066"/>
            <ac:picMk id="223245" creationId="{847956E0-C64E-ED34-637F-EAD3326F6B1B}"/>
          </ac:picMkLst>
        </pc:picChg>
        <pc:picChg chg="del">
          <ac:chgData name="Marie-Laure Mauborgne" userId="717f1e20-c968-4716-94d0-7143ffa6b39a" providerId="ADAL" clId="{EBB8CBFE-BCB7-4725-A132-D63A59B72226}" dt="2023-05-29T18:25:41.337" v="132" actId="478"/>
          <ac:picMkLst>
            <pc:docMk/>
            <pc:sldMk cId="3693928197" sldId="2147379066"/>
            <ac:picMk id="223247" creationId="{174D7764-1D2E-E9A7-55F0-D4854D903520}"/>
          </ac:picMkLst>
        </pc:picChg>
        <pc:picChg chg="del">
          <ac:chgData name="Marie-Laure Mauborgne" userId="717f1e20-c968-4716-94d0-7143ffa6b39a" providerId="ADAL" clId="{EBB8CBFE-BCB7-4725-A132-D63A59B72226}" dt="2023-05-29T18:28:29.703" v="196" actId="478"/>
          <ac:picMkLst>
            <pc:docMk/>
            <pc:sldMk cId="3693928197" sldId="2147379066"/>
            <ac:picMk id="223248" creationId="{657EACE7-A99F-370E-ED4A-5F763616ED58}"/>
          </ac:picMkLst>
        </pc:picChg>
        <pc:picChg chg="del">
          <ac:chgData name="Marie-Laure Mauborgne" userId="717f1e20-c968-4716-94d0-7143ffa6b39a" providerId="ADAL" clId="{EBB8CBFE-BCB7-4725-A132-D63A59B72226}" dt="2023-05-29T18:28:29.703" v="196" actId="478"/>
          <ac:picMkLst>
            <pc:docMk/>
            <pc:sldMk cId="3693928197" sldId="2147379066"/>
            <ac:picMk id="223252" creationId="{B598BA60-F089-E871-D981-148C7209BD0C}"/>
          </ac:picMkLst>
        </pc:picChg>
      </pc:sldChg>
      <pc:sldChg chg="addSp delSp modSp new mod ord modClrScheme modAnim chgLayout">
        <pc:chgData name="Marie-Laure Mauborgne" userId="717f1e20-c968-4716-94d0-7143ffa6b39a" providerId="ADAL" clId="{EBB8CBFE-BCB7-4725-A132-D63A59B72226}" dt="2023-06-02T08:18:05.867" v="7517" actId="1076"/>
        <pc:sldMkLst>
          <pc:docMk/>
          <pc:sldMk cId="116588017" sldId="2147379067"/>
        </pc:sldMkLst>
        <pc:spChg chg="del mod ord">
          <ac:chgData name="Marie-Laure Mauborgne" userId="717f1e20-c968-4716-94d0-7143ffa6b39a" providerId="ADAL" clId="{EBB8CBFE-BCB7-4725-A132-D63A59B72226}" dt="2023-05-29T18:32:21.323" v="353" actId="700"/>
          <ac:spMkLst>
            <pc:docMk/>
            <pc:sldMk cId="116588017" sldId="2147379067"/>
            <ac:spMk id="2" creationId="{16284E61-B8A3-8475-7EEC-D03C41C53F8D}"/>
          </ac:spMkLst>
        </pc:spChg>
        <pc:spChg chg="add del mod">
          <ac:chgData name="Marie-Laure Mauborgne" userId="717f1e20-c968-4716-94d0-7143ffa6b39a" providerId="ADAL" clId="{EBB8CBFE-BCB7-4725-A132-D63A59B72226}" dt="2023-05-30T08:58:53.545" v="1480"/>
          <ac:spMkLst>
            <pc:docMk/>
            <pc:sldMk cId="116588017" sldId="2147379067"/>
            <ac:spMk id="2" creationId="{E1DFF28A-7DD6-B751-17F3-B7276B562A9F}"/>
          </ac:spMkLst>
        </pc:spChg>
        <pc:spChg chg="del mod ord">
          <ac:chgData name="Marie-Laure Mauborgne" userId="717f1e20-c968-4716-94d0-7143ffa6b39a" providerId="ADAL" clId="{EBB8CBFE-BCB7-4725-A132-D63A59B72226}" dt="2023-05-29T18:32:21.323" v="353" actId="700"/>
          <ac:spMkLst>
            <pc:docMk/>
            <pc:sldMk cId="116588017" sldId="2147379067"/>
            <ac:spMk id="3" creationId="{0D6CD245-B255-6D1C-C4E4-DF870A96989A}"/>
          </ac:spMkLst>
        </pc:spChg>
        <pc:spChg chg="del">
          <ac:chgData name="Marie-Laure Mauborgne" userId="717f1e20-c968-4716-94d0-7143ffa6b39a" providerId="ADAL" clId="{EBB8CBFE-BCB7-4725-A132-D63A59B72226}" dt="2023-05-29T18:32:21.323" v="353" actId="700"/>
          <ac:spMkLst>
            <pc:docMk/>
            <pc:sldMk cId="116588017" sldId="2147379067"/>
            <ac:spMk id="4" creationId="{50905730-5372-616D-23BF-20B8A7B59B47}"/>
          </ac:spMkLst>
        </pc:spChg>
        <pc:spChg chg="add mod ord">
          <ac:chgData name="Marie-Laure Mauborgne" userId="717f1e20-c968-4716-94d0-7143ffa6b39a" providerId="ADAL" clId="{EBB8CBFE-BCB7-4725-A132-D63A59B72226}" dt="2023-06-02T08:18:05.867" v="7517" actId="1076"/>
          <ac:spMkLst>
            <pc:docMk/>
            <pc:sldMk cId="116588017" sldId="2147379067"/>
            <ac:spMk id="4" creationId="{5DD35E7D-D090-F8CC-0FB8-BFC71236F40A}"/>
          </ac:spMkLst>
        </pc:spChg>
        <pc:spChg chg="add mod ord">
          <ac:chgData name="Marie-Laure Mauborgne" userId="717f1e20-c968-4716-94d0-7143ffa6b39a" providerId="ADAL" clId="{EBB8CBFE-BCB7-4725-A132-D63A59B72226}" dt="2023-06-02T08:17:49.480" v="7516" actId="14100"/>
          <ac:spMkLst>
            <pc:docMk/>
            <pc:sldMk cId="116588017" sldId="2147379067"/>
            <ac:spMk id="5" creationId="{04AC89AE-8D52-20D1-D220-BBCA50BA039C}"/>
          </ac:spMkLst>
        </pc:spChg>
        <pc:spChg chg="add mod ord">
          <ac:chgData name="Marie-Laure Mauborgne" userId="717f1e20-c968-4716-94d0-7143ffa6b39a" providerId="ADAL" clId="{EBB8CBFE-BCB7-4725-A132-D63A59B72226}" dt="2023-05-29T19:11:51.865" v="1121" actId="20577"/>
          <ac:spMkLst>
            <pc:docMk/>
            <pc:sldMk cId="116588017" sldId="2147379067"/>
            <ac:spMk id="6" creationId="{63574BD4-22AA-D4CF-08DA-BE94ADAE9E4B}"/>
          </ac:spMkLst>
        </pc:spChg>
        <pc:spChg chg="add del mod">
          <ac:chgData name="Marie-Laure Mauborgne" userId="717f1e20-c968-4716-94d0-7143ffa6b39a" providerId="ADAL" clId="{EBB8CBFE-BCB7-4725-A132-D63A59B72226}" dt="2023-05-29T19:12:48.149" v="1126" actId="478"/>
          <ac:spMkLst>
            <pc:docMk/>
            <pc:sldMk cId="116588017" sldId="2147379067"/>
            <ac:spMk id="8" creationId="{A376B648-C947-AF36-8022-FA8A1276211B}"/>
          </ac:spMkLst>
        </pc:spChg>
        <pc:spChg chg="add mod">
          <ac:chgData name="Marie-Laure Mauborgne" userId="717f1e20-c968-4716-94d0-7143ffa6b39a" providerId="ADAL" clId="{EBB8CBFE-BCB7-4725-A132-D63A59B72226}" dt="2023-06-02T08:18:05.867" v="7517" actId="1076"/>
          <ac:spMkLst>
            <pc:docMk/>
            <pc:sldMk cId="116588017" sldId="2147379067"/>
            <ac:spMk id="9" creationId="{D5900C9F-2E47-CFC1-1639-AF66D40DDB68}"/>
          </ac:spMkLst>
        </pc:spChg>
        <pc:spChg chg="add mod">
          <ac:chgData name="Marie-Laure Mauborgne" userId="717f1e20-c968-4716-94d0-7143ffa6b39a" providerId="ADAL" clId="{EBB8CBFE-BCB7-4725-A132-D63A59B72226}" dt="2023-06-02T08:18:05.867" v="7517" actId="1076"/>
          <ac:spMkLst>
            <pc:docMk/>
            <pc:sldMk cId="116588017" sldId="2147379067"/>
            <ac:spMk id="10" creationId="{186A7D3A-7641-2F97-9AA2-857A4AAAF282}"/>
          </ac:spMkLst>
        </pc:spChg>
        <pc:graphicFrameChg chg="add mod">
          <ac:chgData name="Marie-Laure Mauborgne" userId="717f1e20-c968-4716-94d0-7143ffa6b39a" providerId="ADAL" clId="{EBB8CBFE-BCB7-4725-A132-D63A59B72226}" dt="2023-05-30T08:58:53.543" v="1478"/>
          <ac:graphicFrameMkLst>
            <pc:docMk/>
            <pc:sldMk cId="116588017" sldId="2147379067"/>
            <ac:graphicFrameMk id="3" creationId="{C3A4565B-38E6-647E-26A9-B79173ED12AC}"/>
          </ac:graphicFrameMkLst>
        </pc:graphicFrameChg>
        <pc:graphicFrameChg chg="add mod ord modGraphic">
          <ac:chgData name="Marie-Laure Mauborgne" userId="717f1e20-c968-4716-94d0-7143ffa6b39a" providerId="ADAL" clId="{EBB8CBFE-BCB7-4725-A132-D63A59B72226}" dt="2023-06-02T08:18:05.867" v="7517" actId="1076"/>
          <ac:graphicFrameMkLst>
            <pc:docMk/>
            <pc:sldMk cId="116588017" sldId="2147379067"/>
            <ac:graphicFrameMk id="7" creationId="{926379BB-00D7-76AC-A308-A7D3604C2453}"/>
          </ac:graphicFrameMkLst>
        </pc:graphicFrameChg>
      </pc:sldChg>
      <pc:sldChg chg="del">
        <pc:chgData name="Marie-Laure Mauborgne" userId="717f1e20-c968-4716-94d0-7143ffa6b39a" providerId="ADAL" clId="{EBB8CBFE-BCB7-4725-A132-D63A59B72226}" dt="2023-05-29T18:18:53.001" v="76" actId="47"/>
        <pc:sldMkLst>
          <pc:docMk/>
          <pc:sldMk cId="3098091831" sldId="2147379067"/>
        </pc:sldMkLst>
      </pc:sldChg>
      <pc:sldChg chg="modSp add mod modClrScheme chgLayout">
        <pc:chgData name="Marie-Laure Mauborgne" userId="717f1e20-c968-4716-94d0-7143ffa6b39a" providerId="ADAL" clId="{EBB8CBFE-BCB7-4725-A132-D63A59B72226}" dt="2023-05-29T19:01:12.601" v="855" actId="207"/>
        <pc:sldMkLst>
          <pc:docMk/>
          <pc:sldMk cId="1561764277" sldId="2147379068"/>
        </pc:sldMkLst>
        <pc:spChg chg="mod ord">
          <ac:chgData name="Marie-Laure Mauborgne" userId="717f1e20-c968-4716-94d0-7143ffa6b39a" providerId="ADAL" clId="{EBB8CBFE-BCB7-4725-A132-D63A59B72226}" dt="2023-05-29T19:00:26.024" v="841" actId="700"/>
          <ac:spMkLst>
            <pc:docMk/>
            <pc:sldMk cId="1561764277" sldId="2147379068"/>
            <ac:spMk id="4" creationId="{E1D6CB10-AF36-4787-0F96-C15C8A0C7A94}"/>
          </ac:spMkLst>
        </pc:spChg>
        <pc:spChg chg="mod ord">
          <ac:chgData name="Marie-Laure Mauborgne" userId="717f1e20-c968-4716-94d0-7143ffa6b39a" providerId="ADAL" clId="{EBB8CBFE-BCB7-4725-A132-D63A59B72226}" dt="2023-05-29T19:00:26.024" v="841" actId="700"/>
          <ac:spMkLst>
            <pc:docMk/>
            <pc:sldMk cId="1561764277" sldId="2147379068"/>
            <ac:spMk id="5" creationId="{3A40F4A4-95E0-A5BF-5F46-992D87D30B55}"/>
          </ac:spMkLst>
        </pc:spChg>
        <pc:spChg chg="mod">
          <ac:chgData name="Marie-Laure Mauborgne" userId="717f1e20-c968-4716-94d0-7143ffa6b39a" providerId="ADAL" clId="{EBB8CBFE-BCB7-4725-A132-D63A59B72226}" dt="2023-05-29T19:01:12.601" v="855" actId="207"/>
          <ac:spMkLst>
            <pc:docMk/>
            <pc:sldMk cId="1561764277" sldId="2147379068"/>
            <ac:spMk id="64" creationId="{14FCE5C8-5379-C722-3139-F5C37DE86F98}"/>
          </ac:spMkLst>
        </pc:spChg>
        <pc:spChg chg="mod">
          <ac:chgData name="Marie-Laure Mauborgne" userId="717f1e20-c968-4716-94d0-7143ffa6b39a" providerId="ADAL" clId="{EBB8CBFE-BCB7-4725-A132-D63A59B72226}" dt="2023-05-29T19:00:57.684" v="852" actId="207"/>
          <ac:spMkLst>
            <pc:docMk/>
            <pc:sldMk cId="1561764277" sldId="2147379068"/>
            <ac:spMk id="66" creationId="{CE2CC960-B309-10E3-2CB3-FD34E2B88515}"/>
          </ac:spMkLst>
        </pc:spChg>
        <pc:spChg chg="mod">
          <ac:chgData name="Marie-Laure Mauborgne" userId="717f1e20-c968-4716-94d0-7143ffa6b39a" providerId="ADAL" clId="{EBB8CBFE-BCB7-4725-A132-D63A59B72226}" dt="2023-05-29T19:01:08.461" v="854" actId="207"/>
          <ac:spMkLst>
            <pc:docMk/>
            <pc:sldMk cId="1561764277" sldId="2147379068"/>
            <ac:spMk id="92" creationId="{5F4E8005-856E-A371-5461-D0F04EAC5BB1}"/>
          </ac:spMkLst>
        </pc:spChg>
        <pc:spChg chg="mod">
          <ac:chgData name="Marie-Laure Mauborgne" userId="717f1e20-c968-4716-94d0-7143ffa6b39a" providerId="ADAL" clId="{EBB8CBFE-BCB7-4725-A132-D63A59B72226}" dt="2023-05-29T19:01:03.624" v="853" actId="207"/>
          <ac:spMkLst>
            <pc:docMk/>
            <pc:sldMk cId="1561764277" sldId="2147379068"/>
            <ac:spMk id="115" creationId="{77A2B330-37B3-6907-5226-0CAF1739E7E6}"/>
          </ac:spMkLst>
        </pc:spChg>
      </pc:sldChg>
      <pc:sldChg chg="del">
        <pc:chgData name="Marie-Laure Mauborgne" userId="717f1e20-c968-4716-94d0-7143ffa6b39a" providerId="ADAL" clId="{EBB8CBFE-BCB7-4725-A132-D63A59B72226}" dt="2023-05-29T18:20:47.656" v="89" actId="47"/>
        <pc:sldMkLst>
          <pc:docMk/>
          <pc:sldMk cId="2593285436" sldId="2147379069"/>
        </pc:sldMkLst>
      </pc:sldChg>
      <pc:sldChg chg="addSp delSp modSp add mod modClrScheme addAnim delAnim modAnim chgLayout">
        <pc:chgData name="Marie-Laure Mauborgne" userId="717f1e20-c968-4716-94d0-7143ffa6b39a" providerId="ADAL" clId="{EBB8CBFE-BCB7-4725-A132-D63A59B72226}" dt="2023-06-02T11:18:09.346" v="9938"/>
        <pc:sldMkLst>
          <pc:docMk/>
          <pc:sldMk cId="2848530843" sldId="2147379069"/>
        </pc:sldMkLst>
        <pc:spChg chg="mod ord">
          <ac:chgData name="Marie-Laure Mauborgne" userId="717f1e20-c968-4716-94d0-7143ffa6b39a" providerId="ADAL" clId="{EBB8CBFE-BCB7-4725-A132-D63A59B72226}" dt="2023-05-29T19:00:26.024" v="841" actId="700"/>
          <ac:spMkLst>
            <pc:docMk/>
            <pc:sldMk cId="2848530843" sldId="2147379069"/>
            <ac:spMk id="2" creationId="{6C41EE0D-24DB-C85A-7AEB-DF952D5AFA36}"/>
          </ac:spMkLst>
        </pc:spChg>
        <pc:spChg chg="mod ord">
          <ac:chgData name="Marie-Laure Mauborgne" userId="717f1e20-c968-4716-94d0-7143ffa6b39a" providerId="ADAL" clId="{EBB8CBFE-BCB7-4725-A132-D63A59B72226}" dt="2023-06-02T08:42:50.393" v="8314" actId="14100"/>
          <ac:spMkLst>
            <pc:docMk/>
            <pc:sldMk cId="2848530843" sldId="2147379069"/>
            <ac:spMk id="3" creationId="{526EF28E-F546-8C82-261F-610044B4F462}"/>
          </ac:spMkLst>
        </pc:spChg>
        <pc:spChg chg="mod">
          <ac:chgData name="Marie-Laure Mauborgne" userId="717f1e20-c968-4716-94d0-7143ffa6b39a" providerId="ADAL" clId="{EBB8CBFE-BCB7-4725-A132-D63A59B72226}" dt="2023-06-02T08:41:17.150" v="8283" actId="1035"/>
          <ac:spMkLst>
            <pc:docMk/>
            <pc:sldMk cId="2848530843" sldId="2147379069"/>
            <ac:spMk id="5" creationId="{1CBF5E72-CB78-293B-94E5-C0C4268DD4CF}"/>
          </ac:spMkLst>
        </pc:spChg>
        <pc:spChg chg="mod">
          <ac:chgData name="Marie-Laure Mauborgne" userId="717f1e20-c968-4716-94d0-7143ffa6b39a" providerId="ADAL" clId="{EBB8CBFE-BCB7-4725-A132-D63A59B72226}" dt="2023-06-02T08:58:36.572" v="8359" actId="1035"/>
          <ac:spMkLst>
            <pc:docMk/>
            <pc:sldMk cId="2848530843" sldId="2147379069"/>
            <ac:spMk id="7" creationId="{2B7C5F84-5CD0-A4D8-22BA-EDEA5114A556}"/>
          </ac:spMkLst>
        </pc:spChg>
        <pc:spChg chg="mod">
          <ac:chgData name="Marie-Laure Mauborgne" userId="717f1e20-c968-4716-94d0-7143ffa6b39a" providerId="ADAL" clId="{EBB8CBFE-BCB7-4725-A132-D63A59B72226}" dt="2023-06-02T08:58:36.572" v="8359" actId="1035"/>
          <ac:spMkLst>
            <pc:docMk/>
            <pc:sldMk cId="2848530843" sldId="2147379069"/>
            <ac:spMk id="8" creationId="{BFA3E465-7955-41A7-3DEB-F882A39BAEF1}"/>
          </ac:spMkLst>
        </pc:spChg>
        <pc:spChg chg="add mod">
          <ac:chgData name="Marie-Laure Mauborgne" userId="717f1e20-c968-4716-94d0-7143ffa6b39a" providerId="ADAL" clId="{EBB8CBFE-BCB7-4725-A132-D63A59B72226}" dt="2023-06-02T08:58:36.572" v="8359" actId="1035"/>
          <ac:spMkLst>
            <pc:docMk/>
            <pc:sldMk cId="2848530843" sldId="2147379069"/>
            <ac:spMk id="9" creationId="{515BBD33-94DB-86B3-BAA7-418E43B2031D}"/>
          </ac:spMkLst>
        </pc:spChg>
        <pc:spChg chg="mod">
          <ac:chgData name="Marie-Laure Mauborgne" userId="717f1e20-c968-4716-94d0-7143ffa6b39a" providerId="ADAL" clId="{EBB8CBFE-BCB7-4725-A132-D63A59B72226}" dt="2023-06-02T08:58:36.572" v="8359" actId="1035"/>
          <ac:spMkLst>
            <pc:docMk/>
            <pc:sldMk cId="2848530843" sldId="2147379069"/>
            <ac:spMk id="12" creationId="{B78DEB23-F13A-ABF0-286F-DCC6324A2507}"/>
          </ac:spMkLst>
        </pc:spChg>
        <pc:spChg chg="mod">
          <ac:chgData name="Marie-Laure Mauborgne" userId="717f1e20-c968-4716-94d0-7143ffa6b39a" providerId="ADAL" clId="{EBB8CBFE-BCB7-4725-A132-D63A59B72226}" dt="2023-06-02T08:41:13.645" v="8282" actId="1036"/>
          <ac:spMkLst>
            <pc:docMk/>
            <pc:sldMk cId="2848530843" sldId="2147379069"/>
            <ac:spMk id="16" creationId="{6A069206-5A26-CF99-0C2F-E1AA2320CE1C}"/>
          </ac:spMkLst>
        </pc:spChg>
        <pc:spChg chg="add del mod">
          <ac:chgData name="Marie-Laure Mauborgne" userId="717f1e20-c968-4716-94d0-7143ffa6b39a" providerId="ADAL" clId="{EBB8CBFE-BCB7-4725-A132-D63A59B72226}" dt="2023-06-02T08:58:36.572" v="8359" actId="1035"/>
          <ac:spMkLst>
            <pc:docMk/>
            <pc:sldMk cId="2848530843" sldId="2147379069"/>
            <ac:spMk id="17" creationId="{40E10239-3C1D-6910-1EC4-E763ED144A09}"/>
          </ac:spMkLst>
        </pc:spChg>
        <pc:spChg chg="mod">
          <ac:chgData name="Marie-Laure Mauborgne" userId="717f1e20-c968-4716-94d0-7143ffa6b39a" providerId="ADAL" clId="{EBB8CBFE-BCB7-4725-A132-D63A59B72226}" dt="2023-06-02T08:44:38.353" v="8335" actId="20577"/>
          <ac:spMkLst>
            <pc:docMk/>
            <pc:sldMk cId="2848530843" sldId="2147379069"/>
            <ac:spMk id="19" creationId="{903974F9-696B-B06E-56B3-2CF8C8B8A467}"/>
          </ac:spMkLst>
        </pc:spChg>
        <pc:spChg chg="mod">
          <ac:chgData name="Marie-Laure Mauborgne" userId="717f1e20-c968-4716-94d0-7143ffa6b39a" providerId="ADAL" clId="{EBB8CBFE-BCB7-4725-A132-D63A59B72226}" dt="2023-06-02T08:58:36.572" v="8359" actId="1035"/>
          <ac:spMkLst>
            <pc:docMk/>
            <pc:sldMk cId="2848530843" sldId="2147379069"/>
            <ac:spMk id="23" creationId="{176D7C39-648F-F1C8-F6BF-A1EA7F2D5AED}"/>
          </ac:spMkLst>
        </pc:spChg>
        <pc:spChg chg="mod">
          <ac:chgData name="Marie-Laure Mauborgne" userId="717f1e20-c968-4716-94d0-7143ffa6b39a" providerId="ADAL" clId="{EBB8CBFE-BCB7-4725-A132-D63A59B72226}" dt="2023-06-02T08:58:36.572" v="8359" actId="1035"/>
          <ac:spMkLst>
            <pc:docMk/>
            <pc:sldMk cId="2848530843" sldId="2147379069"/>
            <ac:spMk id="24" creationId="{D9491C2A-17A2-BF0D-3B66-AF8C510C81DF}"/>
          </ac:spMkLst>
        </pc:spChg>
        <pc:spChg chg="mod">
          <ac:chgData name="Marie-Laure Mauborgne" userId="717f1e20-c968-4716-94d0-7143ffa6b39a" providerId="ADAL" clId="{EBB8CBFE-BCB7-4725-A132-D63A59B72226}" dt="2023-06-02T08:58:36.572" v="8359" actId="1035"/>
          <ac:spMkLst>
            <pc:docMk/>
            <pc:sldMk cId="2848530843" sldId="2147379069"/>
            <ac:spMk id="29" creationId="{910EEF4D-625C-96CD-7569-AFE11D53F986}"/>
          </ac:spMkLst>
        </pc:spChg>
        <pc:spChg chg="mod">
          <ac:chgData name="Marie-Laure Mauborgne" userId="717f1e20-c968-4716-94d0-7143ffa6b39a" providerId="ADAL" clId="{EBB8CBFE-BCB7-4725-A132-D63A59B72226}" dt="2023-06-02T08:58:36.572" v="8359" actId="1035"/>
          <ac:spMkLst>
            <pc:docMk/>
            <pc:sldMk cId="2848530843" sldId="2147379069"/>
            <ac:spMk id="30" creationId="{FBE80956-8953-75C5-9893-07714A385545}"/>
          </ac:spMkLst>
        </pc:spChg>
        <pc:spChg chg="mod">
          <ac:chgData name="Marie-Laure Mauborgne" userId="717f1e20-c968-4716-94d0-7143ffa6b39a" providerId="ADAL" clId="{EBB8CBFE-BCB7-4725-A132-D63A59B72226}" dt="2023-06-02T08:58:36.572" v="8359" actId="1035"/>
          <ac:spMkLst>
            <pc:docMk/>
            <pc:sldMk cId="2848530843" sldId="2147379069"/>
            <ac:spMk id="32" creationId="{D5A2622C-F70D-A34C-7B7C-D8AA3AE0FD1C}"/>
          </ac:spMkLst>
        </pc:spChg>
        <pc:spChg chg="mod">
          <ac:chgData name="Marie-Laure Mauborgne" userId="717f1e20-c968-4716-94d0-7143ffa6b39a" providerId="ADAL" clId="{EBB8CBFE-BCB7-4725-A132-D63A59B72226}" dt="2023-06-02T08:58:36.572" v="8359" actId="1035"/>
          <ac:spMkLst>
            <pc:docMk/>
            <pc:sldMk cId="2848530843" sldId="2147379069"/>
            <ac:spMk id="33" creationId="{45521E5E-E679-4D22-31DB-74C477CD1E42}"/>
          </ac:spMkLst>
        </pc:spChg>
        <pc:spChg chg="mod">
          <ac:chgData name="Marie-Laure Mauborgne" userId="717f1e20-c968-4716-94d0-7143ffa6b39a" providerId="ADAL" clId="{EBB8CBFE-BCB7-4725-A132-D63A59B72226}" dt="2023-06-02T08:58:36.572" v="8359" actId="1035"/>
          <ac:spMkLst>
            <pc:docMk/>
            <pc:sldMk cId="2848530843" sldId="2147379069"/>
            <ac:spMk id="34" creationId="{02EC06F0-E727-3A4F-2272-30D366C5819F}"/>
          </ac:spMkLst>
        </pc:spChg>
        <pc:spChg chg="mod">
          <ac:chgData name="Marie-Laure Mauborgne" userId="717f1e20-c968-4716-94d0-7143ffa6b39a" providerId="ADAL" clId="{EBB8CBFE-BCB7-4725-A132-D63A59B72226}" dt="2023-06-02T08:58:36.572" v="8359" actId="1035"/>
          <ac:spMkLst>
            <pc:docMk/>
            <pc:sldMk cId="2848530843" sldId="2147379069"/>
            <ac:spMk id="38" creationId="{D590F865-6890-A1F8-27E0-E4E89E1B47AB}"/>
          </ac:spMkLst>
        </pc:spChg>
        <pc:grpChg chg="add del mod">
          <ac:chgData name="Marie-Laure Mauborgne" userId="717f1e20-c968-4716-94d0-7143ffa6b39a" providerId="ADAL" clId="{EBB8CBFE-BCB7-4725-A132-D63A59B72226}" dt="2023-06-02T08:42:10.492" v="8301" actId="478"/>
          <ac:grpSpMkLst>
            <pc:docMk/>
            <pc:sldMk cId="2848530843" sldId="2147379069"/>
            <ac:grpSpMk id="6" creationId="{CFAA471C-675B-F111-D382-01519D0CA3A4}"/>
          </ac:grpSpMkLst>
        </pc:grpChg>
        <pc:grpChg chg="add mod">
          <ac:chgData name="Marie-Laure Mauborgne" userId="717f1e20-c968-4716-94d0-7143ffa6b39a" providerId="ADAL" clId="{EBB8CBFE-BCB7-4725-A132-D63A59B72226}" dt="2023-06-02T08:58:36.572" v="8359" actId="1035"/>
          <ac:grpSpMkLst>
            <pc:docMk/>
            <pc:sldMk cId="2848530843" sldId="2147379069"/>
            <ac:grpSpMk id="10" creationId="{F9A31091-EFC2-65C0-FE4F-0F9B4B042AA6}"/>
          </ac:grpSpMkLst>
        </pc:grpChg>
        <pc:grpChg chg="add del mod">
          <ac:chgData name="Marie-Laure Mauborgne" userId="717f1e20-c968-4716-94d0-7143ffa6b39a" providerId="ADAL" clId="{EBB8CBFE-BCB7-4725-A132-D63A59B72226}" dt="2023-06-02T08:58:36.572" v="8359" actId="1035"/>
          <ac:grpSpMkLst>
            <pc:docMk/>
            <pc:sldMk cId="2848530843" sldId="2147379069"/>
            <ac:grpSpMk id="14" creationId="{5BBB5358-7C81-F353-96A2-ABBC308F9CC7}"/>
          </ac:grpSpMkLst>
        </pc:grpChg>
        <pc:picChg chg="mod modCrop">
          <ac:chgData name="Marie-Laure Mauborgne" userId="717f1e20-c968-4716-94d0-7143ffa6b39a" providerId="ADAL" clId="{EBB8CBFE-BCB7-4725-A132-D63A59B72226}" dt="2023-06-02T08:45:03.369" v="8337" actId="732"/>
          <ac:picMkLst>
            <pc:docMk/>
            <pc:sldMk cId="2848530843" sldId="2147379069"/>
            <ac:picMk id="11" creationId="{23245390-35D7-93AE-3E30-7799F36744B9}"/>
          </ac:picMkLst>
        </pc:picChg>
        <pc:picChg chg="mod">
          <ac:chgData name="Marie-Laure Mauborgne" userId="717f1e20-c968-4716-94d0-7143ffa6b39a" providerId="ADAL" clId="{EBB8CBFE-BCB7-4725-A132-D63A59B72226}" dt="2023-06-02T08:58:36.572" v="8359" actId="1035"/>
          <ac:picMkLst>
            <pc:docMk/>
            <pc:sldMk cId="2848530843" sldId="2147379069"/>
            <ac:picMk id="13" creationId="{16441D7C-F859-C3CF-3A4D-037D306AD8F8}"/>
          </ac:picMkLst>
        </pc:picChg>
        <pc:picChg chg="mod">
          <ac:chgData name="Marie-Laure Mauborgne" userId="717f1e20-c968-4716-94d0-7143ffa6b39a" providerId="ADAL" clId="{EBB8CBFE-BCB7-4725-A132-D63A59B72226}" dt="2023-06-02T08:58:36.572" v="8359" actId="1035"/>
          <ac:picMkLst>
            <pc:docMk/>
            <pc:sldMk cId="2848530843" sldId="2147379069"/>
            <ac:picMk id="18" creationId="{2CBDD121-9F76-95BC-BE01-FC8B4D9E83CC}"/>
          </ac:picMkLst>
        </pc:picChg>
        <pc:picChg chg="mod">
          <ac:chgData name="Marie-Laure Mauborgne" userId="717f1e20-c968-4716-94d0-7143ffa6b39a" providerId="ADAL" clId="{EBB8CBFE-BCB7-4725-A132-D63A59B72226}" dt="2023-06-02T08:58:36.572" v="8359" actId="1035"/>
          <ac:picMkLst>
            <pc:docMk/>
            <pc:sldMk cId="2848530843" sldId="2147379069"/>
            <ac:picMk id="22" creationId="{7064B985-2169-08E6-A1BE-55FB151A41EE}"/>
          </ac:picMkLst>
        </pc:picChg>
      </pc:sldChg>
      <pc:sldChg chg="del">
        <pc:chgData name="Marie-Laure Mauborgne" userId="717f1e20-c968-4716-94d0-7143ffa6b39a" providerId="ADAL" clId="{EBB8CBFE-BCB7-4725-A132-D63A59B72226}" dt="2023-05-29T18:18:20.486" v="71" actId="47"/>
        <pc:sldMkLst>
          <pc:docMk/>
          <pc:sldMk cId="1639478457" sldId="2147379070"/>
        </pc:sldMkLst>
      </pc:sldChg>
      <pc:sldChg chg="delSp modSp add del mod">
        <pc:chgData name="Marie-Laure Mauborgne" userId="717f1e20-c968-4716-94d0-7143ffa6b39a" providerId="ADAL" clId="{EBB8CBFE-BCB7-4725-A132-D63A59B72226}" dt="2023-05-30T14:12:41.342" v="3050" actId="47"/>
        <pc:sldMkLst>
          <pc:docMk/>
          <pc:sldMk cId="3672736778" sldId="2147379070"/>
        </pc:sldMkLst>
        <pc:graphicFrameChg chg="del mod modGraphic">
          <ac:chgData name="Marie-Laure Mauborgne" userId="717f1e20-c968-4716-94d0-7143ffa6b39a" providerId="ADAL" clId="{EBB8CBFE-BCB7-4725-A132-D63A59B72226}" dt="2023-05-30T09:35:03.498" v="1760" actId="21"/>
          <ac:graphicFrameMkLst>
            <pc:docMk/>
            <pc:sldMk cId="3672736778" sldId="2147379070"/>
            <ac:graphicFrameMk id="4" creationId="{0AD34314-0767-6612-96E9-6D68FBCC62A9}"/>
          </ac:graphicFrameMkLst>
        </pc:graphicFrameChg>
      </pc:sldChg>
      <pc:sldChg chg="del">
        <pc:chgData name="Marie-Laure Mauborgne" userId="717f1e20-c968-4716-94d0-7143ffa6b39a" providerId="ADAL" clId="{EBB8CBFE-BCB7-4725-A132-D63A59B72226}" dt="2023-05-29T18:18:25.378" v="72" actId="47"/>
        <pc:sldMkLst>
          <pc:docMk/>
          <pc:sldMk cId="417650236" sldId="2147379071"/>
        </pc:sldMkLst>
      </pc:sldChg>
      <pc:sldChg chg="addSp delSp modSp new mod ord">
        <pc:chgData name="Marie-Laure Mauborgne" userId="717f1e20-c968-4716-94d0-7143ffa6b39a" providerId="ADAL" clId="{EBB8CBFE-BCB7-4725-A132-D63A59B72226}" dt="2023-06-02T13:17:36.452" v="10543" actId="1037"/>
        <pc:sldMkLst>
          <pc:docMk/>
          <pc:sldMk cId="3721803058" sldId="2147379071"/>
        </pc:sldMkLst>
        <pc:spChg chg="mod">
          <ac:chgData name="Marie-Laure Mauborgne" userId="717f1e20-c968-4716-94d0-7143ffa6b39a" providerId="ADAL" clId="{EBB8CBFE-BCB7-4725-A132-D63A59B72226}" dt="2023-05-30T08:55:41.013" v="1238" actId="20577"/>
          <ac:spMkLst>
            <pc:docMk/>
            <pc:sldMk cId="3721803058" sldId="2147379071"/>
            <ac:spMk id="2" creationId="{B17E8695-2C49-BF5D-2546-861479ECCCD9}"/>
          </ac:spMkLst>
        </pc:spChg>
        <pc:spChg chg="mod">
          <ac:chgData name="Marie-Laure Mauborgne" userId="717f1e20-c968-4716-94d0-7143ffa6b39a" providerId="ADAL" clId="{EBB8CBFE-BCB7-4725-A132-D63A59B72226}" dt="2023-06-02T07:56:06.093" v="7373" actId="6549"/>
          <ac:spMkLst>
            <pc:docMk/>
            <pc:sldMk cId="3721803058" sldId="2147379071"/>
            <ac:spMk id="3" creationId="{AE65D57C-2B41-73ED-480C-65EFD46951D4}"/>
          </ac:spMkLst>
        </pc:spChg>
        <pc:spChg chg="del mod">
          <ac:chgData name="Marie-Laure Mauborgne" userId="717f1e20-c968-4716-94d0-7143ffa6b39a" providerId="ADAL" clId="{EBB8CBFE-BCB7-4725-A132-D63A59B72226}" dt="2023-06-02T13:17:05.105" v="10515" actId="478"/>
          <ac:spMkLst>
            <pc:docMk/>
            <pc:sldMk cId="3721803058" sldId="2147379071"/>
            <ac:spMk id="4" creationId="{F3D388DC-7E39-26F5-A540-2B6D07CA6EC6}"/>
          </ac:spMkLst>
        </pc:spChg>
        <pc:spChg chg="mod">
          <ac:chgData name="Marie-Laure Mauborgne" userId="717f1e20-c968-4716-94d0-7143ffa6b39a" providerId="ADAL" clId="{EBB8CBFE-BCB7-4725-A132-D63A59B72226}" dt="2023-06-02T13:16:59.843" v="10514" actId="1036"/>
          <ac:spMkLst>
            <pc:docMk/>
            <pc:sldMk cId="3721803058" sldId="2147379071"/>
            <ac:spMk id="5" creationId="{73339525-7977-5ADB-110C-AB226E25BA40}"/>
          </ac:spMkLst>
        </pc:spChg>
        <pc:spChg chg="add mod">
          <ac:chgData name="Marie-Laure Mauborgne" userId="717f1e20-c968-4716-94d0-7143ffa6b39a" providerId="ADAL" clId="{EBB8CBFE-BCB7-4725-A132-D63A59B72226}" dt="2023-06-02T13:16:59.843" v="10514" actId="1036"/>
          <ac:spMkLst>
            <pc:docMk/>
            <pc:sldMk cId="3721803058" sldId="2147379071"/>
            <ac:spMk id="6" creationId="{EB94372D-B8E8-F487-33DB-BBC2CF4E3C2B}"/>
          </ac:spMkLst>
        </pc:spChg>
        <pc:spChg chg="add mod">
          <ac:chgData name="Marie-Laure Mauborgne" userId="717f1e20-c968-4716-94d0-7143ffa6b39a" providerId="ADAL" clId="{EBB8CBFE-BCB7-4725-A132-D63A59B72226}" dt="2023-06-02T13:16:59.843" v="10514" actId="1036"/>
          <ac:spMkLst>
            <pc:docMk/>
            <pc:sldMk cId="3721803058" sldId="2147379071"/>
            <ac:spMk id="7" creationId="{D9DE6266-9891-25CE-8369-FBCAF926C0BB}"/>
          </ac:spMkLst>
        </pc:spChg>
        <pc:spChg chg="add mod">
          <ac:chgData name="Marie-Laure Mauborgne" userId="717f1e20-c968-4716-94d0-7143ffa6b39a" providerId="ADAL" clId="{EBB8CBFE-BCB7-4725-A132-D63A59B72226}" dt="2023-06-02T13:16:59.843" v="10514" actId="1036"/>
          <ac:spMkLst>
            <pc:docMk/>
            <pc:sldMk cId="3721803058" sldId="2147379071"/>
            <ac:spMk id="8" creationId="{FBD00222-6B71-FE11-C724-AC2E792DDF43}"/>
          </ac:spMkLst>
        </pc:spChg>
        <pc:spChg chg="add mod">
          <ac:chgData name="Marie-Laure Mauborgne" userId="717f1e20-c968-4716-94d0-7143ffa6b39a" providerId="ADAL" clId="{EBB8CBFE-BCB7-4725-A132-D63A59B72226}" dt="2023-06-02T13:16:59.843" v="10514" actId="1036"/>
          <ac:spMkLst>
            <pc:docMk/>
            <pc:sldMk cId="3721803058" sldId="2147379071"/>
            <ac:spMk id="9" creationId="{3DD798EE-DCE6-362A-7B57-1F3529DFA2DE}"/>
          </ac:spMkLst>
        </pc:spChg>
        <pc:spChg chg="add mod">
          <ac:chgData name="Marie-Laure Mauborgne" userId="717f1e20-c968-4716-94d0-7143ffa6b39a" providerId="ADAL" clId="{EBB8CBFE-BCB7-4725-A132-D63A59B72226}" dt="2023-06-02T13:16:59.843" v="10514" actId="1036"/>
          <ac:spMkLst>
            <pc:docMk/>
            <pc:sldMk cId="3721803058" sldId="2147379071"/>
            <ac:spMk id="10" creationId="{37159CB7-8103-75F0-1D2A-F77D9F291FC0}"/>
          </ac:spMkLst>
        </pc:spChg>
        <pc:spChg chg="add mod">
          <ac:chgData name="Marie-Laure Mauborgne" userId="717f1e20-c968-4716-94d0-7143ffa6b39a" providerId="ADAL" clId="{EBB8CBFE-BCB7-4725-A132-D63A59B72226}" dt="2023-06-02T13:16:59.843" v="10514" actId="1036"/>
          <ac:spMkLst>
            <pc:docMk/>
            <pc:sldMk cId="3721803058" sldId="2147379071"/>
            <ac:spMk id="11" creationId="{EEF9DDB0-51DF-1C5D-03ED-AE0A7502504F}"/>
          </ac:spMkLst>
        </pc:spChg>
        <pc:spChg chg="add mod">
          <ac:chgData name="Marie-Laure Mauborgne" userId="717f1e20-c968-4716-94d0-7143ffa6b39a" providerId="ADAL" clId="{EBB8CBFE-BCB7-4725-A132-D63A59B72226}" dt="2023-06-02T13:16:59.843" v="10514" actId="1036"/>
          <ac:spMkLst>
            <pc:docMk/>
            <pc:sldMk cId="3721803058" sldId="2147379071"/>
            <ac:spMk id="12" creationId="{4EDD6D03-5452-A217-7C87-D5E5C438BEC5}"/>
          </ac:spMkLst>
        </pc:spChg>
        <pc:spChg chg="add mod">
          <ac:chgData name="Marie-Laure Mauborgne" userId="717f1e20-c968-4716-94d0-7143ffa6b39a" providerId="ADAL" clId="{EBB8CBFE-BCB7-4725-A132-D63A59B72226}" dt="2023-06-02T13:16:59.843" v="10514" actId="1036"/>
          <ac:spMkLst>
            <pc:docMk/>
            <pc:sldMk cId="3721803058" sldId="2147379071"/>
            <ac:spMk id="13" creationId="{5ADBE462-70D5-EA5C-F8E3-0A54B5BBE4D7}"/>
          </ac:spMkLst>
        </pc:spChg>
        <pc:spChg chg="add mod">
          <ac:chgData name="Marie-Laure Mauborgne" userId="717f1e20-c968-4716-94d0-7143ffa6b39a" providerId="ADAL" clId="{EBB8CBFE-BCB7-4725-A132-D63A59B72226}" dt="2023-06-02T13:16:59.843" v="10514" actId="1036"/>
          <ac:spMkLst>
            <pc:docMk/>
            <pc:sldMk cId="3721803058" sldId="2147379071"/>
            <ac:spMk id="14" creationId="{CC86F6EE-5D3E-05DF-C066-597F94F759B8}"/>
          </ac:spMkLst>
        </pc:spChg>
        <pc:spChg chg="add mod">
          <ac:chgData name="Marie-Laure Mauborgne" userId="717f1e20-c968-4716-94d0-7143ffa6b39a" providerId="ADAL" clId="{EBB8CBFE-BCB7-4725-A132-D63A59B72226}" dt="2023-06-02T13:16:59.843" v="10514" actId="1036"/>
          <ac:spMkLst>
            <pc:docMk/>
            <pc:sldMk cId="3721803058" sldId="2147379071"/>
            <ac:spMk id="15" creationId="{0BEB16D9-61EE-16E5-BE2D-736D35A1D9F2}"/>
          </ac:spMkLst>
        </pc:spChg>
        <pc:spChg chg="add mod">
          <ac:chgData name="Marie-Laure Mauborgne" userId="717f1e20-c968-4716-94d0-7143ffa6b39a" providerId="ADAL" clId="{EBB8CBFE-BCB7-4725-A132-D63A59B72226}" dt="2023-06-02T13:16:59.843" v="10514" actId="1036"/>
          <ac:spMkLst>
            <pc:docMk/>
            <pc:sldMk cId="3721803058" sldId="2147379071"/>
            <ac:spMk id="16" creationId="{AB3FC846-E993-FE3D-76A8-D44352D6BBBC}"/>
          </ac:spMkLst>
        </pc:spChg>
        <pc:spChg chg="add mod">
          <ac:chgData name="Marie-Laure Mauborgne" userId="717f1e20-c968-4716-94d0-7143ffa6b39a" providerId="ADAL" clId="{EBB8CBFE-BCB7-4725-A132-D63A59B72226}" dt="2023-06-02T13:16:59.843" v="10514" actId="1036"/>
          <ac:spMkLst>
            <pc:docMk/>
            <pc:sldMk cId="3721803058" sldId="2147379071"/>
            <ac:spMk id="17" creationId="{F5A9C911-9B56-6B04-85D9-63EB1971C8E7}"/>
          </ac:spMkLst>
        </pc:spChg>
        <pc:spChg chg="add mod">
          <ac:chgData name="Marie-Laure Mauborgne" userId="717f1e20-c968-4716-94d0-7143ffa6b39a" providerId="ADAL" clId="{EBB8CBFE-BCB7-4725-A132-D63A59B72226}" dt="2023-06-02T13:16:59.843" v="10514" actId="1036"/>
          <ac:spMkLst>
            <pc:docMk/>
            <pc:sldMk cId="3721803058" sldId="2147379071"/>
            <ac:spMk id="18" creationId="{B99C47F9-2ABF-CAE5-F5B2-9ECFB068382A}"/>
          </ac:spMkLst>
        </pc:spChg>
        <pc:spChg chg="add mod">
          <ac:chgData name="Marie-Laure Mauborgne" userId="717f1e20-c968-4716-94d0-7143ffa6b39a" providerId="ADAL" clId="{EBB8CBFE-BCB7-4725-A132-D63A59B72226}" dt="2023-06-02T13:16:59.843" v="10514" actId="1036"/>
          <ac:spMkLst>
            <pc:docMk/>
            <pc:sldMk cId="3721803058" sldId="2147379071"/>
            <ac:spMk id="19" creationId="{0352A2DB-A3BC-02EE-5988-571880509072}"/>
          </ac:spMkLst>
        </pc:spChg>
        <pc:spChg chg="add mod">
          <ac:chgData name="Marie-Laure Mauborgne" userId="717f1e20-c968-4716-94d0-7143ffa6b39a" providerId="ADAL" clId="{EBB8CBFE-BCB7-4725-A132-D63A59B72226}" dt="2023-06-02T13:17:36.452" v="10543" actId="1037"/>
          <ac:spMkLst>
            <pc:docMk/>
            <pc:sldMk cId="3721803058" sldId="2147379071"/>
            <ac:spMk id="20" creationId="{CF9D4315-9B8B-68B0-CE54-F6A8405F4413}"/>
          </ac:spMkLst>
        </pc:spChg>
        <pc:spChg chg="add mod">
          <ac:chgData name="Marie-Laure Mauborgne" userId="717f1e20-c968-4716-94d0-7143ffa6b39a" providerId="ADAL" clId="{EBB8CBFE-BCB7-4725-A132-D63A59B72226}" dt="2023-06-02T13:17:36.452" v="10543" actId="1037"/>
          <ac:spMkLst>
            <pc:docMk/>
            <pc:sldMk cId="3721803058" sldId="2147379071"/>
            <ac:spMk id="21" creationId="{5A348988-2474-B95E-1280-F0915611243E}"/>
          </ac:spMkLst>
        </pc:spChg>
      </pc:sldChg>
      <pc:sldChg chg="del">
        <pc:chgData name="Marie-Laure Mauborgne" userId="717f1e20-c968-4716-94d0-7143ffa6b39a" providerId="ADAL" clId="{EBB8CBFE-BCB7-4725-A132-D63A59B72226}" dt="2023-05-29T18:18:26.434" v="73" actId="47"/>
        <pc:sldMkLst>
          <pc:docMk/>
          <pc:sldMk cId="2508766539" sldId="2147379072"/>
        </pc:sldMkLst>
      </pc:sldChg>
      <pc:sldChg chg="addSp delSp modSp new mod modClrScheme chgLayout">
        <pc:chgData name="Marie-Laure Mauborgne" userId="717f1e20-c968-4716-94d0-7143ffa6b39a" providerId="ADAL" clId="{EBB8CBFE-BCB7-4725-A132-D63A59B72226}" dt="2023-06-02T09:32:59.468" v="8828" actId="20577"/>
        <pc:sldMkLst>
          <pc:docMk/>
          <pc:sldMk cId="2783807835" sldId="2147379072"/>
        </pc:sldMkLst>
        <pc:spChg chg="del mod ord">
          <ac:chgData name="Marie-Laure Mauborgne" userId="717f1e20-c968-4716-94d0-7143ffa6b39a" providerId="ADAL" clId="{EBB8CBFE-BCB7-4725-A132-D63A59B72226}" dt="2023-05-30T09:31:13.624" v="1674" actId="700"/>
          <ac:spMkLst>
            <pc:docMk/>
            <pc:sldMk cId="2783807835" sldId="2147379072"/>
            <ac:spMk id="2" creationId="{C306055B-0EC3-8349-1E02-5EBC0BA9B1E0}"/>
          </ac:spMkLst>
        </pc:spChg>
        <pc:spChg chg="mod ord">
          <ac:chgData name="Marie-Laure Mauborgne" userId="717f1e20-c968-4716-94d0-7143ffa6b39a" providerId="ADAL" clId="{EBB8CBFE-BCB7-4725-A132-D63A59B72226}" dt="2023-06-02T09:32:59.468" v="8828" actId="20577"/>
          <ac:spMkLst>
            <pc:docMk/>
            <pc:sldMk cId="2783807835" sldId="2147379072"/>
            <ac:spMk id="3" creationId="{90400476-0257-4B4D-D5AC-27D1B4997657}"/>
          </ac:spMkLst>
        </pc:spChg>
        <pc:spChg chg="del mod ord">
          <ac:chgData name="Marie-Laure Mauborgne" userId="717f1e20-c968-4716-94d0-7143ffa6b39a" providerId="ADAL" clId="{EBB8CBFE-BCB7-4725-A132-D63A59B72226}" dt="2023-05-30T09:31:13.624" v="1674" actId="700"/>
          <ac:spMkLst>
            <pc:docMk/>
            <pc:sldMk cId="2783807835" sldId="2147379072"/>
            <ac:spMk id="4" creationId="{82F5E130-F386-CE0C-0E88-9B5BF0A1698D}"/>
          </ac:spMkLst>
        </pc:spChg>
        <pc:spChg chg="mod ord">
          <ac:chgData name="Marie-Laure Mauborgne" userId="717f1e20-c968-4716-94d0-7143ffa6b39a" providerId="ADAL" clId="{EBB8CBFE-BCB7-4725-A132-D63A59B72226}" dt="2023-05-30T09:31:13.624" v="1674" actId="700"/>
          <ac:spMkLst>
            <pc:docMk/>
            <pc:sldMk cId="2783807835" sldId="2147379072"/>
            <ac:spMk id="5" creationId="{1958C89D-AD47-8ACD-B78E-2FB5B0AAF883}"/>
          </ac:spMkLst>
        </pc:spChg>
        <pc:spChg chg="mod ord">
          <ac:chgData name="Marie-Laure Mauborgne" userId="717f1e20-c968-4716-94d0-7143ffa6b39a" providerId="ADAL" clId="{EBB8CBFE-BCB7-4725-A132-D63A59B72226}" dt="2023-05-30T09:31:13.624" v="1674" actId="700"/>
          <ac:spMkLst>
            <pc:docMk/>
            <pc:sldMk cId="2783807835" sldId="2147379072"/>
            <ac:spMk id="6" creationId="{B4BBB5D0-F609-5304-B12B-27F1399A7536}"/>
          </ac:spMkLst>
        </pc:spChg>
        <pc:spChg chg="add mod ord">
          <ac:chgData name="Marie-Laure Mauborgne" userId="717f1e20-c968-4716-94d0-7143ffa6b39a" providerId="ADAL" clId="{EBB8CBFE-BCB7-4725-A132-D63A59B72226}" dt="2023-05-30T09:31:13.624" v="1674" actId="700"/>
          <ac:spMkLst>
            <pc:docMk/>
            <pc:sldMk cId="2783807835" sldId="2147379072"/>
            <ac:spMk id="7" creationId="{A46BB841-D366-C0DB-60DD-0E257D1970A8}"/>
          </ac:spMkLst>
        </pc:spChg>
        <pc:spChg chg="add mod ord">
          <ac:chgData name="Marie-Laure Mauborgne" userId="717f1e20-c968-4716-94d0-7143ffa6b39a" providerId="ADAL" clId="{EBB8CBFE-BCB7-4725-A132-D63A59B72226}" dt="2023-05-30T09:31:13.624" v="1674" actId="700"/>
          <ac:spMkLst>
            <pc:docMk/>
            <pc:sldMk cId="2783807835" sldId="2147379072"/>
            <ac:spMk id="8" creationId="{F6B5FFBA-68F8-D561-CA5A-F6DC0A4ACCB8}"/>
          </ac:spMkLst>
        </pc:spChg>
      </pc:sldChg>
      <pc:sldChg chg="addSp delSp modSp new mod modClrScheme chgLayout">
        <pc:chgData name="Marie-Laure Mauborgne" userId="717f1e20-c968-4716-94d0-7143ffa6b39a" providerId="ADAL" clId="{EBB8CBFE-BCB7-4725-A132-D63A59B72226}" dt="2023-05-30T09:29:18.826" v="1643" actId="700"/>
        <pc:sldMkLst>
          <pc:docMk/>
          <pc:sldMk cId="74385919" sldId="2147379073"/>
        </pc:sldMkLst>
        <pc:spChg chg="mod ord">
          <ac:chgData name="Marie-Laure Mauborgne" userId="717f1e20-c968-4716-94d0-7143ffa6b39a" providerId="ADAL" clId="{EBB8CBFE-BCB7-4725-A132-D63A59B72226}" dt="2023-05-30T09:29:18.826" v="1643" actId="700"/>
          <ac:spMkLst>
            <pc:docMk/>
            <pc:sldMk cId="74385919" sldId="2147379073"/>
            <ac:spMk id="2" creationId="{82594165-0B34-6569-C4F5-2A7139A3BCF6}"/>
          </ac:spMkLst>
        </pc:spChg>
        <pc:spChg chg="del mod ord">
          <ac:chgData name="Marie-Laure Mauborgne" userId="717f1e20-c968-4716-94d0-7143ffa6b39a" providerId="ADAL" clId="{EBB8CBFE-BCB7-4725-A132-D63A59B72226}" dt="2023-05-30T09:29:18.826" v="1643" actId="700"/>
          <ac:spMkLst>
            <pc:docMk/>
            <pc:sldMk cId="74385919" sldId="2147379073"/>
            <ac:spMk id="3" creationId="{AEED0866-89F8-47CC-4750-69BF5A85D95B}"/>
          </ac:spMkLst>
        </pc:spChg>
        <pc:spChg chg="mod ord">
          <ac:chgData name="Marie-Laure Mauborgne" userId="717f1e20-c968-4716-94d0-7143ffa6b39a" providerId="ADAL" clId="{EBB8CBFE-BCB7-4725-A132-D63A59B72226}" dt="2023-05-30T09:29:18.826" v="1643" actId="700"/>
          <ac:spMkLst>
            <pc:docMk/>
            <pc:sldMk cId="74385919" sldId="2147379073"/>
            <ac:spMk id="4" creationId="{D0E9EE10-AC4B-86A7-4F7A-6F2737E45EDA}"/>
          </ac:spMkLst>
        </pc:spChg>
        <pc:spChg chg="mod ord">
          <ac:chgData name="Marie-Laure Mauborgne" userId="717f1e20-c968-4716-94d0-7143ffa6b39a" providerId="ADAL" clId="{EBB8CBFE-BCB7-4725-A132-D63A59B72226}" dt="2023-05-30T09:29:18.826" v="1643" actId="700"/>
          <ac:spMkLst>
            <pc:docMk/>
            <pc:sldMk cId="74385919" sldId="2147379073"/>
            <ac:spMk id="5" creationId="{B0ABFC7C-BA0B-5B78-E25C-55A95548E94D}"/>
          </ac:spMkLst>
        </pc:spChg>
        <pc:spChg chg="add mod ord">
          <ac:chgData name="Marie-Laure Mauborgne" userId="717f1e20-c968-4716-94d0-7143ffa6b39a" providerId="ADAL" clId="{EBB8CBFE-BCB7-4725-A132-D63A59B72226}" dt="2023-05-30T09:29:18.826" v="1643" actId="700"/>
          <ac:spMkLst>
            <pc:docMk/>
            <pc:sldMk cId="74385919" sldId="2147379073"/>
            <ac:spMk id="6" creationId="{EBB32E6E-764A-4653-E653-ABBDF7B1C437}"/>
          </ac:spMkLst>
        </pc:spChg>
        <pc:spChg chg="add mod ord">
          <ac:chgData name="Marie-Laure Mauborgne" userId="717f1e20-c968-4716-94d0-7143ffa6b39a" providerId="ADAL" clId="{EBB8CBFE-BCB7-4725-A132-D63A59B72226}" dt="2023-05-30T09:29:18.826" v="1643" actId="700"/>
          <ac:spMkLst>
            <pc:docMk/>
            <pc:sldMk cId="74385919" sldId="2147379073"/>
            <ac:spMk id="7" creationId="{86AE5C1C-A3C4-CFEC-805D-E2464731618D}"/>
          </ac:spMkLst>
        </pc:spChg>
      </pc:sldChg>
      <pc:sldChg chg="del">
        <pc:chgData name="Marie-Laure Mauborgne" userId="717f1e20-c968-4716-94d0-7143ffa6b39a" providerId="ADAL" clId="{EBB8CBFE-BCB7-4725-A132-D63A59B72226}" dt="2023-05-29T18:19:02.428" v="81" actId="47"/>
        <pc:sldMkLst>
          <pc:docMk/>
          <pc:sldMk cId="773061102" sldId="2147379073"/>
        </pc:sldMkLst>
      </pc:sldChg>
      <pc:sldChg chg="addSp delSp modSp new mod modClrScheme chgLayout">
        <pc:chgData name="Marie-Laure Mauborgne" userId="717f1e20-c968-4716-94d0-7143ffa6b39a" providerId="ADAL" clId="{EBB8CBFE-BCB7-4725-A132-D63A59B72226}" dt="2023-05-30T09:29:38.366" v="1661" actId="20577"/>
        <pc:sldMkLst>
          <pc:docMk/>
          <pc:sldMk cId="1650544958" sldId="2147379074"/>
        </pc:sldMkLst>
        <pc:spChg chg="del mod ord">
          <ac:chgData name="Marie-Laure Mauborgne" userId="717f1e20-c968-4716-94d0-7143ffa6b39a" providerId="ADAL" clId="{EBB8CBFE-BCB7-4725-A132-D63A59B72226}" dt="2023-05-30T09:29:34.327" v="1645" actId="700"/>
          <ac:spMkLst>
            <pc:docMk/>
            <pc:sldMk cId="1650544958" sldId="2147379074"/>
            <ac:spMk id="2" creationId="{450BFE8E-FBFD-FD6A-96E3-5BBF3E0A2140}"/>
          </ac:spMkLst>
        </pc:spChg>
        <pc:spChg chg="del mod ord">
          <ac:chgData name="Marie-Laure Mauborgne" userId="717f1e20-c968-4716-94d0-7143ffa6b39a" providerId="ADAL" clId="{EBB8CBFE-BCB7-4725-A132-D63A59B72226}" dt="2023-05-30T09:29:34.327" v="1645" actId="700"/>
          <ac:spMkLst>
            <pc:docMk/>
            <pc:sldMk cId="1650544958" sldId="2147379074"/>
            <ac:spMk id="3" creationId="{6AB957C4-76ED-0FA6-87C8-F3F943FEDD58}"/>
          </ac:spMkLst>
        </pc:spChg>
        <pc:spChg chg="mod ord">
          <ac:chgData name="Marie-Laure Mauborgne" userId="717f1e20-c968-4716-94d0-7143ffa6b39a" providerId="ADAL" clId="{EBB8CBFE-BCB7-4725-A132-D63A59B72226}" dt="2023-05-30T09:29:34.327" v="1645" actId="700"/>
          <ac:spMkLst>
            <pc:docMk/>
            <pc:sldMk cId="1650544958" sldId="2147379074"/>
            <ac:spMk id="4" creationId="{E51DBE16-A832-5A61-60FA-777EFE5C3F48}"/>
          </ac:spMkLst>
        </pc:spChg>
        <pc:spChg chg="mod ord">
          <ac:chgData name="Marie-Laure Mauborgne" userId="717f1e20-c968-4716-94d0-7143ffa6b39a" providerId="ADAL" clId="{EBB8CBFE-BCB7-4725-A132-D63A59B72226}" dt="2023-05-30T09:29:34.327" v="1645" actId="700"/>
          <ac:spMkLst>
            <pc:docMk/>
            <pc:sldMk cId="1650544958" sldId="2147379074"/>
            <ac:spMk id="5" creationId="{8E5E19CE-4EE3-5F3A-9023-C2D0AEF8EAED}"/>
          </ac:spMkLst>
        </pc:spChg>
        <pc:spChg chg="add mod ord">
          <ac:chgData name="Marie-Laure Mauborgne" userId="717f1e20-c968-4716-94d0-7143ffa6b39a" providerId="ADAL" clId="{EBB8CBFE-BCB7-4725-A132-D63A59B72226}" dt="2023-05-30T09:29:38.366" v="1661" actId="20577"/>
          <ac:spMkLst>
            <pc:docMk/>
            <pc:sldMk cId="1650544958" sldId="2147379074"/>
            <ac:spMk id="6" creationId="{7CA9900A-1E31-8BEB-B247-4962E56544ED}"/>
          </ac:spMkLst>
        </pc:spChg>
        <pc:spChg chg="add mod ord">
          <ac:chgData name="Marie-Laure Mauborgne" userId="717f1e20-c968-4716-94d0-7143ffa6b39a" providerId="ADAL" clId="{EBB8CBFE-BCB7-4725-A132-D63A59B72226}" dt="2023-05-30T09:29:34.327" v="1645" actId="700"/>
          <ac:spMkLst>
            <pc:docMk/>
            <pc:sldMk cId="1650544958" sldId="2147379074"/>
            <ac:spMk id="7" creationId="{2E0B2B10-1946-CB6D-2DD6-D8F924F83B73}"/>
          </ac:spMkLst>
        </pc:spChg>
        <pc:spChg chg="add mod ord">
          <ac:chgData name="Marie-Laure Mauborgne" userId="717f1e20-c968-4716-94d0-7143ffa6b39a" providerId="ADAL" clId="{EBB8CBFE-BCB7-4725-A132-D63A59B72226}" dt="2023-05-30T09:29:34.327" v="1645" actId="700"/>
          <ac:spMkLst>
            <pc:docMk/>
            <pc:sldMk cId="1650544958" sldId="2147379074"/>
            <ac:spMk id="8" creationId="{9E2EDDAF-9F93-D620-D885-91FD0E72208D}"/>
          </ac:spMkLst>
        </pc:spChg>
      </pc:sldChg>
      <pc:sldChg chg="del">
        <pc:chgData name="Marie-Laure Mauborgne" userId="717f1e20-c968-4716-94d0-7143ffa6b39a" providerId="ADAL" clId="{EBB8CBFE-BCB7-4725-A132-D63A59B72226}" dt="2023-05-29T18:20:42.321" v="83" actId="47"/>
        <pc:sldMkLst>
          <pc:docMk/>
          <pc:sldMk cId="2743320368" sldId="2147379074"/>
        </pc:sldMkLst>
      </pc:sldChg>
      <pc:sldChg chg="addSp delSp modSp new mod modClrScheme chgLayout">
        <pc:chgData name="Marie-Laure Mauborgne" userId="717f1e20-c968-4716-94d0-7143ffa6b39a" providerId="ADAL" clId="{EBB8CBFE-BCB7-4725-A132-D63A59B72226}" dt="2023-06-01T07:23:34.102" v="6745" actId="20577"/>
        <pc:sldMkLst>
          <pc:docMk/>
          <pc:sldMk cId="1670817811" sldId="2147379075"/>
        </pc:sldMkLst>
        <pc:spChg chg="del mod ord">
          <ac:chgData name="Marie-Laure Mauborgne" userId="717f1e20-c968-4716-94d0-7143ffa6b39a" providerId="ADAL" clId="{EBB8CBFE-BCB7-4725-A132-D63A59B72226}" dt="2023-05-30T09:30:05.629" v="1663" actId="700"/>
          <ac:spMkLst>
            <pc:docMk/>
            <pc:sldMk cId="1670817811" sldId="2147379075"/>
            <ac:spMk id="2" creationId="{AD61FCC4-792E-3168-DAFF-3E8690D8FEAD}"/>
          </ac:spMkLst>
        </pc:spChg>
        <pc:spChg chg="del mod ord">
          <ac:chgData name="Marie-Laure Mauborgne" userId="717f1e20-c968-4716-94d0-7143ffa6b39a" providerId="ADAL" clId="{EBB8CBFE-BCB7-4725-A132-D63A59B72226}" dt="2023-05-30T09:30:05.629" v="1663" actId="700"/>
          <ac:spMkLst>
            <pc:docMk/>
            <pc:sldMk cId="1670817811" sldId="2147379075"/>
            <ac:spMk id="3" creationId="{AA2D35BD-78F7-E442-5B7E-EE1E6033BEED}"/>
          </ac:spMkLst>
        </pc:spChg>
        <pc:spChg chg="mod ord">
          <ac:chgData name="Marie-Laure Mauborgne" userId="717f1e20-c968-4716-94d0-7143ffa6b39a" providerId="ADAL" clId="{EBB8CBFE-BCB7-4725-A132-D63A59B72226}" dt="2023-05-30T09:32:35.201" v="1689" actId="700"/>
          <ac:spMkLst>
            <pc:docMk/>
            <pc:sldMk cId="1670817811" sldId="2147379075"/>
            <ac:spMk id="4" creationId="{EAEF101B-18DD-2936-4EAF-22E37D8392CF}"/>
          </ac:spMkLst>
        </pc:spChg>
        <pc:spChg chg="mod ord">
          <ac:chgData name="Marie-Laure Mauborgne" userId="717f1e20-c968-4716-94d0-7143ffa6b39a" providerId="ADAL" clId="{EBB8CBFE-BCB7-4725-A132-D63A59B72226}" dt="2023-05-30T09:32:35.201" v="1689" actId="700"/>
          <ac:spMkLst>
            <pc:docMk/>
            <pc:sldMk cId="1670817811" sldId="2147379075"/>
            <ac:spMk id="5" creationId="{4B373DBB-A2EB-A332-AD90-BE9B18F1D4E0}"/>
          </ac:spMkLst>
        </pc:spChg>
        <pc:spChg chg="add mod ord">
          <ac:chgData name="Marie-Laure Mauborgne" userId="717f1e20-c968-4716-94d0-7143ffa6b39a" providerId="ADAL" clId="{EBB8CBFE-BCB7-4725-A132-D63A59B72226}" dt="2023-06-01T07:23:34.102" v="6745" actId="20577"/>
          <ac:spMkLst>
            <pc:docMk/>
            <pc:sldMk cId="1670817811" sldId="2147379075"/>
            <ac:spMk id="6" creationId="{177F351D-38ED-4530-4651-B376261ECAA2}"/>
          </ac:spMkLst>
        </pc:spChg>
        <pc:spChg chg="add del mod ord">
          <ac:chgData name="Marie-Laure Mauborgne" userId="717f1e20-c968-4716-94d0-7143ffa6b39a" providerId="ADAL" clId="{EBB8CBFE-BCB7-4725-A132-D63A59B72226}" dt="2023-05-30T09:32:23.560" v="1683" actId="700"/>
          <ac:spMkLst>
            <pc:docMk/>
            <pc:sldMk cId="1670817811" sldId="2147379075"/>
            <ac:spMk id="7" creationId="{6A1A00C8-0A71-896E-C1C5-EDA2B51E62E8}"/>
          </ac:spMkLst>
        </pc:spChg>
        <pc:spChg chg="add del mod ord">
          <ac:chgData name="Marie-Laure Mauborgne" userId="717f1e20-c968-4716-94d0-7143ffa6b39a" providerId="ADAL" clId="{EBB8CBFE-BCB7-4725-A132-D63A59B72226}" dt="2023-05-30T09:32:23.560" v="1683" actId="700"/>
          <ac:spMkLst>
            <pc:docMk/>
            <pc:sldMk cId="1670817811" sldId="2147379075"/>
            <ac:spMk id="8" creationId="{A79B9512-22B3-6B9A-64B4-00E813E293E7}"/>
          </ac:spMkLst>
        </pc:spChg>
        <pc:spChg chg="add del mod ord">
          <ac:chgData name="Marie-Laure Mauborgne" userId="717f1e20-c968-4716-94d0-7143ffa6b39a" providerId="ADAL" clId="{EBB8CBFE-BCB7-4725-A132-D63A59B72226}" dt="2023-05-30T09:32:25.719" v="1684"/>
          <ac:spMkLst>
            <pc:docMk/>
            <pc:sldMk cId="1670817811" sldId="2147379075"/>
            <ac:spMk id="9" creationId="{F9AE7B37-4A90-BA72-D8D7-9AB0AD20299F}"/>
          </ac:spMkLst>
        </pc:spChg>
        <pc:spChg chg="add del mod ord">
          <ac:chgData name="Marie-Laure Mauborgne" userId="717f1e20-c968-4716-94d0-7143ffa6b39a" providerId="ADAL" clId="{EBB8CBFE-BCB7-4725-A132-D63A59B72226}" dt="2023-05-30T09:32:25.719" v="1684"/>
          <ac:spMkLst>
            <pc:docMk/>
            <pc:sldMk cId="1670817811" sldId="2147379075"/>
            <ac:spMk id="10" creationId="{9C8D45BB-F4C6-B886-CD7A-C0A5E338418B}"/>
          </ac:spMkLst>
        </pc:spChg>
        <pc:spChg chg="add del mod">
          <ac:chgData name="Marie-Laure Mauborgne" userId="717f1e20-c968-4716-94d0-7143ffa6b39a" providerId="ADAL" clId="{EBB8CBFE-BCB7-4725-A132-D63A59B72226}" dt="2023-05-30T09:32:25.719" v="1684"/>
          <ac:spMkLst>
            <pc:docMk/>
            <pc:sldMk cId="1670817811" sldId="2147379075"/>
            <ac:spMk id="11" creationId="{AFC54160-28D6-75BE-01DE-B1262C94875F}"/>
          </ac:spMkLst>
        </pc:spChg>
        <pc:spChg chg="add del mod">
          <ac:chgData name="Marie-Laure Mauborgne" userId="717f1e20-c968-4716-94d0-7143ffa6b39a" providerId="ADAL" clId="{EBB8CBFE-BCB7-4725-A132-D63A59B72226}" dt="2023-05-30T09:32:25.719" v="1684"/>
          <ac:spMkLst>
            <pc:docMk/>
            <pc:sldMk cId="1670817811" sldId="2147379075"/>
            <ac:spMk id="12" creationId="{28300D32-52B8-A192-1B51-C33A237AD337}"/>
          </ac:spMkLst>
        </pc:spChg>
        <pc:spChg chg="add del mod">
          <ac:chgData name="Marie-Laure Mauborgne" userId="717f1e20-c968-4716-94d0-7143ffa6b39a" providerId="ADAL" clId="{EBB8CBFE-BCB7-4725-A132-D63A59B72226}" dt="2023-05-30T09:32:25.719" v="1684"/>
          <ac:spMkLst>
            <pc:docMk/>
            <pc:sldMk cId="1670817811" sldId="2147379075"/>
            <ac:spMk id="13" creationId="{1434C6D5-00DA-6147-FE1D-D3ABB86A016A}"/>
          </ac:spMkLst>
        </pc:spChg>
        <pc:spChg chg="add del mod">
          <ac:chgData name="Marie-Laure Mauborgne" userId="717f1e20-c968-4716-94d0-7143ffa6b39a" providerId="ADAL" clId="{EBB8CBFE-BCB7-4725-A132-D63A59B72226}" dt="2023-05-30T09:32:26.612" v="1685"/>
          <ac:spMkLst>
            <pc:docMk/>
            <pc:sldMk cId="1670817811" sldId="2147379075"/>
            <ac:spMk id="14" creationId="{E5D61CD4-0F49-9A59-981F-F5CE3C8EF1A5}"/>
          </ac:spMkLst>
        </pc:spChg>
        <pc:spChg chg="add del mod">
          <ac:chgData name="Marie-Laure Mauborgne" userId="717f1e20-c968-4716-94d0-7143ffa6b39a" providerId="ADAL" clId="{EBB8CBFE-BCB7-4725-A132-D63A59B72226}" dt="2023-05-30T09:32:26.612" v="1685"/>
          <ac:spMkLst>
            <pc:docMk/>
            <pc:sldMk cId="1670817811" sldId="2147379075"/>
            <ac:spMk id="15" creationId="{48D2D709-2C6E-50AB-6C36-02255FEFBA37}"/>
          </ac:spMkLst>
        </pc:spChg>
        <pc:spChg chg="add del mod">
          <ac:chgData name="Marie-Laure Mauborgne" userId="717f1e20-c968-4716-94d0-7143ffa6b39a" providerId="ADAL" clId="{EBB8CBFE-BCB7-4725-A132-D63A59B72226}" dt="2023-05-30T09:32:26.612" v="1685"/>
          <ac:spMkLst>
            <pc:docMk/>
            <pc:sldMk cId="1670817811" sldId="2147379075"/>
            <ac:spMk id="16" creationId="{E1D3FDB3-7352-ADEC-9E1B-791793ADE725}"/>
          </ac:spMkLst>
        </pc:spChg>
        <pc:spChg chg="add del mod">
          <ac:chgData name="Marie-Laure Mauborgne" userId="717f1e20-c968-4716-94d0-7143ffa6b39a" providerId="ADAL" clId="{EBB8CBFE-BCB7-4725-A132-D63A59B72226}" dt="2023-05-30T09:32:26.612" v="1685"/>
          <ac:spMkLst>
            <pc:docMk/>
            <pc:sldMk cId="1670817811" sldId="2147379075"/>
            <ac:spMk id="17" creationId="{075BE591-7A7A-1D4C-BD78-EC887C33C23E}"/>
          </ac:spMkLst>
        </pc:spChg>
        <pc:spChg chg="add del mod">
          <ac:chgData name="Marie-Laure Mauborgne" userId="717f1e20-c968-4716-94d0-7143ffa6b39a" providerId="ADAL" clId="{EBB8CBFE-BCB7-4725-A132-D63A59B72226}" dt="2023-05-30T09:32:26.612" v="1685"/>
          <ac:spMkLst>
            <pc:docMk/>
            <pc:sldMk cId="1670817811" sldId="2147379075"/>
            <ac:spMk id="18" creationId="{7402D658-7C4C-1040-786C-D6C47F9D474A}"/>
          </ac:spMkLst>
        </pc:spChg>
        <pc:spChg chg="add del mod">
          <ac:chgData name="Marie-Laure Mauborgne" userId="717f1e20-c968-4716-94d0-7143ffa6b39a" providerId="ADAL" clId="{EBB8CBFE-BCB7-4725-A132-D63A59B72226}" dt="2023-05-30T09:32:30.889" v="1687"/>
          <ac:spMkLst>
            <pc:docMk/>
            <pc:sldMk cId="1670817811" sldId="2147379075"/>
            <ac:spMk id="19" creationId="{6B276E58-AA29-84AF-D313-39BFDFA06EDD}"/>
          </ac:spMkLst>
        </pc:spChg>
        <pc:spChg chg="add del mod">
          <ac:chgData name="Marie-Laure Mauborgne" userId="717f1e20-c968-4716-94d0-7143ffa6b39a" providerId="ADAL" clId="{EBB8CBFE-BCB7-4725-A132-D63A59B72226}" dt="2023-05-30T09:32:30.889" v="1687"/>
          <ac:spMkLst>
            <pc:docMk/>
            <pc:sldMk cId="1670817811" sldId="2147379075"/>
            <ac:spMk id="20" creationId="{E51E3F3E-9089-6F83-60F3-A32F0841F2C9}"/>
          </ac:spMkLst>
        </pc:spChg>
        <pc:spChg chg="add del mod">
          <ac:chgData name="Marie-Laure Mauborgne" userId="717f1e20-c968-4716-94d0-7143ffa6b39a" providerId="ADAL" clId="{EBB8CBFE-BCB7-4725-A132-D63A59B72226}" dt="2023-05-30T09:32:30.889" v="1687"/>
          <ac:spMkLst>
            <pc:docMk/>
            <pc:sldMk cId="1670817811" sldId="2147379075"/>
            <ac:spMk id="21" creationId="{3B870D47-A0DF-A05C-4CAA-A1B7D66B5A28}"/>
          </ac:spMkLst>
        </pc:spChg>
        <pc:spChg chg="add del mod">
          <ac:chgData name="Marie-Laure Mauborgne" userId="717f1e20-c968-4716-94d0-7143ffa6b39a" providerId="ADAL" clId="{EBB8CBFE-BCB7-4725-A132-D63A59B72226}" dt="2023-05-30T09:32:30.889" v="1687"/>
          <ac:spMkLst>
            <pc:docMk/>
            <pc:sldMk cId="1670817811" sldId="2147379075"/>
            <ac:spMk id="22" creationId="{578A8E02-B727-559D-35BF-DFE8335CF6DE}"/>
          </ac:spMkLst>
        </pc:spChg>
        <pc:spChg chg="add del mod">
          <ac:chgData name="Marie-Laure Mauborgne" userId="717f1e20-c968-4716-94d0-7143ffa6b39a" providerId="ADAL" clId="{EBB8CBFE-BCB7-4725-A132-D63A59B72226}" dt="2023-05-30T09:32:30.889" v="1687"/>
          <ac:spMkLst>
            <pc:docMk/>
            <pc:sldMk cId="1670817811" sldId="2147379075"/>
            <ac:spMk id="23" creationId="{DD399C89-E657-46C6-45C9-987E6A9A3E7E}"/>
          </ac:spMkLst>
        </pc:spChg>
        <pc:spChg chg="add del mod ord">
          <ac:chgData name="Marie-Laure Mauborgne" userId="717f1e20-c968-4716-94d0-7143ffa6b39a" providerId="ADAL" clId="{EBB8CBFE-BCB7-4725-A132-D63A59B72226}" dt="2023-05-30T09:32:33.266" v="1688" actId="700"/>
          <ac:spMkLst>
            <pc:docMk/>
            <pc:sldMk cId="1670817811" sldId="2147379075"/>
            <ac:spMk id="24" creationId="{A5753396-B66D-4857-5555-774663A3F8DA}"/>
          </ac:spMkLst>
        </pc:spChg>
        <pc:spChg chg="add del mod ord">
          <ac:chgData name="Marie-Laure Mauborgne" userId="717f1e20-c968-4716-94d0-7143ffa6b39a" providerId="ADAL" clId="{EBB8CBFE-BCB7-4725-A132-D63A59B72226}" dt="2023-05-30T09:32:33.266" v="1688" actId="700"/>
          <ac:spMkLst>
            <pc:docMk/>
            <pc:sldMk cId="1670817811" sldId="2147379075"/>
            <ac:spMk id="25" creationId="{C1AB87AB-24C3-FF6F-44F7-A5EA49815BC7}"/>
          </ac:spMkLst>
        </pc:spChg>
        <pc:spChg chg="add del mod ord">
          <ac:chgData name="Marie-Laure Mauborgne" userId="717f1e20-c968-4716-94d0-7143ffa6b39a" providerId="ADAL" clId="{EBB8CBFE-BCB7-4725-A132-D63A59B72226}" dt="2023-05-30T09:32:35.201" v="1689" actId="700"/>
          <ac:spMkLst>
            <pc:docMk/>
            <pc:sldMk cId="1670817811" sldId="2147379075"/>
            <ac:spMk id="26" creationId="{108829B0-4B48-03D9-FF54-C6D53DBD5A97}"/>
          </ac:spMkLst>
        </pc:spChg>
        <pc:spChg chg="add del mod ord">
          <ac:chgData name="Marie-Laure Mauborgne" userId="717f1e20-c968-4716-94d0-7143ffa6b39a" providerId="ADAL" clId="{EBB8CBFE-BCB7-4725-A132-D63A59B72226}" dt="2023-05-30T09:32:35.201" v="1689" actId="700"/>
          <ac:spMkLst>
            <pc:docMk/>
            <pc:sldMk cId="1670817811" sldId="2147379075"/>
            <ac:spMk id="27" creationId="{9C9E370C-7441-02AF-B51E-BD6B95787242}"/>
          </ac:spMkLst>
        </pc:spChg>
        <pc:spChg chg="add mod ord">
          <ac:chgData name="Marie-Laure Mauborgne" userId="717f1e20-c968-4716-94d0-7143ffa6b39a" providerId="ADAL" clId="{EBB8CBFE-BCB7-4725-A132-D63A59B72226}" dt="2023-05-30T09:32:35.201" v="1689" actId="700"/>
          <ac:spMkLst>
            <pc:docMk/>
            <pc:sldMk cId="1670817811" sldId="2147379075"/>
            <ac:spMk id="28" creationId="{79D32342-166A-23E8-12DA-C6CE8F0DE6FB}"/>
          </ac:spMkLst>
        </pc:spChg>
        <pc:spChg chg="add mod ord">
          <ac:chgData name="Marie-Laure Mauborgne" userId="717f1e20-c968-4716-94d0-7143ffa6b39a" providerId="ADAL" clId="{EBB8CBFE-BCB7-4725-A132-D63A59B72226}" dt="2023-05-30T09:32:35.201" v="1689" actId="700"/>
          <ac:spMkLst>
            <pc:docMk/>
            <pc:sldMk cId="1670817811" sldId="2147379075"/>
            <ac:spMk id="29" creationId="{0002C32B-47E0-1B47-CE25-6891042B9094}"/>
          </ac:spMkLst>
        </pc:spChg>
        <pc:spChg chg="add del">
          <ac:chgData name="Marie-Laure Mauborgne" userId="717f1e20-c968-4716-94d0-7143ffa6b39a" providerId="ADAL" clId="{EBB8CBFE-BCB7-4725-A132-D63A59B72226}" dt="2023-05-30T13:26:40.125" v="2934" actId="478"/>
          <ac:spMkLst>
            <pc:docMk/>
            <pc:sldMk cId="1670817811" sldId="2147379075"/>
            <ac:spMk id="31" creationId="{D1973D15-9824-C4FF-27B1-497B5BDD902E}"/>
          </ac:spMkLst>
        </pc:spChg>
      </pc:sldChg>
      <pc:sldChg chg="del">
        <pc:chgData name="Marie-Laure Mauborgne" userId="717f1e20-c968-4716-94d0-7143ffa6b39a" providerId="ADAL" clId="{EBB8CBFE-BCB7-4725-A132-D63A59B72226}" dt="2023-05-29T18:20:43.654" v="85" actId="47"/>
        <pc:sldMkLst>
          <pc:docMk/>
          <pc:sldMk cId="2317070314" sldId="2147379075"/>
        </pc:sldMkLst>
      </pc:sldChg>
      <pc:sldChg chg="modSp new mod">
        <pc:chgData name="Marie-Laure Mauborgne" userId="717f1e20-c968-4716-94d0-7143ffa6b39a" providerId="ADAL" clId="{EBB8CBFE-BCB7-4725-A132-D63A59B72226}" dt="2023-05-30T09:30:25.798" v="1668" actId="21"/>
        <pc:sldMkLst>
          <pc:docMk/>
          <pc:sldMk cId="3681166105" sldId="2147379076"/>
        </pc:sldMkLst>
        <pc:spChg chg="mod">
          <ac:chgData name="Marie-Laure Mauborgne" userId="717f1e20-c968-4716-94d0-7143ffa6b39a" providerId="ADAL" clId="{EBB8CBFE-BCB7-4725-A132-D63A59B72226}" dt="2023-05-30T09:30:25.798" v="1668" actId="21"/>
          <ac:spMkLst>
            <pc:docMk/>
            <pc:sldMk cId="3681166105" sldId="2147379076"/>
            <ac:spMk id="3" creationId="{CEABBC5C-C725-66A3-765B-7098DAA7BC2B}"/>
          </ac:spMkLst>
        </pc:spChg>
      </pc:sldChg>
      <pc:sldChg chg="addSp delSp modSp new mod modClrScheme chgLayout">
        <pc:chgData name="Marie-Laure Mauborgne" userId="717f1e20-c968-4716-94d0-7143ffa6b39a" providerId="ADAL" clId="{EBB8CBFE-BCB7-4725-A132-D63A59B72226}" dt="2023-05-30T09:30:48.879" v="1672" actId="21"/>
        <pc:sldMkLst>
          <pc:docMk/>
          <pc:sldMk cId="1099202138" sldId="2147379077"/>
        </pc:sldMkLst>
        <pc:spChg chg="del mod ord">
          <ac:chgData name="Marie-Laure Mauborgne" userId="717f1e20-c968-4716-94d0-7143ffa6b39a" providerId="ADAL" clId="{EBB8CBFE-BCB7-4725-A132-D63A59B72226}" dt="2023-05-30T09:30:40.688" v="1670" actId="700"/>
          <ac:spMkLst>
            <pc:docMk/>
            <pc:sldMk cId="1099202138" sldId="2147379077"/>
            <ac:spMk id="2" creationId="{C4E9B59D-70B7-1297-B87E-4199F4F5514A}"/>
          </ac:spMkLst>
        </pc:spChg>
        <pc:spChg chg="del mod ord">
          <ac:chgData name="Marie-Laure Mauborgne" userId="717f1e20-c968-4716-94d0-7143ffa6b39a" providerId="ADAL" clId="{EBB8CBFE-BCB7-4725-A132-D63A59B72226}" dt="2023-05-30T09:30:40.688" v="1670" actId="700"/>
          <ac:spMkLst>
            <pc:docMk/>
            <pc:sldMk cId="1099202138" sldId="2147379077"/>
            <ac:spMk id="3" creationId="{18029396-3EDD-7BDC-6B05-5D999F75808E}"/>
          </ac:spMkLst>
        </pc:spChg>
        <pc:spChg chg="mod ord">
          <ac:chgData name="Marie-Laure Mauborgne" userId="717f1e20-c968-4716-94d0-7143ffa6b39a" providerId="ADAL" clId="{EBB8CBFE-BCB7-4725-A132-D63A59B72226}" dt="2023-05-30T09:30:40.688" v="1670" actId="700"/>
          <ac:spMkLst>
            <pc:docMk/>
            <pc:sldMk cId="1099202138" sldId="2147379077"/>
            <ac:spMk id="4" creationId="{5A413839-21EF-40E0-FEBB-E8DE9F2762FC}"/>
          </ac:spMkLst>
        </pc:spChg>
        <pc:spChg chg="mod ord">
          <ac:chgData name="Marie-Laure Mauborgne" userId="717f1e20-c968-4716-94d0-7143ffa6b39a" providerId="ADAL" clId="{EBB8CBFE-BCB7-4725-A132-D63A59B72226}" dt="2023-05-30T09:30:40.688" v="1670" actId="700"/>
          <ac:spMkLst>
            <pc:docMk/>
            <pc:sldMk cId="1099202138" sldId="2147379077"/>
            <ac:spMk id="5" creationId="{148264A1-9C18-2471-F06C-B8475261399E}"/>
          </ac:spMkLst>
        </pc:spChg>
        <pc:spChg chg="add mod ord">
          <ac:chgData name="Marie-Laure Mauborgne" userId="717f1e20-c968-4716-94d0-7143ffa6b39a" providerId="ADAL" clId="{EBB8CBFE-BCB7-4725-A132-D63A59B72226}" dt="2023-05-30T09:30:48.879" v="1672" actId="21"/>
          <ac:spMkLst>
            <pc:docMk/>
            <pc:sldMk cId="1099202138" sldId="2147379077"/>
            <ac:spMk id="6" creationId="{80AF15F9-A533-384B-832A-BDFAFACC0997}"/>
          </ac:spMkLst>
        </pc:spChg>
        <pc:spChg chg="add mod ord">
          <ac:chgData name="Marie-Laure Mauborgne" userId="717f1e20-c968-4716-94d0-7143ffa6b39a" providerId="ADAL" clId="{EBB8CBFE-BCB7-4725-A132-D63A59B72226}" dt="2023-05-30T09:30:40.688" v="1670" actId="700"/>
          <ac:spMkLst>
            <pc:docMk/>
            <pc:sldMk cId="1099202138" sldId="2147379077"/>
            <ac:spMk id="7" creationId="{FA8D8285-1A91-3D80-AE5D-1634C281E609}"/>
          </ac:spMkLst>
        </pc:spChg>
        <pc:spChg chg="add mod ord">
          <ac:chgData name="Marie-Laure Mauborgne" userId="717f1e20-c968-4716-94d0-7143ffa6b39a" providerId="ADAL" clId="{EBB8CBFE-BCB7-4725-A132-D63A59B72226}" dt="2023-05-30T09:30:40.688" v="1670" actId="700"/>
          <ac:spMkLst>
            <pc:docMk/>
            <pc:sldMk cId="1099202138" sldId="2147379077"/>
            <ac:spMk id="8" creationId="{3098FB3E-7F90-D971-6973-F6506D35A061}"/>
          </ac:spMkLst>
        </pc:spChg>
      </pc:sldChg>
      <pc:sldChg chg="del">
        <pc:chgData name="Marie-Laure Mauborgne" userId="717f1e20-c968-4716-94d0-7143ffa6b39a" providerId="ADAL" clId="{EBB8CBFE-BCB7-4725-A132-D63A59B72226}" dt="2023-05-29T18:18:45.111" v="74" actId="47"/>
        <pc:sldMkLst>
          <pc:docMk/>
          <pc:sldMk cId="2578169365" sldId="2147379077"/>
        </pc:sldMkLst>
      </pc:sldChg>
      <pc:sldChg chg="addSp modSp new mod modClrScheme chgLayout">
        <pc:chgData name="Marie-Laure Mauborgne" userId="717f1e20-c968-4716-94d0-7143ffa6b39a" providerId="ADAL" clId="{EBB8CBFE-BCB7-4725-A132-D63A59B72226}" dt="2023-05-30T09:34:17.980" v="1746" actId="20577"/>
        <pc:sldMkLst>
          <pc:docMk/>
          <pc:sldMk cId="730130220" sldId="2147379078"/>
        </pc:sldMkLst>
        <pc:spChg chg="mod ord">
          <ac:chgData name="Marie-Laure Mauborgne" userId="717f1e20-c968-4716-94d0-7143ffa6b39a" providerId="ADAL" clId="{EBB8CBFE-BCB7-4725-A132-D63A59B72226}" dt="2023-05-30T09:31:35.998" v="1677" actId="700"/>
          <ac:spMkLst>
            <pc:docMk/>
            <pc:sldMk cId="730130220" sldId="2147379078"/>
            <ac:spMk id="2" creationId="{F9E7B124-95CC-F8A1-D081-FE84783C13F8}"/>
          </ac:spMkLst>
        </pc:spChg>
        <pc:spChg chg="mod ord">
          <ac:chgData name="Marie-Laure Mauborgne" userId="717f1e20-c968-4716-94d0-7143ffa6b39a" providerId="ADAL" clId="{EBB8CBFE-BCB7-4725-A132-D63A59B72226}" dt="2023-05-30T09:31:35.998" v="1677" actId="700"/>
          <ac:spMkLst>
            <pc:docMk/>
            <pc:sldMk cId="730130220" sldId="2147379078"/>
            <ac:spMk id="3" creationId="{2D4529B7-08BE-2D1F-4AEF-288371C5A0AF}"/>
          </ac:spMkLst>
        </pc:spChg>
        <pc:spChg chg="add mod ord">
          <ac:chgData name="Marie-Laure Mauborgne" userId="717f1e20-c968-4716-94d0-7143ffa6b39a" providerId="ADAL" clId="{EBB8CBFE-BCB7-4725-A132-D63A59B72226}" dt="2023-05-30T09:34:17.980" v="1746" actId="20577"/>
          <ac:spMkLst>
            <pc:docMk/>
            <pc:sldMk cId="730130220" sldId="2147379078"/>
            <ac:spMk id="4" creationId="{C922A2DD-3F23-36C5-0FE6-6E216A22ACF2}"/>
          </ac:spMkLst>
        </pc:spChg>
        <pc:spChg chg="add mod ord">
          <ac:chgData name="Marie-Laure Mauborgne" userId="717f1e20-c968-4716-94d0-7143ffa6b39a" providerId="ADAL" clId="{EBB8CBFE-BCB7-4725-A132-D63A59B72226}" dt="2023-05-30T09:31:35.998" v="1677" actId="700"/>
          <ac:spMkLst>
            <pc:docMk/>
            <pc:sldMk cId="730130220" sldId="2147379078"/>
            <ac:spMk id="5" creationId="{A2BD245D-75DC-6170-31DB-D8231F33F37D}"/>
          </ac:spMkLst>
        </pc:spChg>
        <pc:spChg chg="add mod ord">
          <ac:chgData name="Marie-Laure Mauborgne" userId="717f1e20-c968-4716-94d0-7143ffa6b39a" providerId="ADAL" clId="{EBB8CBFE-BCB7-4725-A132-D63A59B72226}" dt="2023-05-30T09:31:35.998" v="1677" actId="700"/>
          <ac:spMkLst>
            <pc:docMk/>
            <pc:sldMk cId="730130220" sldId="2147379078"/>
            <ac:spMk id="6" creationId="{D6033701-A88A-C3BD-22B1-B17C7F9D9D8C}"/>
          </ac:spMkLst>
        </pc:spChg>
      </pc:sldChg>
      <pc:sldChg chg="del">
        <pc:chgData name="Marie-Laure Mauborgne" userId="717f1e20-c968-4716-94d0-7143ffa6b39a" providerId="ADAL" clId="{EBB8CBFE-BCB7-4725-A132-D63A59B72226}" dt="2023-05-29T18:18:56.715" v="78" actId="47"/>
        <pc:sldMkLst>
          <pc:docMk/>
          <pc:sldMk cId="3298908155" sldId="2147379078"/>
        </pc:sldMkLst>
      </pc:sldChg>
      <pc:sldChg chg="addSp delSp modSp new mod ord modClrScheme chgLayout">
        <pc:chgData name="Marie-Laure Mauborgne" userId="717f1e20-c968-4716-94d0-7143ffa6b39a" providerId="ADAL" clId="{EBB8CBFE-BCB7-4725-A132-D63A59B72226}" dt="2023-05-31T13:48:14.099" v="4630"/>
        <pc:sldMkLst>
          <pc:docMk/>
          <pc:sldMk cId="428719124" sldId="2147379079"/>
        </pc:sldMkLst>
        <pc:spChg chg="del mod ord">
          <ac:chgData name="Marie-Laure Mauborgne" userId="717f1e20-c968-4716-94d0-7143ffa6b39a" providerId="ADAL" clId="{EBB8CBFE-BCB7-4725-A132-D63A59B72226}" dt="2023-05-30T09:33:23.819" v="1696" actId="700"/>
          <ac:spMkLst>
            <pc:docMk/>
            <pc:sldMk cId="428719124" sldId="2147379079"/>
            <ac:spMk id="2" creationId="{5BB859C5-005C-0DAF-27DA-15BF41566819}"/>
          </ac:spMkLst>
        </pc:spChg>
        <pc:spChg chg="del mod ord">
          <ac:chgData name="Marie-Laure Mauborgne" userId="717f1e20-c968-4716-94d0-7143ffa6b39a" providerId="ADAL" clId="{EBB8CBFE-BCB7-4725-A132-D63A59B72226}" dt="2023-05-30T09:33:23.819" v="1696" actId="700"/>
          <ac:spMkLst>
            <pc:docMk/>
            <pc:sldMk cId="428719124" sldId="2147379079"/>
            <ac:spMk id="3" creationId="{F2395C7D-EDAB-1A0D-03D0-30D6D3D24958}"/>
          </ac:spMkLst>
        </pc:spChg>
        <pc:spChg chg="mod ord">
          <ac:chgData name="Marie-Laure Mauborgne" userId="717f1e20-c968-4716-94d0-7143ffa6b39a" providerId="ADAL" clId="{EBB8CBFE-BCB7-4725-A132-D63A59B72226}" dt="2023-05-30T09:33:23.819" v="1696" actId="700"/>
          <ac:spMkLst>
            <pc:docMk/>
            <pc:sldMk cId="428719124" sldId="2147379079"/>
            <ac:spMk id="4" creationId="{30E24599-67FB-D16D-C2D1-B6E427AD2E74}"/>
          </ac:spMkLst>
        </pc:spChg>
        <pc:spChg chg="mod ord">
          <ac:chgData name="Marie-Laure Mauborgne" userId="717f1e20-c968-4716-94d0-7143ffa6b39a" providerId="ADAL" clId="{EBB8CBFE-BCB7-4725-A132-D63A59B72226}" dt="2023-05-30T09:33:23.819" v="1696" actId="700"/>
          <ac:spMkLst>
            <pc:docMk/>
            <pc:sldMk cId="428719124" sldId="2147379079"/>
            <ac:spMk id="5" creationId="{8C9CA3A3-42F4-EE29-727F-8D92FD27948F}"/>
          </ac:spMkLst>
        </pc:spChg>
        <pc:spChg chg="add mod ord">
          <ac:chgData name="Marie-Laure Mauborgne" userId="717f1e20-c968-4716-94d0-7143ffa6b39a" providerId="ADAL" clId="{EBB8CBFE-BCB7-4725-A132-D63A59B72226}" dt="2023-05-30T09:33:50.004" v="1735" actId="20577"/>
          <ac:spMkLst>
            <pc:docMk/>
            <pc:sldMk cId="428719124" sldId="2147379079"/>
            <ac:spMk id="6" creationId="{09ED504E-1CE0-B1FB-4B3C-FA158A6AD635}"/>
          </ac:spMkLst>
        </pc:spChg>
        <pc:spChg chg="add mod ord">
          <ac:chgData name="Marie-Laure Mauborgne" userId="717f1e20-c968-4716-94d0-7143ffa6b39a" providerId="ADAL" clId="{EBB8CBFE-BCB7-4725-A132-D63A59B72226}" dt="2023-05-30T09:33:23.819" v="1696" actId="700"/>
          <ac:spMkLst>
            <pc:docMk/>
            <pc:sldMk cId="428719124" sldId="2147379079"/>
            <ac:spMk id="7" creationId="{A85EB0A2-B677-A249-276D-08056AA4D3C2}"/>
          </ac:spMkLst>
        </pc:spChg>
        <pc:spChg chg="add mod ord">
          <ac:chgData name="Marie-Laure Mauborgne" userId="717f1e20-c968-4716-94d0-7143ffa6b39a" providerId="ADAL" clId="{EBB8CBFE-BCB7-4725-A132-D63A59B72226}" dt="2023-05-30T09:33:23.819" v="1696" actId="700"/>
          <ac:spMkLst>
            <pc:docMk/>
            <pc:sldMk cId="428719124" sldId="2147379079"/>
            <ac:spMk id="8" creationId="{2FAE8E94-6A29-AAE2-0DE6-D06E66347E4A}"/>
          </ac:spMkLst>
        </pc:spChg>
      </pc:sldChg>
      <pc:sldChg chg="addSp delSp modSp new mod chgLayout">
        <pc:chgData name="Marie-Laure Mauborgne" userId="717f1e20-c968-4716-94d0-7143ffa6b39a" providerId="ADAL" clId="{EBB8CBFE-BCB7-4725-A132-D63A59B72226}" dt="2023-05-30T09:34:34.743" v="1759" actId="20577"/>
        <pc:sldMkLst>
          <pc:docMk/>
          <pc:sldMk cId="2110202668" sldId="2147379080"/>
        </pc:sldMkLst>
        <pc:spChg chg="del">
          <ac:chgData name="Marie-Laure Mauborgne" userId="717f1e20-c968-4716-94d0-7143ffa6b39a" providerId="ADAL" clId="{EBB8CBFE-BCB7-4725-A132-D63A59B72226}" dt="2023-05-30T09:34:31.019" v="1748" actId="700"/>
          <ac:spMkLst>
            <pc:docMk/>
            <pc:sldMk cId="2110202668" sldId="2147379080"/>
            <ac:spMk id="2" creationId="{6DFDFF94-112A-9751-F643-7D483E29E9BC}"/>
          </ac:spMkLst>
        </pc:spChg>
        <pc:spChg chg="del">
          <ac:chgData name="Marie-Laure Mauborgne" userId="717f1e20-c968-4716-94d0-7143ffa6b39a" providerId="ADAL" clId="{EBB8CBFE-BCB7-4725-A132-D63A59B72226}" dt="2023-05-30T09:34:31.019" v="1748" actId="700"/>
          <ac:spMkLst>
            <pc:docMk/>
            <pc:sldMk cId="2110202668" sldId="2147379080"/>
            <ac:spMk id="3" creationId="{DE205735-912B-6E2C-5DAA-0199C825AB40}"/>
          </ac:spMkLst>
        </pc:spChg>
        <pc:spChg chg="del">
          <ac:chgData name="Marie-Laure Mauborgne" userId="717f1e20-c968-4716-94d0-7143ffa6b39a" providerId="ADAL" clId="{EBB8CBFE-BCB7-4725-A132-D63A59B72226}" dt="2023-05-30T09:34:31.019" v="1748" actId="700"/>
          <ac:spMkLst>
            <pc:docMk/>
            <pc:sldMk cId="2110202668" sldId="2147379080"/>
            <ac:spMk id="4" creationId="{9278B778-94A2-5759-CC18-8A00CF704441}"/>
          </ac:spMkLst>
        </pc:spChg>
        <pc:spChg chg="mod ord">
          <ac:chgData name="Marie-Laure Mauborgne" userId="717f1e20-c968-4716-94d0-7143ffa6b39a" providerId="ADAL" clId="{EBB8CBFE-BCB7-4725-A132-D63A59B72226}" dt="2023-05-30T09:34:31.019" v="1748" actId="700"/>
          <ac:spMkLst>
            <pc:docMk/>
            <pc:sldMk cId="2110202668" sldId="2147379080"/>
            <ac:spMk id="5" creationId="{D03802C7-FCB2-171A-BCEE-397831BD85DF}"/>
          </ac:spMkLst>
        </pc:spChg>
        <pc:spChg chg="mod ord">
          <ac:chgData name="Marie-Laure Mauborgne" userId="717f1e20-c968-4716-94d0-7143ffa6b39a" providerId="ADAL" clId="{EBB8CBFE-BCB7-4725-A132-D63A59B72226}" dt="2023-05-30T09:34:31.019" v="1748" actId="700"/>
          <ac:spMkLst>
            <pc:docMk/>
            <pc:sldMk cId="2110202668" sldId="2147379080"/>
            <ac:spMk id="6" creationId="{FDD0B795-AFF0-BF51-B2E9-304C8CD3CA3F}"/>
          </ac:spMkLst>
        </pc:spChg>
        <pc:spChg chg="add mod ord">
          <ac:chgData name="Marie-Laure Mauborgne" userId="717f1e20-c968-4716-94d0-7143ffa6b39a" providerId="ADAL" clId="{EBB8CBFE-BCB7-4725-A132-D63A59B72226}" dt="2023-05-30T09:34:34.743" v="1759" actId="20577"/>
          <ac:spMkLst>
            <pc:docMk/>
            <pc:sldMk cId="2110202668" sldId="2147379080"/>
            <ac:spMk id="7" creationId="{ADFFBD7B-6A2A-DE1D-3FA8-999142AF2AF1}"/>
          </ac:spMkLst>
        </pc:spChg>
        <pc:spChg chg="add mod ord">
          <ac:chgData name="Marie-Laure Mauborgne" userId="717f1e20-c968-4716-94d0-7143ffa6b39a" providerId="ADAL" clId="{EBB8CBFE-BCB7-4725-A132-D63A59B72226}" dt="2023-05-30T09:34:31.019" v="1748" actId="700"/>
          <ac:spMkLst>
            <pc:docMk/>
            <pc:sldMk cId="2110202668" sldId="2147379080"/>
            <ac:spMk id="8" creationId="{B61FF264-7DE5-E252-F6C8-8D20EE927E27}"/>
          </ac:spMkLst>
        </pc:spChg>
        <pc:spChg chg="add mod ord">
          <ac:chgData name="Marie-Laure Mauborgne" userId="717f1e20-c968-4716-94d0-7143ffa6b39a" providerId="ADAL" clId="{EBB8CBFE-BCB7-4725-A132-D63A59B72226}" dt="2023-05-30T09:34:31.019" v="1748" actId="700"/>
          <ac:spMkLst>
            <pc:docMk/>
            <pc:sldMk cId="2110202668" sldId="2147379080"/>
            <ac:spMk id="9" creationId="{9638ADB8-2CBD-08D3-FC0E-EF02EFC57F83}"/>
          </ac:spMkLst>
        </pc:spChg>
      </pc:sldChg>
      <pc:sldChg chg="addSp delSp modSp add del mod">
        <pc:chgData name="Marie-Laure Mauborgne" userId="717f1e20-c968-4716-94d0-7143ffa6b39a" providerId="ADAL" clId="{EBB8CBFE-BCB7-4725-A132-D63A59B72226}" dt="2023-06-02T12:55:58.964" v="10203" actId="47"/>
        <pc:sldMkLst>
          <pc:docMk/>
          <pc:sldMk cId="177462258" sldId="2147379081"/>
        </pc:sldMkLst>
        <pc:spChg chg="mod">
          <ac:chgData name="Marie-Laure Mauborgne" userId="717f1e20-c968-4716-94d0-7143ffa6b39a" providerId="ADAL" clId="{EBB8CBFE-BCB7-4725-A132-D63A59B72226}" dt="2023-05-30T10:13:48.698" v="1987" actId="20577"/>
          <ac:spMkLst>
            <pc:docMk/>
            <pc:sldMk cId="177462258" sldId="2147379081"/>
            <ac:spMk id="3" creationId="{3ED09BC6-8943-D99C-1C53-4ECBBA630202}"/>
          </ac:spMkLst>
        </pc:spChg>
        <pc:graphicFrameChg chg="add mod modGraphic">
          <ac:chgData name="Marie-Laure Mauborgne" userId="717f1e20-c968-4716-94d0-7143ffa6b39a" providerId="ADAL" clId="{EBB8CBFE-BCB7-4725-A132-D63A59B72226}" dt="2023-06-02T09:53:54.674" v="9410" actId="14734"/>
          <ac:graphicFrameMkLst>
            <pc:docMk/>
            <pc:sldMk cId="177462258" sldId="2147379081"/>
            <ac:graphicFrameMk id="4" creationId="{50C653AD-DB4E-9BE9-DFDE-C3BA4F2AD5D9}"/>
          </ac:graphicFrameMkLst>
        </pc:graphicFrameChg>
        <pc:picChg chg="del">
          <ac:chgData name="Marie-Laure Mauborgne" userId="717f1e20-c968-4716-94d0-7143ffa6b39a" providerId="ADAL" clId="{EBB8CBFE-BCB7-4725-A132-D63A59B72226}" dt="2023-05-30T10:06:44.723" v="1785" actId="478"/>
          <ac:picMkLst>
            <pc:docMk/>
            <pc:sldMk cId="177462258" sldId="2147379081"/>
            <ac:picMk id="5" creationId="{CA5D626D-3C10-DA7E-4333-1F82CFF0B6C4}"/>
          </ac:picMkLst>
        </pc:picChg>
        <pc:picChg chg="del">
          <ac:chgData name="Marie-Laure Mauborgne" userId="717f1e20-c968-4716-94d0-7143ffa6b39a" providerId="ADAL" clId="{EBB8CBFE-BCB7-4725-A132-D63A59B72226}" dt="2023-05-30T10:07:05.291" v="1789" actId="478"/>
          <ac:picMkLst>
            <pc:docMk/>
            <pc:sldMk cId="177462258" sldId="2147379081"/>
            <ac:picMk id="6" creationId="{ECA4B97C-15B6-4A9B-ACF2-C4109BED2FC2}"/>
          </ac:picMkLst>
        </pc:picChg>
        <pc:picChg chg="add del mod ord">
          <ac:chgData name="Marie-Laure Mauborgne" userId="717f1e20-c968-4716-94d0-7143ffa6b39a" providerId="ADAL" clId="{EBB8CBFE-BCB7-4725-A132-D63A59B72226}" dt="2023-05-30T10:10:58.305" v="1804" actId="478"/>
          <ac:picMkLst>
            <pc:docMk/>
            <pc:sldMk cId="177462258" sldId="2147379081"/>
            <ac:picMk id="7" creationId="{AD947021-DC2A-04DC-28AE-C57B221FCB22}"/>
          </ac:picMkLst>
        </pc:picChg>
        <pc:picChg chg="del">
          <ac:chgData name="Marie-Laure Mauborgne" userId="717f1e20-c968-4716-94d0-7143ffa6b39a" providerId="ADAL" clId="{EBB8CBFE-BCB7-4725-A132-D63A59B72226}" dt="2023-05-30T10:07:11.072" v="1790" actId="478"/>
          <ac:picMkLst>
            <pc:docMk/>
            <pc:sldMk cId="177462258" sldId="2147379081"/>
            <ac:picMk id="8" creationId="{F882AD92-2F7D-1220-B870-8D5AF946593E}"/>
          </ac:picMkLst>
        </pc:picChg>
        <pc:picChg chg="add del mod ord">
          <ac:chgData name="Marie-Laure Mauborgne" userId="717f1e20-c968-4716-94d0-7143ffa6b39a" providerId="ADAL" clId="{EBB8CBFE-BCB7-4725-A132-D63A59B72226}" dt="2023-05-30T10:06:54.627" v="1787" actId="478"/>
          <ac:picMkLst>
            <pc:docMk/>
            <pc:sldMk cId="177462258" sldId="2147379081"/>
            <ac:picMk id="10" creationId="{CCCABCD6-A757-83BD-6DD4-3FC92A2BA10F}"/>
          </ac:picMkLst>
        </pc:picChg>
        <pc:picChg chg="add mod ord">
          <ac:chgData name="Marie-Laure Mauborgne" userId="717f1e20-c968-4716-94d0-7143ffa6b39a" providerId="ADAL" clId="{EBB8CBFE-BCB7-4725-A132-D63A59B72226}" dt="2023-05-30T10:10:51.226" v="1802" actId="1076"/>
          <ac:picMkLst>
            <pc:docMk/>
            <pc:sldMk cId="177462258" sldId="2147379081"/>
            <ac:picMk id="12" creationId="{F0962E17-B583-D384-66A7-276C4BD41AE6}"/>
          </ac:picMkLst>
        </pc:picChg>
        <pc:picChg chg="add mod ord">
          <ac:chgData name="Marie-Laure Mauborgne" userId="717f1e20-c968-4716-94d0-7143ffa6b39a" providerId="ADAL" clId="{EBB8CBFE-BCB7-4725-A132-D63A59B72226}" dt="2023-05-30T10:10:56.550" v="1803" actId="167"/>
          <ac:picMkLst>
            <pc:docMk/>
            <pc:sldMk cId="177462258" sldId="2147379081"/>
            <ac:picMk id="14" creationId="{CD0E69FC-1B22-60A1-B138-C142F5773B78}"/>
          </ac:picMkLst>
        </pc:picChg>
        <pc:picChg chg="add del mod ord">
          <ac:chgData name="Marie-Laure Mauborgne" userId="717f1e20-c968-4716-94d0-7143ffa6b39a" providerId="ADAL" clId="{EBB8CBFE-BCB7-4725-A132-D63A59B72226}" dt="2023-05-30T10:10:48.156" v="1801" actId="478"/>
          <ac:picMkLst>
            <pc:docMk/>
            <pc:sldMk cId="177462258" sldId="2147379081"/>
            <ac:picMk id="15" creationId="{2F0D8D56-7D1C-BDF5-8ECF-B1481F5AB4B0}"/>
          </ac:picMkLst>
        </pc:picChg>
        <pc:cxnChg chg="mod">
          <ac:chgData name="Marie-Laure Mauborgne" userId="717f1e20-c968-4716-94d0-7143ffa6b39a" providerId="ADAL" clId="{EBB8CBFE-BCB7-4725-A132-D63A59B72226}" dt="2023-05-30T10:12:05.189" v="1855" actId="1037"/>
          <ac:cxnSpMkLst>
            <pc:docMk/>
            <pc:sldMk cId="177462258" sldId="2147379081"/>
            <ac:cxnSpMk id="19" creationId="{35CD1F43-9D53-03B0-950E-D5D9046676B5}"/>
          </ac:cxnSpMkLst>
        </pc:cxnChg>
        <pc:cxnChg chg="mod">
          <ac:chgData name="Marie-Laure Mauborgne" userId="717f1e20-c968-4716-94d0-7143ffa6b39a" providerId="ADAL" clId="{EBB8CBFE-BCB7-4725-A132-D63A59B72226}" dt="2023-05-30T10:11:38.972" v="1847" actId="1035"/>
          <ac:cxnSpMkLst>
            <pc:docMk/>
            <pc:sldMk cId="177462258" sldId="2147379081"/>
            <ac:cxnSpMk id="20" creationId="{37EF928D-F4C4-DBB6-DAE7-546D27039E57}"/>
          </ac:cxnSpMkLst>
        </pc:cxnChg>
      </pc:sldChg>
      <pc:sldChg chg="add del">
        <pc:chgData name="Marie-Laure Mauborgne" userId="717f1e20-c968-4716-94d0-7143ffa6b39a" providerId="ADAL" clId="{EBB8CBFE-BCB7-4725-A132-D63A59B72226}" dt="2023-05-30T10:01:05.520" v="1769"/>
        <pc:sldMkLst>
          <pc:docMk/>
          <pc:sldMk cId="2339578050" sldId="2147379081"/>
        </pc:sldMkLst>
      </pc:sldChg>
      <pc:sldChg chg="add del">
        <pc:chgData name="Marie-Laure Mauborgne" userId="717f1e20-c968-4716-94d0-7143ffa6b39a" providerId="ADAL" clId="{EBB8CBFE-BCB7-4725-A132-D63A59B72226}" dt="2023-05-30T10:01:05.520" v="1769"/>
        <pc:sldMkLst>
          <pc:docMk/>
          <pc:sldMk cId="306554836" sldId="2147379082"/>
        </pc:sldMkLst>
      </pc:sldChg>
      <pc:sldChg chg="addSp delSp modSp new mod modClrScheme chgLayout">
        <pc:chgData name="Marie-Laure Mauborgne" userId="717f1e20-c968-4716-94d0-7143ffa6b39a" providerId="ADAL" clId="{EBB8CBFE-BCB7-4725-A132-D63A59B72226}" dt="2023-05-30T12:15:02.108" v="2289" actId="20577"/>
        <pc:sldMkLst>
          <pc:docMk/>
          <pc:sldMk cId="3328898619" sldId="2147379082"/>
        </pc:sldMkLst>
        <pc:spChg chg="del">
          <ac:chgData name="Marie-Laure Mauborgne" userId="717f1e20-c968-4716-94d0-7143ffa6b39a" providerId="ADAL" clId="{EBB8CBFE-BCB7-4725-A132-D63A59B72226}" dt="2023-05-30T12:03:24.279" v="2025" actId="700"/>
          <ac:spMkLst>
            <pc:docMk/>
            <pc:sldMk cId="3328898619" sldId="2147379082"/>
            <ac:spMk id="2" creationId="{72EAECDD-59FC-BE51-573D-8AB2C49C6436}"/>
          </ac:spMkLst>
        </pc:spChg>
        <pc:spChg chg="del mod ord">
          <ac:chgData name="Marie-Laure Mauborgne" userId="717f1e20-c968-4716-94d0-7143ffa6b39a" providerId="ADAL" clId="{EBB8CBFE-BCB7-4725-A132-D63A59B72226}" dt="2023-05-30T12:03:24.279" v="2025" actId="700"/>
          <ac:spMkLst>
            <pc:docMk/>
            <pc:sldMk cId="3328898619" sldId="2147379082"/>
            <ac:spMk id="3" creationId="{6ECD6591-BD60-9686-BC52-A9F5FF2CBD9A}"/>
          </ac:spMkLst>
        </pc:spChg>
        <pc:spChg chg="del mod ord">
          <ac:chgData name="Marie-Laure Mauborgne" userId="717f1e20-c968-4716-94d0-7143ffa6b39a" providerId="ADAL" clId="{EBB8CBFE-BCB7-4725-A132-D63A59B72226}" dt="2023-05-30T12:03:24.279" v="2025" actId="700"/>
          <ac:spMkLst>
            <pc:docMk/>
            <pc:sldMk cId="3328898619" sldId="2147379082"/>
            <ac:spMk id="4" creationId="{449BFA18-7E17-BE80-706F-D96E7B64C823}"/>
          </ac:spMkLst>
        </pc:spChg>
        <pc:spChg chg="mod ord">
          <ac:chgData name="Marie-Laure Mauborgne" userId="717f1e20-c968-4716-94d0-7143ffa6b39a" providerId="ADAL" clId="{EBB8CBFE-BCB7-4725-A132-D63A59B72226}" dt="2023-05-30T12:07:43.327" v="2284" actId="26606"/>
          <ac:spMkLst>
            <pc:docMk/>
            <pc:sldMk cId="3328898619" sldId="2147379082"/>
            <ac:spMk id="5" creationId="{10FCEC0A-788E-F887-B761-3542C58673C0}"/>
          </ac:spMkLst>
        </pc:spChg>
        <pc:spChg chg="mod ord">
          <ac:chgData name="Marie-Laure Mauborgne" userId="717f1e20-c968-4716-94d0-7143ffa6b39a" providerId="ADAL" clId="{EBB8CBFE-BCB7-4725-A132-D63A59B72226}" dt="2023-05-30T12:07:43.327" v="2284" actId="26606"/>
          <ac:spMkLst>
            <pc:docMk/>
            <pc:sldMk cId="3328898619" sldId="2147379082"/>
            <ac:spMk id="6" creationId="{11DAA492-35D8-2A87-66AE-122CDE8FA8AC}"/>
          </ac:spMkLst>
        </pc:spChg>
        <pc:spChg chg="add mod ord">
          <ac:chgData name="Marie-Laure Mauborgne" userId="717f1e20-c968-4716-94d0-7143ffa6b39a" providerId="ADAL" clId="{EBB8CBFE-BCB7-4725-A132-D63A59B72226}" dt="2023-05-30T12:07:43.327" v="2284" actId="26606"/>
          <ac:spMkLst>
            <pc:docMk/>
            <pc:sldMk cId="3328898619" sldId="2147379082"/>
            <ac:spMk id="7" creationId="{81C1306D-22B9-E1D5-F009-EBE473296FC7}"/>
          </ac:spMkLst>
        </pc:spChg>
        <pc:spChg chg="add mod ord">
          <ac:chgData name="Marie-Laure Mauborgne" userId="717f1e20-c968-4716-94d0-7143ffa6b39a" providerId="ADAL" clId="{EBB8CBFE-BCB7-4725-A132-D63A59B72226}" dt="2023-05-30T12:15:02.108" v="2289" actId="20577"/>
          <ac:spMkLst>
            <pc:docMk/>
            <pc:sldMk cId="3328898619" sldId="2147379082"/>
            <ac:spMk id="8" creationId="{4E8F12E2-067A-63C1-4E29-C69C8C3BDA1B}"/>
          </ac:spMkLst>
        </pc:spChg>
        <pc:picChg chg="add mod">
          <ac:chgData name="Marie-Laure Mauborgne" userId="717f1e20-c968-4716-94d0-7143ffa6b39a" providerId="ADAL" clId="{EBB8CBFE-BCB7-4725-A132-D63A59B72226}" dt="2023-05-30T12:07:43.327" v="2284" actId="26606"/>
          <ac:picMkLst>
            <pc:docMk/>
            <pc:sldMk cId="3328898619" sldId="2147379082"/>
            <ac:picMk id="9" creationId="{EDBAC084-147B-65C4-7935-27B077D6DDA1}"/>
          </ac:picMkLst>
        </pc:picChg>
        <pc:picChg chg="add mod ord">
          <ac:chgData name="Marie-Laure Mauborgne" userId="717f1e20-c968-4716-94d0-7143ffa6b39a" providerId="ADAL" clId="{EBB8CBFE-BCB7-4725-A132-D63A59B72226}" dt="2023-05-30T12:07:43.327" v="2284" actId="26606"/>
          <ac:picMkLst>
            <pc:docMk/>
            <pc:sldMk cId="3328898619" sldId="2147379082"/>
            <ac:picMk id="10" creationId="{D1F63B9C-131C-AD9A-068F-19782F9C1A29}"/>
          </ac:picMkLst>
        </pc:picChg>
        <pc:picChg chg="add mod">
          <ac:chgData name="Marie-Laure Mauborgne" userId="717f1e20-c968-4716-94d0-7143ffa6b39a" providerId="ADAL" clId="{EBB8CBFE-BCB7-4725-A132-D63A59B72226}" dt="2023-05-30T12:07:43.327" v="2284" actId="26606"/>
          <ac:picMkLst>
            <pc:docMk/>
            <pc:sldMk cId="3328898619" sldId="2147379082"/>
            <ac:picMk id="11" creationId="{559B8553-5C93-59C7-28FA-08C5F791A4AA}"/>
          </ac:picMkLst>
        </pc:picChg>
      </pc:sldChg>
      <pc:sldChg chg="add del">
        <pc:chgData name="Marie-Laure Mauborgne" userId="717f1e20-c968-4716-94d0-7143ffa6b39a" providerId="ADAL" clId="{EBB8CBFE-BCB7-4725-A132-D63A59B72226}" dt="2023-05-30T12:03:31.498" v="2027"/>
        <pc:sldMkLst>
          <pc:docMk/>
          <pc:sldMk cId="1841461665" sldId="2147379083"/>
        </pc:sldMkLst>
      </pc:sldChg>
      <pc:sldChg chg="add del">
        <pc:chgData name="Marie-Laure Mauborgne" userId="717f1e20-c968-4716-94d0-7143ffa6b39a" providerId="ADAL" clId="{EBB8CBFE-BCB7-4725-A132-D63A59B72226}" dt="2023-05-30T10:01:05.520" v="1769"/>
        <pc:sldMkLst>
          <pc:docMk/>
          <pc:sldMk cId="2433551850" sldId="2147379083"/>
        </pc:sldMkLst>
      </pc:sldChg>
      <pc:sldChg chg="addSp delSp modSp new mod">
        <pc:chgData name="Marie-Laure Mauborgne" userId="717f1e20-c968-4716-94d0-7143ffa6b39a" providerId="ADAL" clId="{EBB8CBFE-BCB7-4725-A132-D63A59B72226}" dt="2023-06-02T13:23:16.493" v="10553" actId="20577"/>
        <pc:sldMkLst>
          <pc:docMk/>
          <pc:sldMk cId="3632043873" sldId="2147379083"/>
        </pc:sldMkLst>
        <pc:spChg chg="mod">
          <ac:chgData name="Marie-Laure Mauborgne" userId="717f1e20-c968-4716-94d0-7143ffa6b39a" providerId="ADAL" clId="{EBB8CBFE-BCB7-4725-A132-D63A59B72226}" dt="2023-05-30T12:15:42.589" v="2312" actId="20577"/>
          <ac:spMkLst>
            <pc:docMk/>
            <pc:sldMk cId="3632043873" sldId="2147379083"/>
            <ac:spMk id="2" creationId="{5F38FF0D-B4BB-A611-18C5-68C07AB2430B}"/>
          </ac:spMkLst>
        </pc:spChg>
        <pc:spChg chg="mod">
          <ac:chgData name="Marie-Laure Mauborgne" userId="717f1e20-c968-4716-94d0-7143ffa6b39a" providerId="ADAL" clId="{EBB8CBFE-BCB7-4725-A132-D63A59B72226}" dt="2023-06-02T13:23:16.493" v="10553" actId="20577"/>
          <ac:spMkLst>
            <pc:docMk/>
            <pc:sldMk cId="3632043873" sldId="2147379083"/>
            <ac:spMk id="3" creationId="{4064C8D6-0410-8EA3-9D3F-05E8A96FF2E5}"/>
          </ac:spMkLst>
        </pc:spChg>
        <pc:spChg chg="add mod">
          <ac:chgData name="Marie-Laure Mauborgne" userId="717f1e20-c968-4716-94d0-7143ffa6b39a" providerId="ADAL" clId="{EBB8CBFE-BCB7-4725-A132-D63A59B72226}" dt="2023-06-02T09:47:36.335" v="9323" actId="207"/>
          <ac:spMkLst>
            <pc:docMk/>
            <pc:sldMk cId="3632043873" sldId="2147379083"/>
            <ac:spMk id="6" creationId="{48977E4E-EB6E-6B4A-C530-1D9D9A422224}"/>
          </ac:spMkLst>
        </pc:spChg>
        <pc:spChg chg="add del">
          <ac:chgData name="Marie-Laure Mauborgne" userId="717f1e20-c968-4716-94d0-7143ffa6b39a" providerId="ADAL" clId="{EBB8CBFE-BCB7-4725-A132-D63A59B72226}" dt="2023-05-30T12:15:52.235" v="2314"/>
          <ac:spMkLst>
            <pc:docMk/>
            <pc:sldMk cId="3632043873" sldId="2147379083"/>
            <ac:spMk id="6" creationId="{9A2FA180-DA52-44F2-1518-B5334DEEAC95}"/>
          </ac:spMkLst>
        </pc:spChg>
        <pc:spChg chg="add del">
          <ac:chgData name="Marie-Laure Mauborgne" userId="717f1e20-c968-4716-94d0-7143ffa6b39a" providerId="ADAL" clId="{EBB8CBFE-BCB7-4725-A132-D63A59B72226}" dt="2023-05-30T12:15:52.235" v="2314"/>
          <ac:spMkLst>
            <pc:docMk/>
            <pc:sldMk cId="3632043873" sldId="2147379083"/>
            <ac:spMk id="7" creationId="{5E614429-EFF5-DADD-FCE4-873610B0FF21}"/>
          </ac:spMkLst>
        </pc:spChg>
        <pc:spChg chg="add mod">
          <ac:chgData name="Marie-Laure Mauborgne" userId="717f1e20-c968-4716-94d0-7143ffa6b39a" providerId="ADAL" clId="{EBB8CBFE-BCB7-4725-A132-D63A59B72226}" dt="2023-06-02T09:47:45.093" v="9325" actId="1076"/>
          <ac:spMkLst>
            <pc:docMk/>
            <pc:sldMk cId="3632043873" sldId="2147379083"/>
            <ac:spMk id="7" creationId="{A017E513-360A-CD08-CCB9-27CAB5D41A4B}"/>
          </ac:spMkLst>
        </pc:spChg>
        <pc:spChg chg="add del">
          <ac:chgData name="Marie-Laure Mauborgne" userId="717f1e20-c968-4716-94d0-7143ffa6b39a" providerId="ADAL" clId="{EBB8CBFE-BCB7-4725-A132-D63A59B72226}" dt="2023-05-30T12:16:16.164" v="2316"/>
          <ac:spMkLst>
            <pc:docMk/>
            <pc:sldMk cId="3632043873" sldId="2147379083"/>
            <ac:spMk id="8" creationId="{E0EFB98B-49F4-3595-AB8B-1B0C1BFA1F16}"/>
          </ac:spMkLst>
        </pc:spChg>
        <pc:spChg chg="add del">
          <ac:chgData name="Marie-Laure Mauborgne" userId="717f1e20-c968-4716-94d0-7143ffa6b39a" providerId="ADAL" clId="{EBB8CBFE-BCB7-4725-A132-D63A59B72226}" dt="2023-05-30T12:16:16.164" v="2316"/>
          <ac:spMkLst>
            <pc:docMk/>
            <pc:sldMk cId="3632043873" sldId="2147379083"/>
            <ac:spMk id="9" creationId="{FBF93F29-A600-C5DC-DB76-AEE7E604D13E}"/>
          </ac:spMkLst>
        </pc:spChg>
        <pc:picChg chg="add mod">
          <ac:chgData name="Marie-Laure Mauborgne" userId="717f1e20-c968-4716-94d0-7143ffa6b39a" providerId="ADAL" clId="{EBB8CBFE-BCB7-4725-A132-D63A59B72226}" dt="2023-06-02T09:47:02.034" v="9307" actId="14100"/>
          <ac:picMkLst>
            <pc:docMk/>
            <pc:sldMk cId="3632043873" sldId="2147379083"/>
            <ac:picMk id="10" creationId="{551170E2-700F-FE12-D33A-8A9F81F23708}"/>
          </ac:picMkLst>
        </pc:picChg>
        <pc:picChg chg="add del">
          <ac:chgData name="Marie-Laure Mauborgne" userId="717f1e20-c968-4716-94d0-7143ffa6b39a" providerId="ADAL" clId="{EBB8CBFE-BCB7-4725-A132-D63A59B72226}" dt="2023-05-30T12:15:52.235" v="2314"/>
          <ac:picMkLst>
            <pc:docMk/>
            <pc:sldMk cId="3632043873" sldId="2147379083"/>
            <ac:picMk id="1025" creationId="{D5A107E5-364D-88BF-405C-F008D3851078}"/>
          </ac:picMkLst>
        </pc:picChg>
        <pc:picChg chg="add del">
          <ac:chgData name="Marie-Laure Mauborgne" userId="717f1e20-c968-4716-94d0-7143ffa6b39a" providerId="ADAL" clId="{EBB8CBFE-BCB7-4725-A132-D63A59B72226}" dt="2023-05-30T12:15:52.235" v="2314"/>
          <ac:picMkLst>
            <pc:docMk/>
            <pc:sldMk cId="3632043873" sldId="2147379083"/>
            <ac:picMk id="1026" creationId="{32DD220B-61C8-3D3A-395B-7A6BBC01839B}"/>
          </ac:picMkLst>
        </pc:picChg>
        <pc:picChg chg="add del">
          <ac:chgData name="Marie-Laure Mauborgne" userId="717f1e20-c968-4716-94d0-7143ffa6b39a" providerId="ADAL" clId="{EBB8CBFE-BCB7-4725-A132-D63A59B72226}" dt="2023-05-30T12:16:16.164" v="2316"/>
          <ac:picMkLst>
            <pc:docMk/>
            <pc:sldMk cId="3632043873" sldId="2147379083"/>
            <ac:picMk id="1029" creationId="{A8A1B919-DEFE-2101-673C-378FEC52F502}"/>
          </ac:picMkLst>
        </pc:picChg>
        <pc:picChg chg="add del">
          <ac:chgData name="Marie-Laure Mauborgne" userId="717f1e20-c968-4716-94d0-7143ffa6b39a" providerId="ADAL" clId="{EBB8CBFE-BCB7-4725-A132-D63A59B72226}" dt="2023-05-30T12:16:16.164" v="2316"/>
          <ac:picMkLst>
            <pc:docMk/>
            <pc:sldMk cId="3632043873" sldId="2147379083"/>
            <ac:picMk id="1030" creationId="{C134C0A6-9C67-87F7-D06F-D412B01B7E2A}"/>
          </ac:picMkLst>
        </pc:picChg>
      </pc:sldChg>
      <pc:sldChg chg="modSp new mod">
        <pc:chgData name="Marie-Laure Mauborgne" userId="717f1e20-c968-4716-94d0-7143ffa6b39a" providerId="ADAL" clId="{EBB8CBFE-BCB7-4725-A132-D63A59B72226}" dt="2023-06-02T10:21:34.965" v="9812" actId="20577"/>
        <pc:sldMkLst>
          <pc:docMk/>
          <pc:sldMk cId="4151024472" sldId="2147379084"/>
        </pc:sldMkLst>
        <pc:spChg chg="mod">
          <ac:chgData name="Marie-Laure Mauborgne" userId="717f1e20-c968-4716-94d0-7143ffa6b39a" providerId="ADAL" clId="{EBB8CBFE-BCB7-4725-A132-D63A59B72226}" dt="2023-05-30T12:37:00.651" v="2676" actId="20577"/>
          <ac:spMkLst>
            <pc:docMk/>
            <pc:sldMk cId="4151024472" sldId="2147379084"/>
            <ac:spMk id="2" creationId="{489B8A5A-69C2-46DF-7932-16E0817699BA}"/>
          </ac:spMkLst>
        </pc:spChg>
        <pc:spChg chg="mod">
          <ac:chgData name="Marie-Laure Mauborgne" userId="717f1e20-c968-4716-94d0-7143ffa6b39a" providerId="ADAL" clId="{EBB8CBFE-BCB7-4725-A132-D63A59B72226}" dt="2023-06-02T10:21:34.965" v="9812" actId="20577"/>
          <ac:spMkLst>
            <pc:docMk/>
            <pc:sldMk cId="4151024472" sldId="2147379084"/>
            <ac:spMk id="3" creationId="{88673019-C630-09A3-5AFA-E0E0E00D8314}"/>
          </ac:spMkLst>
        </pc:spChg>
      </pc:sldChg>
      <pc:sldChg chg="addSp delSp modSp new del mod modClrScheme chgLayout">
        <pc:chgData name="Marie-Laure Mauborgne" userId="717f1e20-c968-4716-94d0-7143ffa6b39a" providerId="ADAL" clId="{EBB8CBFE-BCB7-4725-A132-D63A59B72226}" dt="2023-05-31T13:54:45.476" v="4678" actId="47"/>
        <pc:sldMkLst>
          <pc:docMk/>
          <pc:sldMk cId="297462037" sldId="2147379085"/>
        </pc:sldMkLst>
        <pc:spChg chg="del">
          <ac:chgData name="Marie-Laure Mauborgne" userId="717f1e20-c968-4716-94d0-7143ffa6b39a" providerId="ADAL" clId="{EBB8CBFE-BCB7-4725-A132-D63A59B72226}" dt="2023-05-30T13:01:09.364" v="2900" actId="700"/>
          <ac:spMkLst>
            <pc:docMk/>
            <pc:sldMk cId="297462037" sldId="2147379085"/>
            <ac:spMk id="2" creationId="{64D30171-F79B-A4FE-A553-7C8CA0CC47EE}"/>
          </ac:spMkLst>
        </pc:spChg>
        <pc:spChg chg="del mod ord">
          <ac:chgData name="Marie-Laure Mauborgne" userId="717f1e20-c968-4716-94d0-7143ffa6b39a" providerId="ADAL" clId="{EBB8CBFE-BCB7-4725-A132-D63A59B72226}" dt="2023-05-30T13:01:09.364" v="2900" actId="700"/>
          <ac:spMkLst>
            <pc:docMk/>
            <pc:sldMk cId="297462037" sldId="2147379085"/>
            <ac:spMk id="3" creationId="{5ED21684-0A2E-EF92-9469-98AF261375A3}"/>
          </ac:spMkLst>
        </pc:spChg>
        <pc:spChg chg="del mod ord">
          <ac:chgData name="Marie-Laure Mauborgne" userId="717f1e20-c968-4716-94d0-7143ffa6b39a" providerId="ADAL" clId="{EBB8CBFE-BCB7-4725-A132-D63A59B72226}" dt="2023-05-30T13:01:09.364" v="2900" actId="700"/>
          <ac:spMkLst>
            <pc:docMk/>
            <pc:sldMk cId="297462037" sldId="2147379085"/>
            <ac:spMk id="4" creationId="{3A91163A-2D8E-1D14-825A-C58CCE6686AD}"/>
          </ac:spMkLst>
        </pc:spChg>
        <pc:spChg chg="mod ord">
          <ac:chgData name="Marie-Laure Mauborgne" userId="717f1e20-c968-4716-94d0-7143ffa6b39a" providerId="ADAL" clId="{EBB8CBFE-BCB7-4725-A132-D63A59B72226}" dt="2023-05-30T13:01:09.364" v="2900" actId="700"/>
          <ac:spMkLst>
            <pc:docMk/>
            <pc:sldMk cId="297462037" sldId="2147379085"/>
            <ac:spMk id="5" creationId="{DF831267-A870-767A-B170-04F4DB557350}"/>
          </ac:spMkLst>
        </pc:spChg>
        <pc:spChg chg="mod ord">
          <ac:chgData name="Marie-Laure Mauborgne" userId="717f1e20-c968-4716-94d0-7143ffa6b39a" providerId="ADAL" clId="{EBB8CBFE-BCB7-4725-A132-D63A59B72226}" dt="2023-05-30T13:01:09.364" v="2900" actId="700"/>
          <ac:spMkLst>
            <pc:docMk/>
            <pc:sldMk cId="297462037" sldId="2147379085"/>
            <ac:spMk id="6" creationId="{142E7D1F-3A68-D185-FA1C-30505EC47498}"/>
          </ac:spMkLst>
        </pc:spChg>
        <pc:spChg chg="add mod ord">
          <ac:chgData name="Marie-Laure Mauborgne" userId="717f1e20-c968-4716-94d0-7143ffa6b39a" providerId="ADAL" clId="{EBB8CBFE-BCB7-4725-A132-D63A59B72226}" dt="2023-05-30T13:03:31.619" v="2932" actId="404"/>
          <ac:spMkLst>
            <pc:docMk/>
            <pc:sldMk cId="297462037" sldId="2147379085"/>
            <ac:spMk id="7" creationId="{2EAA68AB-6893-1276-DCB5-CA7D57C64028}"/>
          </ac:spMkLst>
        </pc:spChg>
        <pc:spChg chg="add mod ord">
          <ac:chgData name="Marie-Laure Mauborgne" userId="717f1e20-c968-4716-94d0-7143ffa6b39a" providerId="ADAL" clId="{EBB8CBFE-BCB7-4725-A132-D63A59B72226}" dt="2023-05-30T13:01:09.364" v="2900" actId="700"/>
          <ac:spMkLst>
            <pc:docMk/>
            <pc:sldMk cId="297462037" sldId="2147379085"/>
            <ac:spMk id="8" creationId="{E50BFE4A-B892-ABA5-CC27-A727382ECACE}"/>
          </ac:spMkLst>
        </pc:spChg>
        <pc:spChg chg="add mod">
          <ac:chgData name="Marie-Laure Mauborgne" userId="717f1e20-c968-4716-94d0-7143ffa6b39a" providerId="ADAL" clId="{EBB8CBFE-BCB7-4725-A132-D63A59B72226}" dt="2023-05-30T13:02:47.820" v="2924" actId="1076"/>
          <ac:spMkLst>
            <pc:docMk/>
            <pc:sldMk cId="297462037" sldId="2147379085"/>
            <ac:spMk id="11" creationId="{A04754C5-7CBA-9203-0999-45AD76264A91}"/>
          </ac:spMkLst>
        </pc:spChg>
        <pc:spChg chg="add del mod">
          <ac:chgData name="Marie-Laure Mauborgne" userId="717f1e20-c968-4716-94d0-7143ffa6b39a" providerId="ADAL" clId="{EBB8CBFE-BCB7-4725-A132-D63A59B72226}" dt="2023-05-30T13:02:55.111" v="2928" actId="1076"/>
          <ac:spMkLst>
            <pc:docMk/>
            <pc:sldMk cId="297462037" sldId="2147379085"/>
            <ac:spMk id="12" creationId="{719D83B2-DCF4-975B-5884-C51123B4C12C}"/>
          </ac:spMkLst>
        </pc:spChg>
        <pc:picChg chg="add mod">
          <ac:chgData name="Marie-Laure Mauborgne" userId="717f1e20-c968-4716-94d0-7143ffa6b39a" providerId="ADAL" clId="{EBB8CBFE-BCB7-4725-A132-D63A59B72226}" dt="2023-05-30T13:02:47.495" v="2923" actId="1076"/>
          <ac:picMkLst>
            <pc:docMk/>
            <pc:sldMk cId="297462037" sldId="2147379085"/>
            <ac:picMk id="9" creationId="{E3D3132B-4DBC-46C1-7565-1D8339342B5E}"/>
          </ac:picMkLst>
        </pc:picChg>
        <pc:picChg chg="add mod">
          <ac:chgData name="Marie-Laure Mauborgne" userId="717f1e20-c968-4716-94d0-7143ffa6b39a" providerId="ADAL" clId="{EBB8CBFE-BCB7-4725-A132-D63A59B72226}" dt="2023-05-30T13:02:07.667" v="2912" actId="1076"/>
          <ac:picMkLst>
            <pc:docMk/>
            <pc:sldMk cId="297462037" sldId="2147379085"/>
            <ac:picMk id="10" creationId="{57A1269B-8464-10AA-07DE-AEB30ADD33C9}"/>
          </ac:picMkLst>
        </pc:picChg>
      </pc:sldChg>
      <pc:sldChg chg="addSp modSp new mod">
        <pc:chgData name="Marie-Laure Mauborgne" userId="717f1e20-c968-4716-94d0-7143ffa6b39a" providerId="ADAL" clId="{EBB8CBFE-BCB7-4725-A132-D63A59B72226}" dt="2023-05-30T13:46:58.947" v="3046" actId="404"/>
        <pc:sldMkLst>
          <pc:docMk/>
          <pc:sldMk cId="883234647" sldId="2147379086"/>
        </pc:sldMkLst>
        <pc:spChg chg="mod">
          <ac:chgData name="Marie-Laure Mauborgne" userId="717f1e20-c968-4716-94d0-7143ffa6b39a" providerId="ADAL" clId="{EBB8CBFE-BCB7-4725-A132-D63A59B72226}" dt="2023-05-30T13:46:58.947" v="3046" actId="404"/>
          <ac:spMkLst>
            <pc:docMk/>
            <pc:sldMk cId="883234647" sldId="2147379086"/>
            <ac:spMk id="2" creationId="{CF7D2C97-EF12-ED2B-0E63-353148D8625D}"/>
          </ac:spMkLst>
        </pc:spChg>
        <pc:picChg chg="add mod">
          <ac:chgData name="Marie-Laure Mauborgne" userId="717f1e20-c968-4716-94d0-7143ffa6b39a" providerId="ADAL" clId="{EBB8CBFE-BCB7-4725-A132-D63A59B72226}" dt="2023-05-30T13:42:34.837" v="2989"/>
          <ac:picMkLst>
            <pc:docMk/>
            <pc:sldMk cId="883234647" sldId="2147379086"/>
            <ac:picMk id="6" creationId="{00B3DF7A-480B-361F-2E0F-2E8B4AA69CCA}"/>
          </ac:picMkLst>
        </pc:picChg>
        <pc:picChg chg="add mod ord">
          <ac:chgData name="Marie-Laure Mauborgne" userId="717f1e20-c968-4716-94d0-7143ffa6b39a" providerId="ADAL" clId="{EBB8CBFE-BCB7-4725-A132-D63A59B72226}" dt="2023-05-30T13:45:38.590" v="3026" actId="1076"/>
          <ac:picMkLst>
            <pc:docMk/>
            <pc:sldMk cId="883234647" sldId="2147379086"/>
            <ac:picMk id="7" creationId="{BB6B47F7-F01C-4D4E-5142-EF379D3E07A4}"/>
          </ac:picMkLst>
        </pc:picChg>
        <pc:picChg chg="add mod">
          <ac:chgData name="Marie-Laure Mauborgne" userId="717f1e20-c968-4716-94d0-7143ffa6b39a" providerId="ADAL" clId="{EBB8CBFE-BCB7-4725-A132-D63A59B72226}" dt="2023-05-30T13:45:42.389" v="3027" actId="1076"/>
          <ac:picMkLst>
            <pc:docMk/>
            <pc:sldMk cId="883234647" sldId="2147379086"/>
            <ac:picMk id="8" creationId="{B5DDDF48-E911-E038-4A25-F77CBF806E9C}"/>
          </ac:picMkLst>
        </pc:picChg>
        <pc:picChg chg="add mod">
          <ac:chgData name="Marie-Laure Mauborgne" userId="717f1e20-c968-4716-94d0-7143ffa6b39a" providerId="ADAL" clId="{EBB8CBFE-BCB7-4725-A132-D63A59B72226}" dt="2023-05-30T13:45:35.603" v="3025" actId="1076"/>
          <ac:picMkLst>
            <pc:docMk/>
            <pc:sldMk cId="883234647" sldId="2147379086"/>
            <ac:picMk id="9" creationId="{1582053A-5DD8-C752-766B-DD793D78BAFC}"/>
          </ac:picMkLst>
        </pc:picChg>
        <pc:picChg chg="add mod">
          <ac:chgData name="Marie-Laure Mauborgne" userId="717f1e20-c968-4716-94d0-7143ffa6b39a" providerId="ADAL" clId="{EBB8CBFE-BCB7-4725-A132-D63A59B72226}" dt="2023-05-30T13:45:53.001" v="3029" actId="1035"/>
          <ac:picMkLst>
            <pc:docMk/>
            <pc:sldMk cId="883234647" sldId="2147379086"/>
            <ac:picMk id="10" creationId="{BFAD9637-3080-EC50-9AA6-C2B59BA8010E}"/>
          </ac:picMkLst>
        </pc:picChg>
        <pc:picChg chg="add mod">
          <ac:chgData name="Marie-Laure Mauborgne" userId="717f1e20-c968-4716-94d0-7143ffa6b39a" providerId="ADAL" clId="{EBB8CBFE-BCB7-4725-A132-D63A59B72226}" dt="2023-05-30T13:45:29.723" v="3024" actId="1076"/>
          <ac:picMkLst>
            <pc:docMk/>
            <pc:sldMk cId="883234647" sldId="2147379086"/>
            <ac:picMk id="11" creationId="{346091F7-0801-BFE6-60F0-CF5D60290F55}"/>
          </ac:picMkLst>
        </pc:picChg>
        <pc:picChg chg="add mod">
          <ac:chgData name="Marie-Laure Mauborgne" userId="717f1e20-c968-4716-94d0-7143ffa6b39a" providerId="ADAL" clId="{EBB8CBFE-BCB7-4725-A132-D63A59B72226}" dt="2023-05-30T13:46:14.275" v="3038" actId="1076"/>
          <ac:picMkLst>
            <pc:docMk/>
            <pc:sldMk cId="883234647" sldId="2147379086"/>
            <ac:picMk id="12" creationId="{CFEF131F-3EFC-8207-B2AB-5772A0447148}"/>
          </ac:picMkLst>
        </pc:picChg>
      </pc:sldChg>
      <pc:sldChg chg="new del">
        <pc:chgData name="Marie-Laure Mauborgne" userId="717f1e20-c968-4716-94d0-7143ffa6b39a" providerId="ADAL" clId="{EBB8CBFE-BCB7-4725-A132-D63A59B72226}" dt="2023-05-31T07:35:54.519" v="3301" actId="47"/>
        <pc:sldMkLst>
          <pc:docMk/>
          <pc:sldMk cId="958387412" sldId="2147379087"/>
        </pc:sldMkLst>
      </pc:sldChg>
      <pc:sldChg chg="addSp delSp modSp new mod modClrScheme chgLayout">
        <pc:chgData name="Marie-Laure Mauborgne" userId="717f1e20-c968-4716-94d0-7143ffa6b39a" providerId="ADAL" clId="{EBB8CBFE-BCB7-4725-A132-D63A59B72226}" dt="2023-06-02T10:24:01.996" v="9916" actId="20577"/>
        <pc:sldMkLst>
          <pc:docMk/>
          <pc:sldMk cId="1250323347" sldId="2147379087"/>
        </pc:sldMkLst>
        <pc:spChg chg="del">
          <ac:chgData name="Marie-Laure Mauborgne" userId="717f1e20-c968-4716-94d0-7143ffa6b39a" providerId="ADAL" clId="{EBB8CBFE-BCB7-4725-A132-D63A59B72226}" dt="2023-05-31T07:38:38.588" v="3303" actId="700"/>
          <ac:spMkLst>
            <pc:docMk/>
            <pc:sldMk cId="1250323347" sldId="2147379087"/>
            <ac:spMk id="2" creationId="{4D5C53E2-C331-94E0-F0E3-34792AB7C024}"/>
          </ac:spMkLst>
        </pc:spChg>
        <pc:spChg chg="del mod ord">
          <ac:chgData name="Marie-Laure Mauborgne" userId="717f1e20-c968-4716-94d0-7143ffa6b39a" providerId="ADAL" clId="{EBB8CBFE-BCB7-4725-A132-D63A59B72226}" dt="2023-05-31T07:38:38.588" v="3303" actId="700"/>
          <ac:spMkLst>
            <pc:docMk/>
            <pc:sldMk cId="1250323347" sldId="2147379087"/>
            <ac:spMk id="3" creationId="{3A997FAC-E9CC-D2F8-1C03-464ED3EF3F85}"/>
          </ac:spMkLst>
        </pc:spChg>
        <pc:spChg chg="del mod ord">
          <ac:chgData name="Marie-Laure Mauborgne" userId="717f1e20-c968-4716-94d0-7143ffa6b39a" providerId="ADAL" clId="{EBB8CBFE-BCB7-4725-A132-D63A59B72226}" dt="2023-05-31T07:38:38.588" v="3303" actId="700"/>
          <ac:spMkLst>
            <pc:docMk/>
            <pc:sldMk cId="1250323347" sldId="2147379087"/>
            <ac:spMk id="4" creationId="{2EA6849E-4526-7976-32E4-1A538785BF73}"/>
          </ac:spMkLst>
        </pc:spChg>
        <pc:spChg chg="mod ord">
          <ac:chgData name="Marie-Laure Mauborgne" userId="717f1e20-c968-4716-94d0-7143ffa6b39a" providerId="ADAL" clId="{EBB8CBFE-BCB7-4725-A132-D63A59B72226}" dt="2023-05-31T07:38:38.588" v="3303" actId="700"/>
          <ac:spMkLst>
            <pc:docMk/>
            <pc:sldMk cId="1250323347" sldId="2147379087"/>
            <ac:spMk id="5" creationId="{D8B400BD-B549-9249-1118-441350868E15}"/>
          </ac:spMkLst>
        </pc:spChg>
        <pc:spChg chg="mod ord">
          <ac:chgData name="Marie-Laure Mauborgne" userId="717f1e20-c968-4716-94d0-7143ffa6b39a" providerId="ADAL" clId="{EBB8CBFE-BCB7-4725-A132-D63A59B72226}" dt="2023-05-31T07:38:38.588" v="3303" actId="700"/>
          <ac:spMkLst>
            <pc:docMk/>
            <pc:sldMk cId="1250323347" sldId="2147379087"/>
            <ac:spMk id="6" creationId="{FB10FD86-A952-3AC1-1D9D-5BFC0B7079FD}"/>
          </ac:spMkLst>
        </pc:spChg>
        <pc:spChg chg="add mod ord">
          <ac:chgData name="Marie-Laure Mauborgne" userId="717f1e20-c968-4716-94d0-7143ffa6b39a" providerId="ADAL" clId="{EBB8CBFE-BCB7-4725-A132-D63A59B72226}" dt="2023-05-31T07:39:48.866" v="3318" actId="20577"/>
          <ac:spMkLst>
            <pc:docMk/>
            <pc:sldMk cId="1250323347" sldId="2147379087"/>
            <ac:spMk id="7" creationId="{60C50754-72CE-3AC3-E894-243B05B86780}"/>
          </ac:spMkLst>
        </pc:spChg>
        <pc:spChg chg="add mod ord">
          <ac:chgData name="Marie-Laure Mauborgne" userId="717f1e20-c968-4716-94d0-7143ffa6b39a" providerId="ADAL" clId="{EBB8CBFE-BCB7-4725-A132-D63A59B72226}" dt="2023-06-02T10:24:01.996" v="9916" actId="20577"/>
          <ac:spMkLst>
            <pc:docMk/>
            <pc:sldMk cId="1250323347" sldId="2147379087"/>
            <ac:spMk id="8" creationId="{8E6CE07E-1C75-8188-681C-68B26CCEE27A}"/>
          </ac:spMkLst>
        </pc:spChg>
        <pc:picChg chg="add del">
          <ac:chgData name="Marie-Laure Mauborgne" userId="717f1e20-c968-4716-94d0-7143ffa6b39a" providerId="ADAL" clId="{EBB8CBFE-BCB7-4725-A132-D63A59B72226}" dt="2023-06-02T08:59:54.482" v="8365" actId="478"/>
          <ac:picMkLst>
            <pc:docMk/>
            <pc:sldMk cId="1250323347" sldId="2147379087"/>
            <ac:picMk id="3" creationId="{FDC403F5-A740-F49A-E6F3-D1F3994D23BF}"/>
          </ac:picMkLst>
        </pc:picChg>
        <pc:picChg chg="add mod modCrop">
          <ac:chgData name="Marie-Laure Mauborgne" userId="717f1e20-c968-4716-94d0-7143ffa6b39a" providerId="ADAL" clId="{EBB8CBFE-BCB7-4725-A132-D63A59B72226}" dt="2023-06-02T09:00:58.869" v="8374" actId="1076"/>
          <ac:picMkLst>
            <pc:docMk/>
            <pc:sldMk cId="1250323347" sldId="2147379087"/>
            <ac:picMk id="9" creationId="{725BD25F-4442-22B3-32EF-CC7F3ABC0B28}"/>
          </ac:picMkLst>
        </pc:picChg>
      </pc:sldChg>
      <pc:sldChg chg="addSp modSp new mod">
        <pc:chgData name="Marie-Laure Mauborgne" userId="717f1e20-c968-4716-94d0-7143ffa6b39a" providerId="ADAL" clId="{EBB8CBFE-BCB7-4725-A132-D63A59B72226}" dt="2023-06-02T09:08:48.952" v="8609" actId="1035"/>
        <pc:sldMkLst>
          <pc:docMk/>
          <pc:sldMk cId="1144145598" sldId="2147379088"/>
        </pc:sldMkLst>
        <pc:spChg chg="mod">
          <ac:chgData name="Marie-Laure Mauborgne" userId="717f1e20-c968-4716-94d0-7143ffa6b39a" providerId="ADAL" clId="{EBB8CBFE-BCB7-4725-A132-D63A59B72226}" dt="2023-05-31T09:33:09.235" v="3693" actId="20577"/>
          <ac:spMkLst>
            <pc:docMk/>
            <pc:sldMk cId="1144145598" sldId="2147379088"/>
            <ac:spMk id="2" creationId="{22A16669-9949-D8A4-49DB-BC240FEF42F9}"/>
          </ac:spMkLst>
        </pc:spChg>
        <pc:spChg chg="mod ord">
          <ac:chgData name="Marie-Laure Mauborgne" userId="717f1e20-c968-4716-94d0-7143ffa6b39a" providerId="ADAL" clId="{EBB8CBFE-BCB7-4725-A132-D63A59B72226}" dt="2023-06-02T09:08:43.049" v="8604" actId="20577"/>
          <ac:spMkLst>
            <pc:docMk/>
            <pc:sldMk cId="1144145598" sldId="2147379088"/>
            <ac:spMk id="3" creationId="{47D1DB28-D558-EA7D-31C9-45FC3CB14A0B}"/>
          </ac:spMkLst>
        </pc:spChg>
        <pc:picChg chg="add mod">
          <ac:chgData name="Marie-Laure Mauborgne" userId="717f1e20-c968-4716-94d0-7143ffa6b39a" providerId="ADAL" clId="{EBB8CBFE-BCB7-4725-A132-D63A59B72226}" dt="2023-06-02T09:08:48.952" v="8609" actId="1035"/>
          <ac:picMkLst>
            <pc:docMk/>
            <pc:sldMk cId="1144145598" sldId="2147379088"/>
            <ac:picMk id="6" creationId="{6E7B81C5-0128-EC89-E26B-D131B00F3F9E}"/>
          </ac:picMkLst>
        </pc:picChg>
      </pc:sldChg>
      <pc:sldChg chg="addSp delSp modSp new mod">
        <pc:chgData name="Marie-Laure Mauborgne" userId="717f1e20-c968-4716-94d0-7143ffa6b39a" providerId="ADAL" clId="{EBB8CBFE-BCB7-4725-A132-D63A59B72226}" dt="2023-06-02T09:30:54.236" v="8784" actId="1035"/>
        <pc:sldMkLst>
          <pc:docMk/>
          <pc:sldMk cId="3895172893" sldId="2147379089"/>
        </pc:sldMkLst>
        <pc:spChg chg="mod">
          <ac:chgData name="Marie-Laure Mauborgne" userId="717f1e20-c968-4716-94d0-7143ffa6b39a" providerId="ADAL" clId="{EBB8CBFE-BCB7-4725-A132-D63A59B72226}" dt="2023-05-31T10:03:41.666" v="4218" actId="20577"/>
          <ac:spMkLst>
            <pc:docMk/>
            <pc:sldMk cId="3895172893" sldId="2147379089"/>
            <ac:spMk id="2" creationId="{CAB4A257-83A8-CE47-3530-228D7056CD22}"/>
          </ac:spMkLst>
        </pc:spChg>
        <pc:spChg chg="mod ord">
          <ac:chgData name="Marie-Laure Mauborgne" userId="717f1e20-c968-4716-94d0-7143ffa6b39a" providerId="ADAL" clId="{EBB8CBFE-BCB7-4725-A132-D63A59B72226}" dt="2023-06-02T09:30:01.871" v="8774" actId="167"/>
          <ac:spMkLst>
            <pc:docMk/>
            <pc:sldMk cId="3895172893" sldId="2147379089"/>
            <ac:spMk id="3" creationId="{14E69197-332B-73BF-9E10-CC5742E37865}"/>
          </ac:spMkLst>
        </pc:spChg>
        <pc:spChg chg="add mod">
          <ac:chgData name="Marie-Laure Mauborgne" userId="717f1e20-c968-4716-94d0-7143ffa6b39a" providerId="ADAL" clId="{EBB8CBFE-BCB7-4725-A132-D63A59B72226}" dt="2023-06-02T09:30:17.317" v="8775" actId="1036"/>
          <ac:spMkLst>
            <pc:docMk/>
            <pc:sldMk cId="3895172893" sldId="2147379089"/>
            <ac:spMk id="7" creationId="{F828D3DE-F2BF-17EA-1191-D0DA59783B19}"/>
          </ac:spMkLst>
        </pc:spChg>
        <pc:spChg chg="add del mod">
          <ac:chgData name="Marie-Laure Mauborgne" userId="717f1e20-c968-4716-94d0-7143ffa6b39a" providerId="ADAL" clId="{EBB8CBFE-BCB7-4725-A132-D63A59B72226}" dt="2023-06-02T09:22:53.895" v="8671" actId="478"/>
          <ac:spMkLst>
            <pc:docMk/>
            <pc:sldMk cId="3895172893" sldId="2147379089"/>
            <ac:spMk id="8" creationId="{C338332F-B116-6826-6804-0A00E2ED17BD}"/>
          </ac:spMkLst>
        </pc:spChg>
        <pc:picChg chg="add del mod">
          <ac:chgData name="Marie-Laure Mauborgne" userId="717f1e20-c968-4716-94d0-7143ffa6b39a" providerId="ADAL" clId="{EBB8CBFE-BCB7-4725-A132-D63A59B72226}" dt="2023-06-02T09:15:45.758" v="8614" actId="478"/>
          <ac:picMkLst>
            <pc:docMk/>
            <pc:sldMk cId="3895172893" sldId="2147379089"/>
            <ac:picMk id="6" creationId="{24F1FB5C-A9BC-C4CA-6C17-82F0E142F42E}"/>
          </ac:picMkLst>
        </pc:picChg>
        <pc:picChg chg="add mod ord">
          <ac:chgData name="Marie-Laure Mauborgne" userId="717f1e20-c968-4716-94d0-7143ffa6b39a" providerId="ADAL" clId="{EBB8CBFE-BCB7-4725-A132-D63A59B72226}" dt="2023-06-02T09:29:39.949" v="8770" actId="167"/>
          <ac:picMkLst>
            <pc:docMk/>
            <pc:sldMk cId="3895172893" sldId="2147379089"/>
            <ac:picMk id="9" creationId="{8431144A-9613-7F28-6F85-A9AF56F8B22C}"/>
          </ac:picMkLst>
        </pc:picChg>
        <pc:picChg chg="add mod modCrop">
          <ac:chgData name="Marie-Laure Mauborgne" userId="717f1e20-c968-4716-94d0-7143ffa6b39a" providerId="ADAL" clId="{EBB8CBFE-BCB7-4725-A132-D63A59B72226}" dt="2023-06-02T09:30:54.236" v="8784" actId="1035"/>
          <ac:picMkLst>
            <pc:docMk/>
            <pc:sldMk cId="3895172893" sldId="2147379089"/>
            <ac:picMk id="11" creationId="{F6E2121B-21AC-504A-E79E-9F8FA382C7C7}"/>
          </ac:picMkLst>
        </pc:picChg>
        <pc:picChg chg="add mod">
          <ac:chgData name="Marie-Laure Mauborgne" userId="717f1e20-c968-4716-94d0-7143ffa6b39a" providerId="ADAL" clId="{EBB8CBFE-BCB7-4725-A132-D63A59B72226}" dt="2023-06-02T09:30:45.721" v="8780" actId="167"/>
          <ac:picMkLst>
            <pc:docMk/>
            <pc:sldMk cId="3895172893" sldId="2147379089"/>
            <ac:picMk id="3074" creationId="{B2F3D7D2-76AE-D1A4-369C-8E054DF0D3E8}"/>
          </ac:picMkLst>
        </pc:picChg>
      </pc:sldChg>
      <pc:sldChg chg="addSp delSp modSp add mod">
        <pc:chgData name="Marie-Laure Mauborgne" userId="717f1e20-c968-4716-94d0-7143ffa6b39a" providerId="ADAL" clId="{EBB8CBFE-BCB7-4725-A132-D63A59B72226}" dt="2023-06-02T09:31:02.321" v="8785"/>
        <pc:sldMkLst>
          <pc:docMk/>
          <pc:sldMk cId="2061760925" sldId="2147379090"/>
        </pc:sldMkLst>
        <pc:spChg chg="mod">
          <ac:chgData name="Marie-Laure Mauborgne" userId="717f1e20-c968-4716-94d0-7143ffa6b39a" providerId="ADAL" clId="{EBB8CBFE-BCB7-4725-A132-D63A59B72226}" dt="2023-05-31T10:04:09.423" v="4223" actId="404"/>
          <ac:spMkLst>
            <pc:docMk/>
            <pc:sldMk cId="2061760925" sldId="2147379090"/>
            <ac:spMk id="2" creationId="{CAB4A257-83A8-CE47-3530-228D7056CD22}"/>
          </ac:spMkLst>
        </pc:spChg>
        <pc:spChg chg="mod">
          <ac:chgData name="Marie-Laure Mauborgne" userId="717f1e20-c968-4716-94d0-7143ffa6b39a" providerId="ADAL" clId="{EBB8CBFE-BCB7-4725-A132-D63A59B72226}" dt="2023-05-31T10:02:07.541" v="4143" actId="108"/>
          <ac:spMkLst>
            <pc:docMk/>
            <pc:sldMk cId="2061760925" sldId="2147379090"/>
            <ac:spMk id="3" creationId="{14E69197-332B-73BF-9E10-CC5742E37865}"/>
          </ac:spMkLst>
        </pc:spChg>
        <pc:picChg chg="del">
          <ac:chgData name="Marie-Laure Mauborgne" userId="717f1e20-c968-4716-94d0-7143ffa6b39a" providerId="ADAL" clId="{EBB8CBFE-BCB7-4725-A132-D63A59B72226}" dt="2023-05-31T10:00:03.268" v="4129" actId="478"/>
          <ac:picMkLst>
            <pc:docMk/>
            <pc:sldMk cId="2061760925" sldId="2147379090"/>
            <ac:picMk id="6" creationId="{24F1FB5C-A9BC-C4CA-6C17-82F0E142F42E}"/>
          </ac:picMkLst>
        </pc:picChg>
        <pc:picChg chg="add mod ord">
          <ac:chgData name="Marie-Laure Mauborgne" userId="717f1e20-c968-4716-94d0-7143ffa6b39a" providerId="ADAL" clId="{EBB8CBFE-BCB7-4725-A132-D63A59B72226}" dt="2023-05-31T10:00:01.789" v="4128" actId="167"/>
          <ac:picMkLst>
            <pc:docMk/>
            <pc:sldMk cId="2061760925" sldId="2147379090"/>
            <ac:picMk id="7" creationId="{4B072BA2-9736-E555-EEC3-519DD1C64122}"/>
          </ac:picMkLst>
        </pc:picChg>
        <pc:picChg chg="add mod modCrop">
          <ac:chgData name="Marie-Laure Mauborgne" userId="717f1e20-c968-4716-94d0-7143ffa6b39a" providerId="ADAL" clId="{EBB8CBFE-BCB7-4725-A132-D63A59B72226}" dt="2023-06-02T09:25:20.257" v="8720" actId="1035"/>
          <ac:picMkLst>
            <pc:docMk/>
            <pc:sldMk cId="2061760925" sldId="2147379090"/>
            <ac:picMk id="8" creationId="{A30F9DD7-2AB1-E304-FC55-AFE329728EA5}"/>
          </ac:picMkLst>
        </pc:picChg>
        <pc:picChg chg="add mod">
          <ac:chgData name="Marie-Laure Mauborgne" userId="717f1e20-c968-4716-94d0-7143ffa6b39a" providerId="ADAL" clId="{EBB8CBFE-BCB7-4725-A132-D63A59B72226}" dt="2023-06-02T09:31:02.321" v="8785"/>
          <ac:picMkLst>
            <pc:docMk/>
            <pc:sldMk cId="2061760925" sldId="2147379090"/>
            <ac:picMk id="9" creationId="{F28D6484-B5FF-107D-2A74-CE114434FAD2}"/>
          </ac:picMkLst>
        </pc:picChg>
        <pc:picChg chg="add mod">
          <ac:chgData name="Marie-Laure Mauborgne" userId="717f1e20-c968-4716-94d0-7143ffa6b39a" providerId="ADAL" clId="{EBB8CBFE-BCB7-4725-A132-D63A59B72226}" dt="2023-06-02T09:24:39.979" v="8713" actId="14100"/>
          <ac:picMkLst>
            <pc:docMk/>
            <pc:sldMk cId="2061760925" sldId="2147379090"/>
            <ac:picMk id="4098" creationId="{2085CC4D-B2F6-EC3A-B6B8-96295347B980}"/>
          </ac:picMkLst>
        </pc:picChg>
      </pc:sldChg>
      <pc:sldChg chg="addSp delSp modSp add mod">
        <pc:chgData name="Marie-Laure Mauborgne" userId="717f1e20-c968-4716-94d0-7143ffa6b39a" providerId="ADAL" clId="{EBB8CBFE-BCB7-4725-A132-D63A59B72226}" dt="2023-06-02T15:37:26.519" v="11306" actId="108"/>
        <pc:sldMkLst>
          <pc:docMk/>
          <pc:sldMk cId="3140515209" sldId="2147379091"/>
        </pc:sldMkLst>
        <pc:spChg chg="mod">
          <ac:chgData name="Marie-Laure Mauborgne" userId="717f1e20-c968-4716-94d0-7143ffa6b39a" providerId="ADAL" clId="{EBB8CBFE-BCB7-4725-A132-D63A59B72226}" dt="2023-05-31T10:04:19.924" v="4228" actId="404"/>
          <ac:spMkLst>
            <pc:docMk/>
            <pc:sldMk cId="3140515209" sldId="2147379091"/>
            <ac:spMk id="2" creationId="{CAB4A257-83A8-CE47-3530-228D7056CD22}"/>
          </ac:spMkLst>
        </pc:spChg>
        <pc:spChg chg="mod ord">
          <ac:chgData name="Marie-Laure Mauborgne" userId="717f1e20-c968-4716-94d0-7143ffa6b39a" providerId="ADAL" clId="{EBB8CBFE-BCB7-4725-A132-D63A59B72226}" dt="2023-06-02T15:37:26.519" v="11306" actId="108"/>
          <ac:spMkLst>
            <pc:docMk/>
            <pc:sldMk cId="3140515209" sldId="2147379091"/>
            <ac:spMk id="3" creationId="{14E69197-332B-73BF-9E10-CC5742E37865}"/>
          </ac:spMkLst>
        </pc:spChg>
        <pc:picChg chg="add del mod ord">
          <ac:chgData name="Marie-Laure Mauborgne" userId="717f1e20-c968-4716-94d0-7143ffa6b39a" providerId="ADAL" clId="{EBB8CBFE-BCB7-4725-A132-D63A59B72226}" dt="2023-06-02T09:26:26.545" v="8727" actId="478"/>
          <ac:picMkLst>
            <pc:docMk/>
            <pc:sldMk cId="3140515209" sldId="2147379091"/>
            <ac:picMk id="6" creationId="{333FD599-3319-13A7-4626-974DF8370ED6}"/>
          </ac:picMkLst>
        </pc:picChg>
        <pc:picChg chg="del">
          <ac:chgData name="Marie-Laure Mauborgne" userId="717f1e20-c968-4716-94d0-7143ffa6b39a" providerId="ADAL" clId="{EBB8CBFE-BCB7-4725-A132-D63A59B72226}" dt="2023-05-31T10:01:08.148" v="4135" actId="478"/>
          <ac:picMkLst>
            <pc:docMk/>
            <pc:sldMk cId="3140515209" sldId="2147379091"/>
            <ac:picMk id="7" creationId="{4B072BA2-9736-E555-EEC3-519DD1C64122}"/>
          </ac:picMkLst>
        </pc:picChg>
        <pc:picChg chg="add mod">
          <ac:chgData name="Marie-Laure Mauborgne" userId="717f1e20-c968-4716-94d0-7143ffa6b39a" providerId="ADAL" clId="{EBB8CBFE-BCB7-4725-A132-D63A59B72226}" dt="2023-06-02T09:26:30.624" v="8728"/>
          <ac:picMkLst>
            <pc:docMk/>
            <pc:sldMk cId="3140515209" sldId="2147379091"/>
            <ac:picMk id="7" creationId="{E989E69A-0D74-1FBA-F0C0-4705D49A4F06}"/>
          </ac:picMkLst>
        </pc:picChg>
        <pc:picChg chg="add mod">
          <ac:chgData name="Marie-Laure Mauborgne" userId="717f1e20-c968-4716-94d0-7143ffa6b39a" providerId="ADAL" clId="{EBB8CBFE-BCB7-4725-A132-D63A59B72226}" dt="2023-06-02T09:31:04.058" v="8786"/>
          <ac:picMkLst>
            <pc:docMk/>
            <pc:sldMk cId="3140515209" sldId="2147379091"/>
            <ac:picMk id="8" creationId="{F4197BCB-BC69-41B8-E9F4-6913C4D761D7}"/>
          </ac:picMkLst>
        </pc:picChg>
        <pc:picChg chg="add mod">
          <ac:chgData name="Marie-Laure Mauborgne" userId="717f1e20-c968-4716-94d0-7143ffa6b39a" providerId="ADAL" clId="{EBB8CBFE-BCB7-4725-A132-D63A59B72226}" dt="2023-06-02T09:26:44.870" v="8734" actId="1035"/>
          <ac:picMkLst>
            <pc:docMk/>
            <pc:sldMk cId="3140515209" sldId="2147379091"/>
            <ac:picMk id="5122" creationId="{80A9E7B7-D333-070A-4305-A1710721BC97}"/>
          </ac:picMkLst>
        </pc:picChg>
      </pc:sldChg>
      <pc:sldChg chg="addSp delSp modSp new mod">
        <pc:chgData name="Marie-Laure Mauborgne" userId="717f1e20-c968-4716-94d0-7143ffa6b39a" providerId="ADAL" clId="{EBB8CBFE-BCB7-4725-A132-D63A59B72226}" dt="2023-06-02T10:24:08.652" v="9924" actId="20577"/>
        <pc:sldMkLst>
          <pc:docMk/>
          <pc:sldMk cId="1129929660" sldId="2147379092"/>
        </pc:sldMkLst>
        <pc:spChg chg="mod">
          <ac:chgData name="Marie-Laure Mauborgne" userId="717f1e20-c968-4716-94d0-7143ffa6b39a" providerId="ADAL" clId="{EBB8CBFE-BCB7-4725-A132-D63A59B72226}" dt="2023-05-31T10:14:56.854" v="4264" actId="404"/>
          <ac:spMkLst>
            <pc:docMk/>
            <pc:sldMk cId="1129929660" sldId="2147379092"/>
            <ac:spMk id="2" creationId="{2DA56355-79D4-9C6A-1E4C-6D34899FE804}"/>
          </ac:spMkLst>
        </pc:spChg>
        <pc:spChg chg="mod">
          <ac:chgData name="Marie-Laure Mauborgne" userId="717f1e20-c968-4716-94d0-7143ffa6b39a" providerId="ADAL" clId="{EBB8CBFE-BCB7-4725-A132-D63A59B72226}" dt="2023-06-02T10:24:08.652" v="9924" actId="20577"/>
          <ac:spMkLst>
            <pc:docMk/>
            <pc:sldMk cId="1129929660" sldId="2147379092"/>
            <ac:spMk id="3" creationId="{4C50BE51-7410-8898-32B7-CEAB0111C71B}"/>
          </ac:spMkLst>
        </pc:spChg>
        <pc:spChg chg="add mod">
          <ac:chgData name="Marie-Laure Mauborgne" userId="717f1e20-c968-4716-94d0-7143ffa6b39a" providerId="ADAL" clId="{EBB8CBFE-BCB7-4725-A132-D63A59B72226}" dt="2023-06-02T09:31:33.766" v="8789" actId="207"/>
          <ac:spMkLst>
            <pc:docMk/>
            <pc:sldMk cId="1129929660" sldId="2147379092"/>
            <ac:spMk id="7" creationId="{D1EBEAA9-5117-07F0-7D4F-F48610FA1199}"/>
          </ac:spMkLst>
        </pc:spChg>
        <pc:picChg chg="add del mod">
          <ac:chgData name="Marie-Laure Mauborgne" userId="717f1e20-c968-4716-94d0-7143ffa6b39a" providerId="ADAL" clId="{EBB8CBFE-BCB7-4725-A132-D63A59B72226}" dt="2023-06-02T09:31:14.735" v="8788" actId="478"/>
          <ac:picMkLst>
            <pc:docMk/>
            <pc:sldMk cId="1129929660" sldId="2147379092"/>
            <ac:picMk id="6" creationId="{39916618-73AC-F68E-34B5-54F303F9A2E3}"/>
          </ac:picMkLst>
        </pc:picChg>
        <pc:picChg chg="add mod">
          <ac:chgData name="Marie-Laure Mauborgne" userId="717f1e20-c968-4716-94d0-7143ffa6b39a" providerId="ADAL" clId="{EBB8CBFE-BCB7-4725-A132-D63A59B72226}" dt="2023-06-02T09:31:12.569" v="8787" actId="167"/>
          <ac:picMkLst>
            <pc:docMk/>
            <pc:sldMk cId="1129929660" sldId="2147379092"/>
            <ac:picMk id="6146" creationId="{30B812FC-B101-8E26-6C90-5EDC9AC19254}"/>
          </ac:picMkLst>
        </pc:picChg>
      </pc:sldChg>
      <pc:sldChg chg="addSp delSp modSp new mod">
        <pc:chgData name="Marie-Laure Mauborgne" userId="717f1e20-c968-4716-94d0-7143ffa6b39a" providerId="ADAL" clId="{EBB8CBFE-BCB7-4725-A132-D63A59B72226}" dt="2023-06-02T13:09:13.042" v="10369" actId="404"/>
        <pc:sldMkLst>
          <pc:docMk/>
          <pc:sldMk cId="988354632" sldId="2147379093"/>
        </pc:sldMkLst>
        <pc:spChg chg="mod">
          <ac:chgData name="Marie-Laure Mauborgne" userId="717f1e20-c968-4716-94d0-7143ffa6b39a" providerId="ADAL" clId="{EBB8CBFE-BCB7-4725-A132-D63A59B72226}" dt="2023-05-31T10:59:28.387" v="4441" actId="20577"/>
          <ac:spMkLst>
            <pc:docMk/>
            <pc:sldMk cId="988354632" sldId="2147379093"/>
            <ac:spMk id="2" creationId="{7DEE7C30-D01E-386B-4377-72BE3F07EB54}"/>
          </ac:spMkLst>
        </pc:spChg>
        <pc:spChg chg="del">
          <ac:chgData name="Marie-Laure Mauborgne" userId="717f1e20-c968-4716-94d0-7143ffa6b39a" providerId="ADAL" clId="{EBB8CBFE-BCB7-4725-A132-D63A59B72226}" dt="2023-06-02T13:07:27.511" v="10329" actId="478"/>
          <ac:spMkLst>
            <pc:docMk/>
            <pc:sldMk cId="988354632" sldId="2147379093"/>
            <ac:spMk id="3" creationId="{E1968953-C001-B94D-E19E-19BED0666882}"/>
          </ac:spMkLst>
        </pc:spChg>
        <pc:spChg chg="mod">
          <ac:chgData name="Marie-Laure Mauborgne" userId="717f1e20-c968-4716-94d0-7143ffa6b39a" providerId="ADAL" clId="{EBB8CBFE-BCB7-4725-A132-D63A59B72226}" dt="2023-05-31T14:39:50.945" v="5906" actId="1076"/>
          <ac:spMkLst>
            <pc:docMk/>
            <pc:sldMk cId="988354632" sldId="2147379093"/>
            <ac:spMk id="5" creationId="{53C639B5-F3C8-B88F-3B58-D8545699DF59}"/>
          </ac:spMkLst>
        </pc:spChg>
        <pc:spChg chg="add mod">
          <ac:chgData name="Marie-Laure Mauborgne" userId="717f1e20-c968-4716-94d0-7143ffa6b39a" providerId="ADAL" clId="{EBB8CBFE-BCB7-4725-A132-D63A59B72226}" dt="2023-06-02T13:02:56.395" v="10271" actId="5793"/>
          <ac:spMkLst>
            <pc:docMk/>
            <pc:sldMk cId="988354632" sldId="2147379093"/>
            <ac:spMk id="8" creationId="{5C46FAE8-357E-93DB-2C34-15B2C244A817}"/>
          </ac:spMkLst>
        </pc:spChg>
        <pc:spChg chg="add mod">
          <ac:chgData name="Marie-Laure Mauborgne" userId="717f1e20-c968-4716-94d0-7143ffa6b39a" providerId="ADAL" clId="{EBB8CBFE-BCB7-4725-A132-D63A59B72226}" dt="2023-06-02T13:03:02.512" v="10280" actId="14100"/>
          <ac:spMkLst>
            <pc:docMk/>
            <pc:sldMk cId="988354632" sldId="2147379093"/>
            <ac:spMk id="9" creationId="{992344B3-2806-480C-930F-897AF28E8B96}"/>
          </ac:spMkLst>
        </pc:spChg>
        <pc:spChg chg="add mod">
          <ac:chgData name="Marie-Laure Mauborgne" userId="717f1e20-c968-4716-94d0-7143ffa6b39a" providerId="ADAL" clId="{EBB8CBFE-BCB7-4725-A132-D63A59B72226}" dt="2023-06-02T13:07:36.586" v="10330" actId="1076"/>
          <ac:spMkLst>
            <pc:docMk/>
            <pc:sldMk cId="988354632" sldId="2147379093"/>
            <ac:spMk id="22" creationId="{6CCEA7F9-EAD3-1F13-4086-69ACF3C6DD09}"/>
          </ac:spMkLst>
        </pc:spChg>
        <pc:spChg chg="add mod">
          <ac:chgData name="Marie-Laure Mauborgne" userId="717f1e20-c968-4716-94d0-7143ffa6b39a" providerId="ADAL" clId="{EBB8CBFE-BCB7-4725-A132-D63A59B72226}" dt="2023-06-02T13:09:13.042" v="10369" actId="404"/>
          <ac:spMkLst>
            <pc:docMk/>
            <pc:sldMk cId="988354632" sldId="2147379093"/>
            <ac:spMk id="24" creationId="{1AA773CA-6EB0-6D12-ED35-B9FD7E0699D2}"/>
          </ac:spMkLst>
        </pc:spChg>
        <pc:picChg chg="add mod">
          <ac:chgData name="Marie-Laure Mauborgne" userId="717f1e20-c968-4716-94d0-7143ffa6b39a" providerId="ADAL" clId="{EBB8CBFE-BCB7-4725-A132-D63A59B72226}" dt="2023-05-31T14:40:23.962" v="5909" actId="1076"/>
          <ac:picMkLst>
            <pc:docMk/>
            <pc:sldMk cId="988354632" sldId="2147379093"/>
            <ac:picMk id="6" creationId="{AB4247A9-09D2-FB80-BCC4-606CA3EA5DA3}"/>
          </ac:picMkLst>
        </pc:picChg>
        <pc:picChg chg="add del mod">
          <ac:chgData name="Marie-Laure Mauborgne" userId="717f1e20-c968-4716-94d0-7143ffa6b39a" providerId="ADAL" clId="{EBB8CBFE-BCB7-4725-A132-D63A59B72226}" dt="2023-06-02T13:01:18.639" v="10250" actId="478"/>
          <ac:picMkLst>
            <pc:docMk/>
            <pc:sldMk cId="988354632" sldId="2147379093"/>
            <ac:picMk id="7" creationId="{E5F60871-3DC4-B7DB-C560-7788A9BEF442}"/>
          </ac:picMkLst>
        </pc:picChg>
        <pc:picChg chg="add del mod">
          <ac:chgData name="Marie-Laure Mauborgne" userId="717f1e20-c968-4716-94d0-7143ffa6b39a" providerId="ADAL" clId="{EBB8CBFE-BCB7-4725-A132-D63A59B72226}" dt="2023-05-31T11:08:01.239" v="4485" actId="478"/>
          <ac:picMkLst>
            <pc:docMk/>
            <pc:sldMk cId="988354632" sldId="2147379093"/>
            <ac:picMk id="10" creationId="{2C6571C0-477B-5FD1-CC24-B12AB674BA98}"/>
          </ac:picMkLst>
        </pc:picChg>
        <pc:picChg chg="add del mod ord">
          <ac:chgData name="Marie-Laure Mauborgne" userId="717f1e20-c968-4716-94d0-7143ffa6b39a" providerId="ADAL" clId="{EBB8CBFE-BCB7-4725-A132-D63A59B72226}" dt="2023-06-02T13:02:28.568" v="10256" actId="478"/>
          <ac:picMkLst>
            <pc:docMk/>
            <pc:sldMk cId="988354632" sldId="2147379093"/>
            <ac:picMk id="11" creationId="{DA3EB7DD-72D8-8930-7079-87F034CB996A}"/>
          </ac:picMkLst>
        </pc:picChg>
        <pc:picChg chg="add mod modCrop">
          <ac:chgData name="Marie-Laure Mauborgne" userId="717f1e20-c968-4716-94d0-7143ffa6b39a" providerId="ADAL" clId="{EBB8CBFE-BCB7-4725-A132-D63A59B72226}" dt="2023-05-31T11:08:11.006" v="4486" actId="1076"/>
          <ac:picMkLst>
            <pc:docMk/>
            <pc:sldMk cId="988354632" sldId="2147379093"/>
            <ac:picMk id="12" creationId="{31DB0750-83BB-29B7-7163-D09E7ADAA4A3}"/>
          </ac:picMkLst>
        </pc:picChg>
        <pc:picChg chg="add del mod ord">
          <ac:chgData name="Marie-Laure Mauborgne" userId="717f1e20-c968-4716-94d0-7143ffa6b39a" providerId="ADAL" clId="{EBB8CBFE-BCB7-4725-A132-D63A59B72226}" dt="2023-06-02T13:02:49.225" v="10259" actId="14100"/>
          <ac:picMkLst>
            <pc:docMk/>
            <pc:sldMk cId="988354632" sldId="2147379093"/>
            <ac:picMk id="14" creationId="{D54908AE-8CFB-E65A-9565-9F8A9AE0B561}"/>
          </ac:picMkLst>
        </pc:picChg>
        <pc:cxnChg chg="add mod">
          <ac:chgData name="Marie-Laure Mauborgne" userId="717f1e20-c968-4716-94d0-7143ffa6b39a" providerId="ADAL" clId="{EBB8CBFE-BCB7-4725-A132-D63A59B72226}" dt="2023-06-02T13:06:18.654" v="10288" actId="1582"/>
          <ac:cxnSpMkLst>
            <pc:docMk/>
            <pc:sldMk cId="988354632" sldId="2147379093"/>
            <ac:cxnSpMk id="16" creationId="{045CC830-9B43-E949-4DC0-79C62E2914AB}"/>
          </ac:cxnSpMkLst>
        </pc:cxnChg>
        <pc:cxnChg chg="add mod">
          <ac:chgData name="Marie-Laure Mauborgne" userId="717f1e20-c968-4716-94d0-7143ffa6b39a" providerId="ADAL" clId="{EBB8CBFE-BCB7-4725-A132-D63A59B72226}" dt="2023-06-02T13:06:39.182" v="10294" actId="13822"/>
          <ac:cxnSpMkLst>
            <pc:docMk/>
            <pc:sldMk cId="988354632" sldId="2147379093"/>
            <ac:cxnSpMk id="17" creationId="{65E01478-C359-BD11-CFCD-38CFA5D3D1F1}"/>
          </ac:cxnSpMkLst>
        </pc:cxnChg>
        <pc:cxnChg chg="add del">
          <ac:chgData name="Marie-Laure Mauborgne" userId="717f1e20-c968-4716-94d0-7143ffa6b39a" providerId="ADAL" clId="{EBB8CBFE-BCB7-4725-A132-D63A59B72226}" dt="2023-06-02T13:06:38.779" v="10293" actId="11529"/>
          <ac:cxnSpMkLst>
            <pc:docMk/>
            <pc:sldMk cId="988354632" sldId="2147379093"/>
            <ac:cxnSpMk id="19" creationId="{20680FAB-D4BE-C504-18B6-689E7AE83A6C}"/>
          </ac:cxnSpMkLst>
        </pc:cxnChg>
        <pc:cxnChg chg="add mod">
          <ac:chgData name="Marie-Laure Mauborgne" userId="717f1e20-c968-4716-94d0-7143ffa6b39a" providerId="ADAL" clId="{EBB8CBFE-BCB7-4725-A132-D63A59B72226}" dt="2023-06-02T13:06:51.861" v="10297" actId="13822"/>
          <ac:cxnSpMkLst>
            <pc:docMk/>
            <pc:sldMk cId="988354632" sldId="2147379093"/>
            <ac:cxnSpMk id="21" creationId="{079286DA-4807-4366-D3FC-2A42A714EA70}"/>
          </ac:cxnSpMkLst>
        </pc:cxnChg>
        <pc:cxnChg chg="add del mod">
          <ac:chgData name="Marie-Laure Mauborgne" userId="717f1e20-c968-4716-94d0-7143ffa6b39a" providerId="ADAL" clId="{EBB8CBFE-BCB7-4725-A132-D63A59B72226}" dt="2023-06-02T13:08:24.721" v="10340" actId="478"/>
          <ac:cxnSpMkLst>
            <pc:docMk/>
            <pc:sldMk cId="988354632" sldId="2147379093"/>
            <ac:cxnSpMk id="23" creationId="{02891DF2-B8DC-8049-DAEA-25FFF51EA3E7}"/>
          </ac:cxnSpMkLst>
        </pc:cxnChg>
        <pc:cxnChg chg="add mod">
          <ac:chgData name="Marie-Laure Mauborgne" userId="717f1e20-c968-4716-94d0-7143ffa6b39a" providerId="ADAL" clId="{EBB8CBFE-BCB7-4725-A132-D63A59B72226}" dt="2023-06-02T13:09:13.042" v="10369" actId="404"/>
          <ac:cxnSpMkLst>
            <pc:docMk/>
            <pc:sldMk cId="988354632" sldId="2147379093"/>
            <ac:cxnSpMk id="26" creationId="{A0E8535A-FDEE-A966-0A7B-F2D0CE4E07EB}"/>
          </ac:cxnSpMkLst>
        </pc:cxnChg>
      </pc:sldChg>
      <pc:sldChg chg="addSp delSp modSp new mod">
        <pc:chgData name="Marie-Laure Mauborgne" userId="717f1e20-c968-4716-94d0-7143ffa6b39a" providerId="ADAL" clId="{EBB8CBFE-BCB7-4725-A132-D63A59B72226}" dt="2023-06-02T13:21:05.578" v="10544" actId="6549"/>
        <pc:sldMkLst>
          <pc:docMk/>
          <pc:sldMk cId="2231702952" sldId="2147379094"/>
        </pc:sldMkLst>
        <pc:spChg chg="mod">
          <ac:chgData name="Marie-Laure Mauborgne" userId="717f1e20-c968-4716-94d0-7143ffa6b39a" providerId="ADAL" clId="{EBB8CBFE-BCB7-4725-A132-D63A59B72226}" dt="2023-05-31T11:18:59.374" v="4505"/>
          <ac:spMkLst>
            <pc:docMk/>
            <pc:sldMk cId="2231702952" sldId="2147379094"/>
            <ac:spMk id="2" creationId="{EC67E83B-D918-7C13-3D7A-AB069F76BB3C}"/>
          </ac:spMkLst>
        </pc:spChg>
        <pc:spChg chg="mod">
          <ac:chgData name="Marie-Laure Mauborgne" userId="717f1e20-c968-4716-94d0-7143ffa6b39a" providerId="ADAL" clId="{EBB8CBFE-BCB7-4725-A132-D63A59B72226}" dt="2023-06-02T13:21:05.578" v="10544" actId="6549"/>
          <ac:spMkLst>
            <pc:docMk/>
            <pc:sldMk cId="2231702952" sldId="2147379094"/>
            <ac:spMk id="3" creationId="{056FDA08-0FC7-62F8-C168-E18B7D79782A}"/>
          </ac:spMkLst>
        </pc:spChg>
        <pc:spChg chg="add mod">
          <ac:chgData name="Marie-Laure Mauborgne" userId="717f1e20-c968-4716-94d0-7143ffa6b39a" providerId="ADAL" clId="{EBB8CBFE-BCB7-4725-A132-D63A59B72226}" dt="2023-06-02T13:14:46.815" v="10412" actId="1076"/>
          <ac:spMkLst>
            <pc:docMk/>
            <pc:sldMk cId="2231702952" sldId="2147379094"/>
            <ac:spMk id="6" creationId="{D570F0EA-D616-7AC7-EE60-A78154AC1467}"/>
          </ac:spMkLst>
        </pc:spChg>
        <pc:spChg chg="add mod">
          <ac:chgData name="Marie-Laure Mauborgne" userId="717f1e20-c968-4716-94d0-7143ffa6b39a" providerId="ADAL" clId="{EBB8CBFE-BCB7-4725-A132-D63A59B72226}" dt="2023-06-02T13:14:40.708" v="10410" actId="1076"/>
          <ac:spMkLst>
            <pc:docMk/>
            <pc:sldMk cId="2231702952" sldId="2147379094"/>
            <ac:spMk id="8" creationId="{6A280018-ECF3-446B-18AB-836471762C8B}"/>
          </ac:spMkLst>
        </pc:spChg>
        <pc:spChg chg="add mod">
          <ac:chgData name="Marie-Laure Mauborgne" userId="717f1e20-c968-4716-94d0-7143ffa6b39a" providerId="ADAL" clId="{EBB8CBFE-BCB7-4725-A132-D63A59B72226}" dt="2023-05-31T13:41:49.358" v="4554" actId="1076"/>
          <ac:spMkLst>
            <pc:docMk/>
            <pc:sldMk cId="2231702952" sldId="2147379094"/>
            <ac:spMk id="15" creationId="{F032EFE4-82CE-90D3-CFB2-B7DEF4F12043}"/>
          </ac:spMkLst>
        </pc:spChg>
        <pc:spChg chg="add mod">
          <ac:chgData name="Marie-Laure Mauborgne" userId="717f1e20-c968-4716-94d0-7143ffa6b39a" providerId="ADAL" clId="{EBB8CBFE-BCB7-4725-A132-D63A59B72226}" dt="2023-05-31T13:42:06.474" v="4562" actId="1076"/>
          <ac:spMkLst>
            <pc:docMk/>
            <pc:sldMk cId="2231702952" sldId="2147379094"/>
            <ac:spMk id="18" creationId="{DD6C7885-1B5D-5656-C802-ED11DA2B5B92}"/>
          </ac:spMkLst>
        </pc:spChg>
        <pc:picChg chg="add mod">
          <ac:chgData name="Marie-Laure Mauborgne" userId="717f1e20-c968-4716-94d0-7143ffa6b39a" providerId="ADAL" clId="{EBB8CBFE-BCB7-4725-A132-D63A59B72226}" dt="2023-05-31T11:18:10.249" v="4504" actId="1076"/>
          <ac:picMkLst>
            <pc:docMk/>
            <pc:sldMk cId="2231702952" sldId="2147379094"/>
            <ac:picMk id="7" creationId="{39DFFA79-5645-FA2F-EEC6-3A9AFECCF0EC}"/>
          </ac:picMkLst>
        </pc:picChg>
        <pc:picChg chg="add del mod">
          <ac:chgData name="Marie-Laure Mauborgne" userId="717f1e20-c968-4716-94d0-7143ffa6b39a" providerId="ADAL" clId="{EBB8CBFE-BCB7-4725-A132-D63A59B72226}" dt="2023-06-02T13:14:18.591" v="10408" actId="478"/>
          <ac:picMkLst>
            <pc:docMk/>
            <pc:sldMk cId="2231702952" sldId="2147379094"/>
            <ac:picMk id="9" creationId="{0A8FDD3D-287A-7470-10FE-0BAA2E033D79}"/>
          </ac:picMkLst>
        </pc:picChg>
        <pc:picChg chg="add mod">
          <ac:chgData name="Marie-Laure Mauborgne" userId="717f1e20-c968-4716-94d0-7143ffa6b39a" providerId="ADAL" clId="{EBB8CBFE-BCB7-4725-A132-D63A59B72226}" dt="2023-05-31T13:39:03.215" v="4511" actId="1076"/>
          <ac:picMkLst>
            <pc:docMk/>
            <pc:sldMk cId="2231702952" sldId="2147379094"/>
            <ac:picMk id="11" creationId="{6D1FAC06-754D-6BCC-778D-7A141090CD4F}"/>
          </ac:picMkLst>
        </pc:picChg>
        <pc:picChg chg="add mod ord">
          <ac:chgData name="Marie-Laure Mauborgne" userId="717f1e20-c968-4716-94d0-7143ffa6b39a" providerId="ADAL" clId="{EBB8CBFE-BCB7-4725-A132-D63A59B72226}" dt="2023-06-02T13:14:16.841" v="10407" actId="167"/>
          <ac:picMkLst>
            <pc:docMk/>
            <pc:sldMk cId="2231702952" sldId="2147379094"/>
            <ac:picMk id="13" creationId="{08523EE3-F568-DE0D-4F46-9B3AE80B65D8}"/>
          </ac:picMkLst>
        </pc:picChg>
        <pc:cxnChg chg="add mod">
          <ac:chgData name="Marie-Laure Mauborgne" userId="717f1e20-c968-4716-94d0-7143ffa6b39a" providerId="ADAL" clId="{EBB8CBFE-BCB7-4725-A132-D63A59B72226}" dt="2023-05-31T13:41:53.193" v="4555" actId="14100"/>
          <ac:cxnSpMkLst>
            <pc:docMk/>
            <pc:sldMk cId="2231702952" sldId="2147379094"/>
            <ac:cxnSpMk id="14" creationId="{7B11850F-DD29-F91B-7556-CF3465017B41}"/>
          </ac:cxnSpMkLst>
        </pc:cxnChg>
        <pc:cxnChg chg="add mod">
          <ac:chgData name="Marie-Laure Mauborgne" userId="717f1e20-c968-4716-94d0-7143ffa6b39a" providerId="ADAL" clId="{EBB8CBFE-BCB7-4725-A132-D63A59B72226}" dt="2023-05-31T13:42:10.044" v="4563" actId="14100"/>
          <ac:cxnSpMkLst>
            <pc:docMk/>
            <pc:sldMk cId="2231702952" sldId="2147379094"/>
            <ac:cxnSpMk id="17" creationId="{86AE28EA-B747-47B1-6C32-611DBC7D0220}"/>
          </ac:cxnSpMkLst>
        </pc:cxnChg>
      </pc:sldChg>
      <pc:sldChg chg="addSp delSp modSp new mod">
        <pc:chgData name="Marie-Laure Mauborgne" userId="717f1e20-c968-4716-94d0-7143ffa6b39a" providerId="ADAL" clId="{EBB8CBFE-BCB7-4725-A132-D63A59B72226}" dt="2023-06-02T09:32:17.263" v="8826" actId="1035"/>
        <pc:sldMkLst>
          <pc:docMk/>
          <pc:sldMk cId="3867254977" sldId="2147379095"/>
        </pc:sldMkLst>
        <pc:spChg chg="mod">
          <ac:chgData name="Marie-Laure Mauborgne" userId="717f1e20-c968-4716-94d0-7143ffa6b39a" providerId="ADAL" clId="{EBB8CBFE-BCB7-4725-A132-D63A59B72226}" dt="2023-05-31T13:56:20.551" v="4708" actId="20577"/>
          <ac:spMkLst>
            <pc:docMk/>
            <pc:sldMk cId="3867254977" sldId="2147379095"/>
            <ac:spMk id="2" creationId="{E853DD91-5AC3-F3BB-ACD0-B4B5C0641CF6}"/>
          </ac:spMkLst>
        </pc:spChg>
        <pc:spChg chg="mod">
          <ac:chgData name="Marie-Laure Mauborgne" userId="717f1e20-c968-4716-94d0-7143ffa6b39a" providerId="ADAL" clId="{EBB8CBFE-BCB7-4725-A132-D63A59B72226}" dt="2023-06-02T09:32:04.920" v="8793" actId="6549"/>
          <ac:spMkLst>
            <pc:docMk/>
            <pc:sldMk cId="3867254977" sldId="2147379095"/>
            <ac:spMk id="3" creationId="{B0B50A8F-F0C6-6163-ED5D-E962C4D8692B}"/>
          </ac:spMkLst>
        </pc:spChg>
        <pc:spChg chg="mod">
          <ac:chgData name="Marie-Laure Mauborgne" userId="717f1e20-c968-4716-94d0-7143ffa6b39a" providerId="ADAL" clId="{EBB8CBFE-BCB7-4725-A132-D63A59B72226}" dt="2023-06-02T09:32:11.555" v="8795" actId="1076"/>
          <ac:spMkLst>
            <pc:docMk/>
            <pc:sldMk cId="3867254977" sldId="2147379095"/>
            <ac:spMk id="4" creationId="{62FE4055-C77F-3ACA-D415-0D57CD518E83}"/>
          </ac:spMkLst>
        </pc:spChg>
        <pc:spChg chg="add mod">
          <ac:chgData name="Marie-Laure Mauborgne" userId="717f1e20-c968-4716-94d0-7143ffa6b39a" providerId="ADAL" clId="{EBB8CBFE-BCB7-4725-A132-D63A59B72226}" dt="2023-06-02T09:32:17.263" v="8826" actId="1035"/>
          <ac:spMkLst>
            <pc:docMk/>
            <pc:sldMk cId="3867254977" sldId="2147379095"/>
            <ac:spMk id="8" creationId="{EC4998D7-A581-39EA-7CBA-DFED3CA50B82}"/>
          </ac:spMkLst>
        </pc:spChg>
        <pc:picChg chg="add mod">
          <ac:chgData name="Marie-Laure Mauborgne" userId="717f1e20-c968-4716-94d0-7143ffa6b39a" providerId="ADAL" clId="{EBB8CBFE-BCB7-4725-A132-D63A59B72226}" dt="2023-06-02T09:32:17.263" v="8826" actId="1035"/>
          <ac:picMkLst>
            <pc:docMk/>
            <pc:sldMk cId="3867254977" sldId="2147379095"/>
            <ac:picMk id="6" creationId="{57B87B9B-19EB-2342-E1D2-D73C0D40501F}"/>
          </ac:picMkLst>
        </pc:picChg>
        <pc:picChg chg="add del mod">
          <ac:chgData name="Marie-Laure Mauborgne" userId="717f1e20-c968-4716-94d0-7143ffa6b39a" providerId="ADAL" clId="{EBB8CBFE-BCB7-4725-A132-D63A59B72226}" dt="2023-05-31T14:10:58.917" v="4720" actId="478"/>
          <ac:picMkLst>
            <pc:docMk/>
            <pc:sldMk cId="3867254977" sldId="2147379095"/>
            <ac:picMk id="7" creationId="{5B8880FC-1F76-3C8A-1DD7-03462352B7B2}"/>
          </ac:picMkLst>
        </pc:picChg>
        <pc:picChg chg="add del mod">
          <ac:chgData name="Marie-Laure Mauborgne" userId="717f1e20-c968-4716-94d0-7143ffa6b39a" providerId="ADAL" clId="{EBB8CBFE-BCB7-4725-A132-D63A59B72226}" dt="2023-06-02T09:31:49.762" v="8790" actId="478"/>
          <ac:picMkLst>
            <pc:docMk/>
            <pc:sldMk cId="3867254977" sldId="2147379095"/>
            <ac:picMk id="2050" creationId="{C74006E6-83B1-2D2A-41D7-032257132AE5}"/>
          </ac:picMkLst>
        </pc:picChg>
      </pc:sldChg>
      <pc:sldChg chg="modSp new mod">
        <pc:chgData name="Marie-Laure Mauborgne" userId="717f1e20-c968-4716-94d0-7143ffa6b39a" providerId="ADAL" clId="{EBB8CBFE-BCB7-4725-A132-D63A59B72226}" dt="2023-06-01T08:50:26.796" v="7034" actId="20577"/>
        <pc:sldMkLst>
          <pc:docMk/>
          <pc:sldMk cId="2482734020" sldId="2147379096"/>
        </pc:sldMkLst>
        <pc:spChg chg="mod">
          <ac:chgData name="Marie-Laure Mauborgne" userId="717f1e20-c968-4716-94d0-7143ffa6b39a" providerId="ADAL" clId="{EBB8CBFE-BCB7-4725-A132-D63A59B72226}" dt="2023-05-31T14:25:36.059" v="5069" actId="20577"/>
          <ac:spMkLst>
            <pc:docMk/>
            <pc:sldMk cId="2482734020" sldId="2147379096"/>
            <ac:spMk id="2" creationId="{E0320459-988C-8160-5184-814126FB626E}"/>
          </ac:spMkLst>
        </pc:spChg>
        <pc:spChg chg="mod">
          <ac:chgData name="Marie-Laure Mauborgne" userId="717f1e20-c968-4716-94d0-7143ffa6b39a" providerId="ADAL" clId="{EBB8CBFE-BCB7-4725-A132-D63A59B72226}" dt="2023-06-01T08:50:26.796" v="7034" actId="20577"/>
          <ac:spMkLst>
            <pc:docMk/>
            <pc:sldMk cId="2482734020" sldId="2147379096"/>
            <ac:spMk id="3" creationId="{51600A86-1346-6F9A-9E5D-97A2CCA96FF9}"/>
          </ac:spMkLst>
        </pc:spChg>
      </pc:sldChg>
      <pc:sldChg chg="addSp delSp modSp new mod modClrScheme chgLayout">
        <pc:chgData name="Marie-Laure Mauborgne" userId="717f1e20-c968-4716-94d0-7143ffa6b39a" providerId="ADAL" clId="{EBB8CBFE-BCB7-4725-A132-D63A59B72226}" dt="2023-05-31T14:30:06.846" v="5458" actId="5793"/>
        <pc:sldMkLst>
          <pc:docMk/>
          <pc:sldMk cId="1993353406" sldId="2147379097"/>
        </pc:sldMkLst>
        <pc:spChg chg="del">
          <ac:chgData name="Marie-Laure Mauborgne" userId="717f1e20-c968-4716-94d0-7143ffa6b39a" providerId="ADAL" clId="{EBB8CBFE-BCB7-4725-A132-D63A59B72226}" dt="2023-05-31T14:28:34.515" v="5256" actId="700"/>
          <ac:spMkLst>
            <pc:docMk/>
            <pc:sldMk cId="1993353406" sldId="2147379097"/>
            <ac:spMk id="2" creationId="{69128EDF-C357-15DC-09B7-3383D85E8672}"/>
          </ac:spMkLst>
        </pc:spChg>
        <pc:spChg chg="del mod ord">
          <ac:chgData name="Marie-Laure Mauborgne" userId="717f1e20-c968-4716-94d0-7143ffa6b39a" providerId="ADAL" clId="{EBB8CBFE-BCB7-4725-A132-D63A59B72226}" dt="2023-05-31T14:28:34.515" v="5256" actId="700"/>
          <ac:spMkLst>
            <pc:docMk/>
            <pc:sldMk cId="1993353406" sldId="2147379097"/>
            <ac:spMk id="3" creationId="{3ACFA0D2-F587-EE2C-0F72-98F88C2E72E5}"/>
          </ac:spMkLst>
        </pc:spChg>
        <pc:spChg chg="del mod ord">
          <ac:chgData name="Marie-Laure Mauborgne" userId="717f1e20-c968-4716-94d0-7143ffa6b39a" providerId="ADAL" clId="{EBB8CBFE-BCB7-4725-A132-D63A59B72226}" dt="2023-05-31T14:28:34.515" v="5256" actId="700"/>
          <ac:spMkLst>
            <pc:docMk/>
            <pc:sldMk cId="1993353406" sldId="2147379097"/>
            <ac:spMk id="4" creationId="{376D2AF5-72E0-E44E-CD2E-2BC462DF5203}"/>
          </ac:spMkLst>
        </pc:spChg>
        <pc:spChg chg="mod ord">
          <ac:chgData name="Marie-Laure Mauborgne" userId="717f1e20-c968-4716-94d0-7143ffa6b39a" providerId="ADAL" clId="{EBB8CBFE-BCB7-4725-A132-D63A59B72226}" dt="2023-05-31T14:28:34.515" v="5256" actId="700"/>
          <ac:spMkLst>
            <pc:docMk/>
            <pc:sldMk cId="1993353406" sldId="2147379097"/>
            <ac:spMk id="5" creationId="{9F5D9DBA-52E4-EBC7-97FB-ABFAC25CC3BA}"/>
          </ac:spMkLst>
        </pc:spChg>
        <pc:spChg chg="mod ord">
          <ac:chgData name="Marie-Laure Mauborgne" userId="717f1e20-c968-4716-94d0-7143ffa6b39a" providerId="ADAL" clId="{EBB8CBFE-BCB7-4725-A132-D63A59B72226}" dt="2023-05-31T14:28:34.515" v="5256" actId="700"/>
          <ac:spMkLst>
            <pc:docMk/>
            <pc:sldMk cId="1993353406" sldId="2147379097"/>
            <ac:spMk id="6" creationId="{FF25CA0F-14D2-5D94-89D0-EFB5709101FE}"/>
          </ac:spMkLst>
        </pc:spChg>
        <pc:spChg chg="add mod ord">
          <ac:chgData name="Marie-Laure Mauborgne" userId="717f1e20-c968-4716-94d0-7143ffa6b39a" providerId="ADAL" clId="{EBB8CBFE-BCB7-4725-A132-D63A59B72226}" dt="2023-05-31T14:28:39.822" v="5265" actId="20577"/>
          <ac:spMkLst>
            <pc:docMk/>
            <pc:sldMk cId="1993353406" sldId="2147379097"/>
            <ac:spMk id="7" creationId="{0CDD317E-438C-0758-D97C-605E5EBD0FEB}"/>
          </ac:spMkLst>
        </pc:spChg>
        <pc:spChg chg="add mod ord">
          <ac:chgData name="Marie-Laure Mauborgne" userId="717f1e20-c968-4716-94d0-7143ffa6b39a" providerId="ADAL" clId="{EBB8CBFE-BCB7-4725-A132-D63A59B72226}" dt="2023-05-31T14:30:06.846" v="5458" actId="5793"/>
          <ac:spMkLst>
            <pc:docMk/>
            <pc:sldMk cId="1993353406" sldId="2147379097"/>
            <ac:spMk id="8" creationId="{DCDED8EB-A06F-A109-5AD6-6C3F8A548E31}"/>
          </ac:spMkLst>
        </pc:spChg>
      </pc:sldChg>
      <pc:sldChg chg="addSp delSp modSp new mod modClrScheme chgLayout">
        <pc:chgData name="Marie-Laure Mauborgne" userId="717f1e20-c968-4716-94d0-7143ffa6b39a" providerId="ADAL" clId="{EBB8CBFE-BCB7-4725-A132-D63A59B72226}" dt="2023-06-02T10:22:10.971" v="9854" actId="1035"/>
        <pc:sldMkLst>
          <pc:docMk/>
          <pc:sldMk cId="937670544" sldId="2147379098"/>
        </pc:sldMkLst>
        <pc:spChg chg="mod ord">
          <ac:chgData name="Marie-Laure Mauborgne" userId="717f1e20-c968-4716-94d0-7143ffa6b39a" providerId="ADAL" clId="{EBB8CBFE-BCB7-4725-A132-D63A59B72226}" dt="2023-05-31T14:39:10.934" v="5904" actId="20577"/>
          <ac:spMkLst>
            <pc:docMk/>
            <pc:sldMk cId="937670544" sldId="2147379098"/>
            <ac:spMk id="2" creationId="{CDF5A6BD-BE0B-8DF7-5811-27C7222CC4D7}"/>
          </ac:spMkLst>
        </pc:spChg>
        <pc:spChg chg="del mod ord">
          <ac:chgData name="Marie-Laure Mauborgne" userId="717f1e20-c968-4716-94d0-7143ffa6b39a" providerId="ADAL" clId="{EBB8CBFE-BCB7-4725-A132-D63A59B72226}" dt="2023-05-31T14:39:05.837" v="5902" actId="700"/>
          <ac:spMkLst>
            <pc:docMk/>
            <pc:sldMk cId="937670544" sldId="2147379098"/>
            <ac:spMk id="3" creationId="{644C0B5C-4F5E-EE5C-D0B3-CAA0837ADBE3}"/>
          </ac:spMkLst>
        </pc:spChg>
        <pc:spChg chg="mod ord">
          <ac:chgData name="Marie-Laure Mauborgne" userId="717f1e20-c968-4716-94d0-7143ffa6b39a" providerId="ADAL" clId="{EBB8CBFE-BCB7-4725-A132-D63A59B72226}" dt="2023-05-31T14:39:05.837" v="5902" actId="700"/>
          <ac:spMkLst>
            <pc:docMk/>
            <pc:sldMk cId="937670544" sldId="2147379098"/>
            <ac:spMk id="4" creationId="{20815A6C-A668-E08B-2741-764641C0C54A}"/>
          </ac:spMkLst>
        </pc:spChg>
        <pc:spChg chg="mod ord">
          <ac:chgData name="Marie-Laure Mauborgne" userId="717f1e20-c968-4716-94d0-7143ffa6b39a" providerId="ADAL" clId="{EBB8CBFE-BCB7-4725-A132-D63A59B72226}" dt="2023-05-31T14:39:05.837" v="5902" actId="700"/>
          <ac:spMkLst>
            <pc:docMk/>
            <pc:sldMk cId="937670544" sldId="2147379098"/>
            <ac:spMk id="5" creationId="{F3CBEAD4-908D-4768-4AEC-B632920430FE}"/>
          </ac:spMkLst>
        </pc:spChg>
        <pc:spChg chg="add mod ord">
          <ac:chgData name="Marie-Laure Mauborgne" userId="717f1e20-c968-4716-94d0-7143ffa6b39a" providerId="ADAL" clId="{EBB8CBFE-BCB7-4725-A132-D63A59B72226}" dt="2023-06-02T09:54:52.498" v="9439" actId="14100"/>
          <ac:spMkLst>
            <pc:docMk/>
            <pc:sldMk cId="937670544" sldId="2147379098"/>
            <ac:spMk id="8" creationId="{A3A7EA47-8C15-DE1F-892A-3D8FB9C00CC4}"/>
          </ac:spMkLst>
        </pc:spChg>
        <pc:spChg chg="add mod">
          <ac:chgData name="Marie-Laure Mauborgne" userId="717f1e20-c968-4716-94d0-7143ffa6b39a" providerId="ADAL" clId="{EBB8CBFE-BCB7-4725-A132-D63A59B72226}" dt="2023-06-02T10:22:10.971" v="9854" actId="1035"/>
          <ac:spMkLst>
            <pc:docMk/>
            <pc:sldMk cId="937670544" sldId="2147379098"/>
            <ac:spMk id="9" creationId="{32E1CEB0-BECF-81EE-04F9-57D1299A972D}"/>
          </ac:spMkLst>
        </pc:spChg>
        <pc:spChg chg="add mod">
          <ac:chgData name="Marie-Laure Mauborgne" userId="717f1e20-c968-4716-94d0-7143ffa6b39a" providerId="ADAL" clId="{EBB8CBFE-BCB7-4725-A132-D63A59B72226}" dt="2023-06-02T10:22:10.971" v="9854" actId="1035"/>
          <ac:spMkLst>
            <pc:docMk/>
            <pc:sldMk cId="937670544" sldId="2147379098"/>
            <ac:spMk id="10" creationId="{E5C3ABC0-273C-0032-82F8-6771C383DD11}"/>
          </ac:spMkLst>
        </pc:spChg>
        <pc:picChg chg="add mod">
          <ac:chgData name="Marie-Laure Mauborgne" userId="717f1e20-c968-4716-94d0-7143ffa6b39a" providerId="ADAL" clId="{EBB8CBFE-BCB7-4725-A132-D63A59B72226}" dt="2023-05-31T14:31:15.444" v="5461" actId="1076"/>
          <ac:picMkLst>
            <pc:docMk/>
            <pc:sldMk cId="937670544" sldId="2147379098"/>
            <ac:picMk id="6" creationId="{FF7381AB-2731-8F05-7C52-4168511B263C}"/>
          </ac:picMkLst>
        </pc:picChg>
        <pc:picChg chg="add mod">
          <ac:chgData name="Marie-Laure Mauborgne" userId="717f1e20-c968-4716-94d0-7143ffa6b39a" providerId="ADAL" clId="{EBB8CBFE-BCB7-4725-A132-D63A59B72226}" dt="2023-05-31T14:31:28.585" v="5463" actId="1076"/>
          <ac:picMkLst>
            <pc:docMk/>
            <pc:sldMk cId="937670544" sldId="2147379098"/>
            <ac:picMk id="7" creationId="{9AAF878A-9500-EC55-6417-CB975F22B9A1}"/>
          </ac:picMkLst>
        </pc:picChg>
      </pc:sldChg>
      <pc:sldChg chg="addSp delSp modSp new mod modClrScheme chgLayout">
        <pc:chgData name="Marie-Laure Mauborgne" userId="717f1e20-c968-4716-94d0-7143ffa6b39a" providerId="ADAL" clId="{EBB8CBFE-BCB7-4725-A132-D63A59B72226}" dt="2023-05-31T14:37:58.764" v="5838" actId="114"/>
        <pc:sldMkLst>
          <pc:docMk/>
          <pc:sldMk cId="3991352431" sldId="2147379099"/>
        </pc:sldMkLst>
        <pc:spChg chg="mod ord">
          <ac:chgData name="Marie-Laure Mauborgne" userId="717f1e20-c968-4716-94d0-7143ffa6b39a" providerId="ADAL" clId="{EBB8CBFE-BCB7-4725-A132-D63A59B72226}" dt="2023-05-31T14:31:56.616" v="5484" actId="700"/>
          <ac:spMkLst>
            <pc:docMk/>
            <pc:sldMk cId="3991352431" sldId="2147379099"/>
            <ac:spMk id="2" creationId="{75644095-7D69-A29E-4175-3CAAEC0B0322}"/>
          </ac:spMkLst>
        </pc:spChg>
        <pc:spChg chg="del mod ord">
          <ac:chgData name="Marie-Laure Mauborgne" userId="717f1e20-c968-4716-94d0-7143ffa6b39a" providerId="ADAL" clId="{EBB8CBFE-BCB7-4725-A132-D63A59B72226}" dt="2023-05-31T14:31:56.616" v="5484" actId="700"/>
          <ac:spMkLst>
            <pc:docMk/>
            <pc:sldMk cId="3991352431" sldId="2147379099"/>
            <ac:spMk id="3" creationId="{3CEA9BBD-3692-5E21-01BD-9A4020083267}"/>
          </ac:spMkLst>
        </pc:spChg>
        <pc:spChg chg="mod ord">
          <ac:chgData name="Marie-Laure Mauborgne" userId="717f1e20-c968-4716-94d0-7143ffa6b39a" providerId="ADAL" clId="{EBB8CBFE-BCB7-4725-A132-D63A59B72226}" dt="2023-05-31T14:31:56.616" v="5484" actId="700"/>
          <ac:spMkLst>
            <pc:docMk/>
            <pc:sldMk cId="3991352431" sldId="2147379099"/>
            <ac:spMk id="4" creationId="{98FB1C4B-A9BD-B851-AA7B-90CE4A90335A}"/>
          </ac:spMkLst>
        </pc:spChg>
        <pc:spChg chg="mod ord">
          <ac:chgData name="Marie-Laure Mauborgne" userId="717f1e20-c968-4716-94d0-7143ffa6b39a" providerId="ADAL" clId="{EBB8CBFE-BCB7-4725-A132-D63A59B72226}" dt="2023-05-31T14:31:56.616" v="5484" actId="700"/>
          <ac:spMkLst>
            <pc:docMk/>
            <pc:sldMk cId="3991352431" sldId="2147379099"/>
            <ac:spMk id="5" creationId="{F1CAB0F7-8038-BB0D-1F7D-99F31C88C8BB}"/>
          </ac:spMkLst>
        </pc:spChg>
        <pc:spChg chg="add mod ord">
          <ac:chgData name="Marie-Laure Mauborgne" userId="717f1e20-c968-4716-94d0-7143ffa6b39a" providerId="ADAL" clId="{EBB8CBFE-BCB7-4725-A132-D63A59B72226}" dt="2023-05-31T14:37:58.764" v="5838" actId="114"/>
          <ac:spMkLst>
            <pc:docMk/>
            <pc:sldMk cId="3991352431" sldId="2147379099"/>
            <ac:spMk id="6" creationId="{E5A5EDC2-A23F-E7DB-761B-5AAF99091761}"/>
          </ac:spMkLst>
        </pc:spChg>
      </pc:sldChg>
      <pc:sldChg chg="addSp delSp modSp new mod">
        <pc:chgData name="Marie-Laure Mauborgne" userId="717f1e20-c968-4716-94d0-7143ffa6b39a" providerId="ADAL" clId="{EBB8CBFE-BCB7-4725-A132-D63A59B72226}" dt="2023-06-02T13:28:32.042" v="10613" actId="20577"/>
        <pc:sldMkLst>
          <pc:docMk/>
          <pc:sldMk cId="2456475928" sldId="2147379100"/>
        </pc:sldMkLst>
        <pc:spChg chg="mod">
          <ac:chgData name="Marie-Laure Mauborgne" userId="717f1e20-c968-4716-94d0-7143ffa6b39a" providerId="ADAL" clId="{EBB8CBFE-BCB7-4725-A132-D63A59B72226}" dt="2023-06-02T10:08:05.117" v="9441" actId="20577"/>
          <ac:spMkLst>
            <pc:docMk/>
            <pc:sldMk cId="2456475928" sldId="2147379100"/>
            <ac:spMk id="2" creationId="{F6051D73-18E3-4460-018C-D5F930BC00DA}"/>
          </ac:spMkLst>
        </pc:spChg>
        <pc:spChg chg="mod">
          <ac:chgData name="Marie-Laure Mauborgne" userId="717f1e20-c968-4716-94d0-7143ffa6b39a" providerId="ADAL" clId="{EBB8CBFE-BCB7-4725-A132-D63A59B72226}" dt="2023-06-02T13:28:27.302" v="10605" actId="20577"/>
          <ac:spMkLst>
            <pc:docMk/>
            <pc:sldMk cId="2456475928" sldId="2147379100"/>
            <ac:spMk id="3" creationId="{02024EAD-B62D-A710-80F5-6BD503E7B7DB}"/>
          </ac:spMkLst>
        </pc:spChg>
        <pc:spChg chg="add del mod">
          <ac:chgData name="Marie-Laure Mauborgne" userId="717f1e20-c968-4716-94d0-7143ffa6b39a" providerId="ADAL" clId="{EBB8CBFE-BCB7-4725-A132-D63A59B72226}" dt="2023-06-02T10:22:19.135" v="9856" actId="478"/>
          <ac:spMkLst>
            <pc:docMk/>
            <pc:sldMk cId="2456475928" sldId="2147379100"/>
            <ac:spMk id="8" creationId="{DE821425-DCA0-C66A-1ACA-29B5B91FA4F7}"/>
          </ac:spMkLst>
        </pc:spChg>
        <pc:spChg chg="add del mod">
          <ac:chgData name="Marie-Laure Mauborgne" userId="717f1e20-c968-4716-94d0-7143ffa6b39a" providerId="ADAL" clId="{EBB8CBFE-BCB7-4725-A132-D63A59B72226}" dt="2023-06-02T10:22:32.997" v="9862" actId="478"/>
          <ac:spMkLst>
            <pc:docMk/>
            <pc:sldMk cId="2456475928" sldId="2147379100"/>
            <ac:spMk id="9" creationId="{8F393EF6-3B38-9110-1BA5-E1B91AF4033A}"/>
          </ac:spMkLst>
        </pc:spChg>
        <pc:spChg chg="add mod">
          <ac:chgData name="Marie-Laure Mauborgne" userId="717f1e20-c968-4716-94d0-7143ffa6b39a" providerId="ADAL" clId="{EBB8CBFE-BCB7-4725-A132-D63A59B72226}" dt="2023-06-02T10:22:13.972" v="9855"/>
          <ac:spMkLst>
            <pc:docMk/>
            <pc:sldMk cId="2456475928" sldId="2147379100"/>
            <ac:spMk id="10" creationId="{B8B7453A-4479-FF82-6C1E-9ADD70565C54}"/>
          </ac:spMkLst>
        </pc:spChg>
        <pc:spChg chg="add del mod ord">
          <ac:chgData name="Marie-Laure Mauborgne" userId="717f1e20-c968-4716-94d0-7143ffa6b39a" providerId="ADAL" clId="{EBB8CBFE-BCB7-4725-A132-D63A59B72226}" dt="2023-06-02T13:28:32.042" v="10613" actId="20577"/>
          <ac:spMkLst>
            <pc:docMk/>
            <pc:sldMk cId="2456475928" sldId="2147379100"/>
            <ac:spMk id="11" creationId="{B45FB3E1-A9FD-0EF7-FADF-73C967DB7D8A}"/>
          </ac:spMkLst>
        </pc:spChg>
        <pc:picChg chg="add mod">
          <ac:chgData name="Marie-Laure Mauborgne" userId="717f1e20-c968-4716-94d0-7143ffa6b39a" providerId="ADAL" clId="{EBB8CBFE-BCB7-4725-A132-D63A59B72226}" dt="2023-05-31T14:43:58.410" v="6063" actId="1076"/>
          <ac:picMkLst>
            <pc:docMk/>
            <pc:sldMk cId="2456475928" sldId="2147379100"/>
            <ac:picMk id="6" creationId="{922F451B-3D1C-45FC-29F0-56842F7D86F1}"/>
          </ac:picMkLst>
        </pc:picChg>
        <pc:picChg chg="add mod ord">
          <ac:chgData name="Marie-Laure Mauborgne" userId="717f1e20-c968-4716-94d0-7143ffa6b39a" providerId="ADAL" clId="{EBB8CBFE-BCB7-4725-A132-D63A59B72226}" dt="2023-06-02T10:22:35.512" v="9863" actId="167"/>
          <ac:picMkLst>
            <pc:docMk/>
            <pc:sldMk cId="2456475928" sldId="2147379100"/>
            <ac:picMk id="7" creationId="{49A9ACC4-3855-1605-3E2F-0F99BB073096}"/>
          </ac:picMkLst>
        </pc:picChg>
      </pc:sldChg>
      <pc:sldChg chg="new del">
        <pc:chgData name="Marie-Laure Mauborgne" userId="717f1e20-c968-4716-94d0-7143ffa6b39a" providerId="ADAL" clId="{EBB8CBFE-BCB7-4725-A132-D63A59B72226}" dt="2023-05-31T15:04:50.175" v="6235" actId="47"/>
        <pc:sldMkLst>
          <pc:docMk/>
          <pc:sldMk cId="2034254745" sldId="2147379101"/>
        </pc:sldMkLst>
      </pc:sldChg>
      <pc:sldChg chg="modSp add mod">
        <pc:chgData name="Marie-Laure Mauborgne" userId="717f1e20-c968-4716-94d0-7143ffa6b39a" providerId="ADAL" clId="{EBB8CBFE-BCB7-4725-A132-D63A59B72226}" dt="2023-06-02T13:29:38.167" v="10631" actId="20577"/>
        <pc:sldMkLst>
          <pc:docMk/>
          <pc:sldMk cId="3866055111" sldId="2147379102"/>
        </pc:sldMkLst>
        <pc:spChg chg="mod">
          <ac:chgData name="Marie-Laure Mauborgne" userId="717f1e20-c968-4716-94d0-7143ffa6b39a" providerId="ADAL" clId="{EBB8CBFE-BCB7-4725-A132-D63A59B72226}" dt="2023-06-02T13:29:38.167" v="10631" actId="20577"/>
          <ac:spMkLst>
            <pc:docMk/>
            <pc:sldMk cId="3866055111" sldId="2147379102"/>
            <ac:spMk id="6" creationId="{09ED504E-1CE0-B1FB-4B3C-FA158A6AD635}"/>
          </ac:spMkLst>
        </pc:spChg>
      </pc:sldChg>
      <pc:sldChg chg="addSp delSp modSp new mod modClrScheme chgLayout">
        <pc:chgData name="Marie-Laure Mauborgne" userId="717f1e20-c968-4716-94d0-7143ffa6b39a" providerId="ADAL" clId="{EBB8CBFE-BCB7-4725-A132-D63A59B72226}" dt="2023-06-02T15:39:00.642" v="11309" actId="1076"/>
        <pc:sldMkLst>
          <pc:docMk/>
          <pc:sldMk cId="3623651553" sldId="2147379103"/>
        </pc:sldMkLst>
        <pc:spChg chg="add mod">
          <ac:chgData name="Marie-Laure Mauborgne" userId="717f1e20-c968-4716-94d0-7143ffa6b39a" providerId="ADAL" clId="{EBB8CBFE-BCB7-4725-A132-D63A59B72226}" dt="2023-06-02T15:38:56.535" v="11308" actId="1076"/>
          <ac:spMkLst>
            <pc:docMk/>
            <pc:sldMk cId="3623651553" sldId="2147379103"/>
            <ac:spMk id="2" creationId="{924C505F-EEB4-4939-5A87-74295DE259EB}"/>
          </ac:spMkLst>
        </pc:spChg>
        <pc:spChg chg="del">
          <ac:chgData name="Marie-Laure Mauborgne" userId="717f1e20-c968-4716-94d0-7143ffa6b39a" providerId="ADAL" clId="{EBB8CBFE-BCB7-4725-A132-D63A59B72226}" dt="2023-05-31T15:05:07.378" v="6258" actId="700"/>
          <ac:spMkLst>
            <pc:docMk/>
            <pc:sldMk cId="3623651553" sldId="2147379103"/>
            <ac:spMk id="2" creationId="{BF2DDDCA-B2AF-6967-1C15-9CABE9B8C858}"/>
          </ac:spMkLst>
        </pc:spChg>
        <pc:spChg chg="del mod ord">
          <ac:chgData name="Marie-Laure Mauborgne" userId="717f1e20-c968-4716-94d0-7143ffa6b39a" providerId="ADAL" clId="{EBB8CBFE-BCB7-4725-A132-D63A59B72226}" dt="2023-05-31T15:05:07.378" v="6258" actId="700"/>
          <ac:spMkLst>
            <pc:docMk/>
            <pc:sldMk cId="3623651553" sldId="2147379103"/>
            <ac:spMk id="3" creationId="{7DDD2526-FC8F-6694-A337-93ADA523D4E7}"/>
          </ac:spMkLst>
        </pc:spChg>
        <pc:spChg chg="add mod">
          <ac:chgData name="Marie-Laure Mauborgne" userId="717f1e20-c968-4716-94d0-7143ffa6b39a" providerId="ADAL" clId="{EBB8CBFE-BCB7-4725-A132-D63A59B72226}" dt="2023-06-02T15:39:00.642" v="11309" actId="1076"/>
          <ac:spMkLst>
            <pc:docMk/>
            <pc:sldMk cId="3623651553" sldId="2147379103"/>
            <ac:spMk id="3" creationId="{9305DA3E-0F1F-089C-9398-5AEBA6BC23ED}"/>
          </ac:spMkLst>
        </pc:spChg>
        <pc:spChg chg="del mod ord">
          <ac:chgData name="Marie-Laure Mauborgne" userId="717f1e20-c968-4716-94d0-7143ffa6b39a" providerId="ADAL" clId="{EBB8CBFE-BCB7-4725-A132-D63A59B72226}" dt="2023-05-31T15:05:07.378" v="6258" actId="700"/>
          <ac:spMkLst>
            <pc:docMk/>
            <pc:sldMk cId="3623651553" sldId="2147379103"/>
            <ac:spMk id="4" creationId="{64FD9A7E-F3BB-50DC-419D-6533CDACEC4A}"/>
          </ac:spMkLst>
        </pc:spChg>
        <pc:spChg chg="mod ord">
          <ac:chgData name="Marie-Laure Mauborgne" userId="717f1e20-c968-4716-94d0-7143ffa6b39a" providerId="ADAL" clId="{EBB8CBFE-BCB7-4725-A132-D63A59B72226}" dt="2023-05-31T15:05:07.378" v="6258" actId="700"/>
          <ac:spMkLst>
            <pc:docMk/>
            <pc:sldMk cId="3623651553" sldId="2147379103"/>
            <ac:spMk id="5" creationId="{D355F9F7-6E2E-921E-B274-F76F6A3F72AF}"/>
          </ac:spMkLst>
        </pc:spChg>
        <pc:spChg chg="mod ord">
          <ac:chgData name="Marie-Laure Mauborgne" userId="717f1e20-c968-4716-94d0-7143ffa6b39a" providerId="ADAL" clId="{EBB8CBFE-BCB7-4725-A132-D63A59B72226}" dt="2023-06-02T10:11:53.210" v="9611" actId="1038"/>
          <ac:spMkLst>
            <pc:docMk/>
            <pc:sldMk cId="3623651553" sldId="2147379103"/>
            <ac:spMk id="6" creationId="{2EA62BBB-F7B2-AB8F-9905-B6FE6D30FBB2}"/>
          </ac:spMkLst>
        </pc:spChg>
        <pc:spChg chg="add mod ord">
          <ac:chgData name="Marie-Laure Mauborgne" userId="717f1e20-c968-4716-94d0-7143ffa6b39a" providerId="ADAL" clId="{EBB8CBFE-BCB7-4725-A132-D63A59B72226}" dt="2023-05-31T15:05:12.662" v="6275" actId="20577"/>
          <ac:spMkLst>
            <pc:docMk/>
            <pc:sldMk cId="3623651553" sldId="2147379103"/>
            <ac:spMk id="7" creationId="{3E596F98-572B-C553-C859-286F50E97E93}"/>
          </ac:spMkLst>
        </pc:spChg>
        <pc:spChg chg="add mod ord">
          <ac:chgData name="Marie-Laure Mauborgne" userId="717f1e20-c968-4716-94d0-7143ffa6b39a" providerId="ADAL" clId="{EBB8CBFE-BCB7-4725-A132-D63A59B72226}" dt="2023-06-02T10:11:37.448" v="9598" actId="20577"/>
          <ac:spMkLst>
            <pc:docMk/>
            <pc:sldMk cId="3623651553" sldId="2147379103"/>
            <ac:spMk id="8" creationId="{F4626BB3-B5C4-291B-8E24-58512107A863}"/>
          </ac:spMkLst>
        </pc:spChg>
        <pc:picChg chg="add mod">
          <ac:chgData name="Marie-Laure Mauborgne" userId="717f1e20-c968-4716-94d0-7143ffa6b39a" providerId="ADAL" clId="{EBB8CBFE-BCB7-4725-A132-D63A59B72226}" dt="2023-06-02T10:11:53.210" v="9611" actId="1038"/>
          <ac:picMkLst>
            <pc:docMk/>
            <pc:sldMk cId="3623651553" sldId="2147379103"/>
            <ac:picMk id="9" creationId="{44B68C18-24E1-569C-F6C7-A96E62644279}"/>
          </ac:picMkLst>
        </pc:picChg>
        <pc:picChg chg="add mod">
          <ac:chgData name="Marie-Laure Mauborgne" userId="717f1e20-c968-4716-94d0-7143ffa6b39a" providerId="ADAL" clId="{EBB8CBFE-BCB7-4725-A132-D63A59B72226}" dt="2023-06-02T10:11:53.210" v="9611" actId="1038"/>
          <ac:picMkLst>
            <pc:docMk/>
            <pc:sldMk cId="3623651553" sldId="2147379103"/>
            <ac:picMk id="10" creationId="{D669C15B-B664-261D-C8AE-42397ECDC5E1}"/>
          </ac:picMkLst>
        </pc:picChg>
        <pc:cxnChg chg="add mod">
          <ac:chgData name="Marie-Laure Mauborgne" userId="717f1e20-c968-4716-94d0-7143ffa6b39a" providerId="ADAL" clId="{EBB8CBFE-BCB7-4725-A132-D63A59B72226}" dt="2023-06-02T10:11:53.210" v="9611" actId="1038"/>
          <ac:cxnSpMkLst>
            <pc:docMk/>
            <pc:sldMk cId="3623651553" sldId="2147379103"/>
            <ac:cxnSpMk id="12" creationId="{1BD56AFB-4F60-B53F-A77A-52E0063A8026}"/>
          </ac:cxnSpMkLst>
        </pc:cxnChg>
        <pc:cxnChg chg="add mod">
          <ac:chgData name="Marie-Laure Mauborgne" userId="717f1e20-c968-4716-94d0-7143ffa6b39a" providerId="ADAL" clId="{EBB8CBFE-BCB7-4725-A132-D63A59B72226}" dt="2023-06-02T10:11:53.210" v="9611" actId="1038"/>
          <ac:cxnSpMkLst>
            <pc:docMk/>
            <pc:sldMk cId="3623651553" sldId="2147379103"/>
            <ac:cxnSpMk id="13" creationId="{53A3C9B7-CAE5-9D75-1821-1A01C84B4A8D}"/>
          </ac:cxnSpMkLst>
        </pc:cxnChg>
      </pc:sldChg>
      <pc:sldChg chg="addSp delSp modSp new mod modAnim">
        <pc:chgData name="Marie-Laure Mauborgne" userId="717f1e20-c968-4716-94d0-7143ffa6b39a" providerId="ADAL" clId="{EBB8CBFE-BCB7-4725-A132-D63A59B72226}" dt="2023-06-02T14:47:07.769" v="11270" actId="14100"/>
        <pc:sldMkLst>
          <pc:docMk/>
          <pc:sldMk cId="2467682810" sldId="2147379104"/>
        </pc:sldMkLst>
        <pc:spChg chg="mod">
          <ac:chgData name="Marie-Laure Mauborgne" userId="717f1e20-c968-4716-94d0-7143ffa6b39a" providerId="ADAL" clId="{EBB8CBFE-BCB7-4725-A132-D63A59B72226}" dt="2023-05-31T15:08:35.188" v="6473" actId="20577"/>
          <ac:spMkLst>
            <pc:docMk/>
            <pc:sldMk cId="2467682810" sldId="2147379104"/>
            <ac:spMk id="2" creationId="{D728DA31-CD43-A7EB-06D8-B20042B27D4E}"/>
          </ac:spMkLst>
        </pc:spChg>
        <pc:spChg chg="mod">
          <ac:chgData name="Marie-Laure Mauborgne" userId="717f1e20-c968-4716-94d0-7143ffa6b39a" providerId="ADAL" clId="{EBB8CBFE-BCB7-4725-A132-D63A59B72226}" dt="2023-06-02T14:37:31.981" v="11146" actId="14100"/>
          <ac:spMkLst>
            <pc:docMk/>
            <pc:sldMk cId="2467682810" sldId="2147379104"/>
            <ac:spMk id="3" creationId="{C32055E2-1ED1-8228-F711-FF847C0DCEFF}"/>
          </ac:spMkLst>
        </pc:spChg>
        <pc:spChg chg="del mod">
          <ac:chgData name="Marie-Laure Mauborgne" userId="717f1e20-c968-4716-94d0-7143ffa6b39a" providerId="ADAL" clId="{EBB8CBFE-BCB7-4725-A132-D63A59B72226}" dt="2023-06-02T14:38:36.831" v="11179" actId="478"/>
          <ac:spMkLst>
            <pc:docMk/>
            <pc:sldMk cId="2467682810" sldId="2147379104"/>
            <ac:spMk id="5" creationId="{5CF84B41-87E2-BBB0-192B-4CE9E5B01309}"/>
          </ac:spMkLst>
        </pc:spChg>
        <pc:spChg chg="add del mod">
          <ac:chgData name="Marie-Laure Mauborgne" userId="717f1e20-c968-4716-94d0-7143ffa6b39a" providerId="ADAL" clId="{EBB8CBFE-BCB7-4725-A132-D63A59B72226}" dt="2023-06-02T13:39:36.370" v="10703" actId="478"/>
          <ac:spMkLst>
            <pc:docMk/>
            <pc:sldMk cId="2467682810" sldId="2147379104"/>
            <ac:spMk id="8" creationId="{3009BCE5-51E6-F812-C237-F18F949F1D6D}"/>
          </ac:spMkLst>
        </pc:spChg>
        <pc:spChg chg="add del mod">
          <ac:chgData name="Marie-Laure Mauborgne" userId="717f1e20-c968-4716-94d0-7143ffa6b39a" providerId="ADAL" clId="{EBB8CBFE-BCB7-4725-A132-D63A59B72226}" dt="2023-06-02T14:34:46.897" v="11055" actId="478"/>
          <ac:spMkLst>
            <pc:docMk/>
            <pc:sldMk cId="2467682810" sldId="2147379104"/>
            <ac:spMk id="9" creationId="{9BAFFA1A-332B-0487-9C93-5138CA99C96D}"/>
          </ac:spMkLst>
        </pc:spChg>
        <pc:spChg chg="mod">
          <ac:chgData name="Marie-Laure Mauborgne" userId="717f1e20-c968-4716-94d0-7143ffa6b39a" providerId="ADAL" clId="{EBB8CBFE-BCB7-4725-A132-D63A59B72226}" dt="2023-06-02T14:38:49.497" v="11180" actId="165"/>
          <ac:spMkLst>
            <pc:docMk/>
            <pc:sldMk cId="2467682810" sldId="2147379104"/>
            <ac:spMk id="14" creationId="{0EF9FD4D-3933-0B6D-2E61-D4F28F8410D1}"/>
          </ac:spMkLst>
        </pc:spChg>
        <pc:spChg chg="add mod topLvl">
          <ac:chgData name="Marie-Laure Mauborgne" userId="717f1e20-c968-4716-94d0-7143ffa6b39a" providerId="ADAL" clId="{EBB8CBFE-BCB7-4725-A132-D63A59B72226}" dt="2023-06-02T14:47:07.769" v="11270" actId="14100"/>
          <ac:spMkLst>
            <pc:docMk/>
            <pc:sldMk cId="2467682810" sldId="2147379104"/>
            <ac:spMk id="15" creationId="{5140333C-4E5D-A7EE-615E-EDCBFFB8664A}"/>
          </ac:spMkLst>
        </pc:spChg>
        <pc:spChg chg="add mod topLvl">
          <ac:chgData name="Marie-Laure Mauborgne" userId="717f1e20-c968-4716-94d0-7143ffa6b39a" providerId="ADAL" clId="{EBB8CBFE-BCB7-4725-A132-D63A59B72226}" dt="2023-06-02T14:38:49.497" v="11180" actId="165"/>
          <ac:spMkLst>
            <pc:docMk/>
            <pc:sldMk cId="2467682810" sldId="2147379104"/>
            <ac:spMk id="16" creationId="{9DE67122-B946-EFB9-E0BF-8DC925576342}"/>
          </ac:spMkLst>
        </pc:spChg>
        <pc:spChg chg="add mod topLvl">
          <ac:chgData name="Marie-Laure Mauborgne" userId="717f1e20-c968-4716-94d0-7143ffa6b39a" providerId="ADAL" clId="{EBB8CBFE-BCB7-4725-A132-D63A59B72226}" dt="2023-06-02T14:38:49.497" v="11180" actId="165"/>
          <ac:spMkLst>
            <pc:docMk/>
            <pc:sldMk cId="2467682810" sldId="2147379104"/>
            <ac:spMk id="17" creationId="{5CD078DE-68C7-0625-9BE6-7B72E37B448D}"/>
          </ac:spMkLst>
        </pc:spChg>
        <pc:spChg chg="add mod topLvl">
          <ac:chgData name="Marie-Laure Mauborgne" userId="717f1e20-c968-4716-94d0-7143ffa6b39a" providerId="ADAL" clId="{EBB8CBFE-BCB7-4725-A132-D63A59B72226}" dt="2023-06-02T14:38:49.497" v="11180" actId="165"/>
          <ac:spMkLst>
            <pc:docMk/>
            <pc:sldMk cId="2467682810" sldId="2147379104"/>
            <ac:spMk id="18" creationId="{DC84538C-8706-83A5-2249-F01C127A234D}"/>
          </ac:spMkLst>
        </pc:spChg>
        <pc:grpChg chg="add mod topLvl">
          <ac:chgData name="Marie-Laure Mauborgne" userId="717f1e20-c968-4716-94d0-7143ffa6b39a" providerId="ADAL" clId="{EBB8CBFE-BCB7-4725-A132-D63A59B72226}" dt="2023-06-02T14:46:54.678" v="11268" actId="1076"/>
          <ac:grpSpMkLst>
            <pc:docMk/>
            <pc:sldMk cId="2467682810" sldId="2147379104"/>
            <ac:grpSpMk id="10" creationId="{9D988DD6-989D-984B-6EC5-37C6801BCD99}"/>
          </ac:grpSpMkLst>
        </pc:grpChg>
        <pc:grpChg chg="mod">
          <ac:chgData name="Marie-Laure Mauborgne" userId="717f1e20-c968-4716-94d0-7143ffa6b39a" providerId="ADAL" clId="{EBB8CBFE-BCB7-4725-A132-D63A59B72226}" dt="2023-06-02T14:38:49.497" v="11180" actId="165"/>
          <ac:grpSpMkLst>
            <pc:docMk/>
            <pc:sldMk cId="2467682810" sldId="2147379104"/>
            <ac:grpSpMk id="11" creationId="{600B6E0A-7465-8E68-357A-81F0168E8F1C}"/>
          </ac:grpSpMkLst>
        </pc:grpChg>
        <pc:grpChg chg="add del mod">
          <ac:chgData name="Marie-Laure Mauborgne" userId="717f1e20-c968-4716-94d0-7143ffa6b39a" providerId="ADAL" clId="{EBB8CBFE-BCB7-4725-A132-D63A59B72226}" dt="2023-06-02T14:37:39.874" v="11149" actId="165"/>
          <ac:grpSpMkLst>
            <pc:docMk/>
            <pc:sldMk cId="2467682810" sldId="2147379104"/>
            <ac:grpSpMk id="19" creationId="{0E24A3D4-32C0-4CBB-0A04-0183453AC16C}"/>
          </ac:grpSpMkLst>
        </pc:grpChg>
        <pc:grpChg chg="add mod topLvl">
          <ac:chgData name="Marie-Laure Mauborgne" userId="717f1e20-c968-4716-94d0-7143ffa6b39a" providerId="ADAL" clId="{EBB8CBFE-BCB7-4725-A132-D63A59B72226}" dt="2023-06-02T14:46:54.678" v="11268" actId="1076"/>
          <ac:grpSpMkLst>
            <pc:docMk/>
            <pc:sldMk cId="2467682810" sldId="2147379104"/>
            <ac:grpSpMk id="20" creationId="{91B08480-7C26-2108-FA85-D50BA3CBCAFE}"/>
          </ac:grpSpMkLst>
        </pc:grpChg>
        <pc:grpChg chg="add del mod">
          <ac:chgData name="Marie-Laure Mauborgne" userId="717f1e20-c968-4716-94d0-7143ffa6b39a" providerId="ADAL" clId="{EBB8CBFE-BCB7-4725-A132-D63A59B72226}" dt="2023-06-02T14:38:49.497" v="11180" actId="165"/>
          <ac:grpSpMkLst>
            <pc:docMk/>
            <pc:sldMk cId="2467682810" sldId="2147379104"/>
            <ac:grpSpMk id="21" creationId="{316C98F2-4187-CABF-FB91-695EFE033739}"/>
          </ac:grpSpMkLst>
        </pc:grpChg>
        <pc:picChg chg="add del mod">
          <ac:chgData name="Marie-Laure Mauborgne" userId="717f1e20-c968-4716-94d0-7143ffa6b39a" providerId="ADAL" clId="{EBB8CBFE-BCB7-4725-A132-D63A59B72226}" dt="2023-06-02T13:39:33.021" v="10702" actId="478"/>
          <ac:picMkLst>
            <pc:docMk/>
            <pc:sldMk cId="2467682810" sldId="2147379104"/>
            <ac:picMk id="6" creationId="{E23EBADA-3628-7CE3-6F7A-E1274ED5876A}"/>
          </ac:picMkLst>
        </pc:picChg>
        <pc:picChg chg="add del mod">
          <ac:chgData name="Marie-Laure Mauborgne" userId="717f1e20-c968-4716-94d0-7143ffa6b39a" providerId="ADAL" clId="{EBB8CBFE-BCB7-4725-A132-D63A59B72226}" dt="2023-06-02T14:34:44.046" v="11054" actId="478"/>
          <ac:picMkLst>
            <pc:docMk/>
            <pc:sldMk cId="2467682810" sldId="2147379104"/>
            <ac:picMk id="7" creationId="{10311F56-6689-5FE6-77DA-051DEA063395}"/>
          </ac:picMkLst>
        </pc:picChg>
        <pc:picChg chg="mod">
          <ac:chgData name="Marie-Laure Mauborgne" userId="717f1e20-c968-4716-94d0-7143ffa6b39a" providerId="ADAL" clId="{EBB8CBFE-BCB7-4725-A132-D63A59B72226}" dt="2023-06-02T14:44:56.220" v="11266" actId="1036"/>
          <ac:picMkLst>
            <pc:docMk/>
            <pc:sldMk cId="2467682810" sldId="2147379104"/>
            <ac:picMk id="12" creationId="{50A33F30-A269-0A4D-23C5-DC66A4FA53FA}"/>
          </ac:picMkLst>
        </pc:picChg>
        <pc:picChg chg="mod">
          <ac:chgData name="Marie-Laure Mauborgne" userId="717f1e20-c968-4716-94d0-7143ffa6b39a" providerId="ADAL" clId="{EBB8CBFE-BCB7-4725-A132-D63A59B72226}" dt="2023-06-02T14:38:49.497" v="11180" actId="165"/>
          <ac:picMkLst>
            <pc:docMk/>
            <pc:sldMk cId="2467682810" sldId="2147379104"/>
            <ac:picMk id="13" creationId="{21960DEF-795F-45CC-ECF0-02D82E60D453}"/>
          </ac:picMkLst>
        </pc:picChg>
        <pc:picChg chg="add mod">
          <ac:chgData name="Marie-Laure Mauborgne" userId="717f1e20-c968-4716-94d0-7143ffa6b39a" providerId="ADAL" clId="{EBB8CBFE-BCB7-4725-A132-D63A59B72226}" dt="2023-06-02T14:47:01.109" v="11269" actId="1076"/>
          <ac:picMkLst>
            <pc:docMk/>
            <pc:sldMk cId="2467682810" sldId="2147379104"/>
            <ac:picMk id="7169" creationId="{D982CA7D-B2EA-5B38-6BD7-9FCE8091728D}"/>
          </ac:picMkLst>
        </pc:picChg>
      </pc:sldChg>
      <pc:sldChg chg="modSp new del mod modShow">
        <pc:chgData name="Marie-Laure Mauborgne" userId="717f1e20-c968-4716-94d0-7143ffa6b39a" providerId="ADAL" clId="{EBB8CBFE-BCB7-4725-A132-D63A59B72226}" dt="2023-06-02T10:16:15.726" v="9673" actId="2696"/>
        <pc:sldMkLst>
          <pc:docMk/>
          <pc:sldMk cId="1876458139" sldId="2147379105"/>
        </pc:sldMkLst>
        <pc:spChg chg="mod">
          <ac:chgData name="Marie-Laure Mauborgne" userId="717f1e20-c968-4716-94d0-7143ffa6b39a" providerId="ADAL" clId="{EBB8CBFE-BCB7-4725-A132-D63A59B72226}" dt="2023-06-01T08:12:00.886" v="6775" actId="20577"/>
          <ac:spMkLst>
            <pc:docMk/>
            <pc:sldMk cId="1876458139" sldId="2147379105"/>
            <ac:spMk id="2" creationId="{6820E4DF-03DC-C4BE-1B18-6B93C8D92567}"/>
          </ac:spMkLst>
        </pc:spChg>
        <pc:spChg chg="mod">
          <ac:chgData name="Marie-Laure Mauborgne" userId="717f1e20-c968-4716-94d0-7143ffa6b39a" providerId="ADAL" clId="{EBB8CBFE-BCB7-4725-A132-D63A59B72226}" dt="2023-06-01T08:14:00.076" v="6786"/>
          <ac:spMkLst>
            <pc:docMk/>
            <pc:sldMk cId="1876458139" sldId="2147379105"/>
            <ac:spMk id="3" creationId="{21402071-90EF-B9DD-48D5-82F74F7EF5CD}"/>
          </ac:spMkLst>
        </pc:spChg>
      </pc:sldChg>
      <pc:sldChg chg="add">
        <pc:chgData name="Marie-Laure Mauborgne" userId="717f1e20-c968-4716-94d0-7143ffa6b39a" providerId="ADAL" clId="{EBB8CBFE-BCB7-4725-A132-D63A59B72226}" dt="2023-06-02T10:16:18.752" v="9674"/>
        <pc:sldMkLst>
          <pc:docMk/>
          <pc:sldMk cId="3161910199" sldId="2147379105"/>
        </pc:sldMkLst>
      </pc:sldChg>
      <pc:sldChg chg="add del">
        <pc:chgData name="Marie-Laure Mauborgne" userId="717f1e20-c968-4716-94d0-7143ffa6b39a" providerId="ADAL" clId="{EBB8CBFE-BCB7-4725-A132-D63A59B72226}" dt="2023-06-01T08:12:36.058" v="6781"/>
        <pc:sldMkLst>
          <pc:docMk/>
          <pc:sldMk cId="48716489" sldId="2147379106"/>
        </pc:sldMkLst>
      </pc:sldChg>
      <pc:sldChg chg="add del">
        <pc:chgData name="Marie-Laure Mauborgne" userId="717f1e20-c968-4716-94d0-7143ffa6b39a" providerId="ADAL" clId="{EBB8CBFE-BCB7-4725-A132-D63A59B72226}" dt="2023-06-01T08:13:43.071" v="6785"/>
        <pc:sldMkLst>
          <pc:docMk/>
          <pc:sldMk cId="120645142" sldId="2147379106"/>
        </pc:sldMkLst>
      </pc:sldChg>
      <pc:sldChg chg="addSp delSp modSp new mod modClrScheme chgLayout">
        <pc:chgData name="Marie-Laure Mauborgne" userId="717f1e20-c968-4716-94d0-7143ffa6b39a" providerId="ADAL" clId="{EBB8CBFE-BCB7-4725-A132-D63A59B72226}" dt="2023-06-02T08:32:42.596" v="7780" actId="20577"/>
        <pc:sldMkLst>
          <pc:docMk/>
          <pc:sldMk cId="2340766357" sldId="2147379106"/>
        </pc:sldMkLst>
        <pc:spChg chg="del">
          <ac:chgData name="Marie-Laure Mauborgne" userId="717f1e20-c968-4716-94d0-7143ffa6b39a" providerId="ADAL" clId="{EBB8CBFE-BCB7-4725-A132-D63A59B72226}" dt="2023-06-02T08:26:50.159" v="7588" actId="700"/>
          <ac:spMkLst>
            <pc:docMk/>
            <pc:sldMk cId="2340766357" sldId="2147379106"/>
            <ac:spMk id="2" creationId="{5C45A1D0-3094-127A-2149-EA187E19C092}"/>
          </ac:spMkLst>
        </pc:spChg>
        <pc:spChg chg="del mod ord">
          <ac:chgData name="Marie-Laure Mauborgne" userId="717f1e20-c968-4716-94d0-7143ffa6b39a" providerId="ADAL" clId="{EBB8CBFE-BCB7-4725-A132-D63A59B72226}" dt="2023-06-02T08:26:50.159" v="7588" actId="700"/>
          <ac:spMkLst>
            <pc:docMk/>
            <pc:sldMk cId="2340766357" sldId="2147379106"/>
            <ac:spMk id="3" creationId="{53175697-3687-A6DB-268F-2647B18C2BA3}"/>
          </ac:spMkLst>
        </pc:spChg>
        <pc:spChg chg="del mod ord">
          <ac:chgData name="Marie-Laure Mauborgne" userId="717f1e20-c968-4716-94d0-7143ffa6b39a" providerId="ADAL" clId="{EBB8CBFE-BCB7-4725-A132-D63A59B72226}" dt="2023-06-02T08:26:50.159" v="7588" actId="700"/>
          <ac:spMkLst>
            <pc:docMk/>
            <pc:sldMk cId="2340766357" sldId="2147379106"/>
            <ac:spMk id="4" creationId="{372A7577-E80F-1BE4-7977-32DD4CB79E70}"/>
          </ac:spMkLst>
        </pc:spChg>
        <pc:spChg chg="mod ord">
          <ac:chgData name="Marie-Laure Mauborgne" userId="717f1e20-c968-4716-94d0-7143ffa6b39a" providerId="ADAL" clId="{EBB8CBFE-BCB7-4725-A132-D63A59B72226}" dt="2023-06-02T08:27:14.257" v="7609" actId="700"/>
          <ac:spMkLst>
            <pc:docMk/>
            <pc:sldMk cId="2340766357" sldId="2147379106"/>
            <ac:spMk id="5" creationId="{D11E3C13-DD1E-43D1-89A2-59D2E4A7E9D4}"/>
          </ac:spMkLst>
        </pc:spChg>
        <pc:spChg chg="mod ord">
          <ac:chgData name="Marie-Laure Mauborgne" userId="717f1e20-c968-4716-94d0-7143ffa6b39a" providerId="ADAL" clId="{EBB8CBFE-BCB7-4725-A132-D63A59B72226}" dt="2023-06-02T08:27:14.257" v="7609" actId="700"/>
          <ac:spMkLst>
            <pc:docMk/>
            <pc:sldMk cId="2340766357" sldId="2147379106"/>
            <ac:spMk id="6" creationId="{87504938-4C1E-BC16-D35B-57CBEA3015B7}"/>
          </ac:spMkLst>
        </pc:spChg>
        <pc:spChg chg="add mod ord">
          <ac:chgData name="Marie-Laure Mauborgne" userId="717f1e20-c968-4716-94d0-7143ffa6b39a" providerId="ADAL" clId="{EBB8CBFE-BCB7-4725-A132-D63A59B72226}" dt="2023-06-02T08:27:14.257" v="7609" actId="700"/>
          <ac:spMkLst>
            <pc:docMk/>
            <pc:sldMk cId="2340766357" sldId="2147379106"/>
            <ac:spMk id="7" creationId="{035579D6-2E54-F173-52B4-D4B278EFE2AD}"/>
          </ac:spMkLst>
        </pc:spChg>
        <pc:spChg chg="add del mod ord">
          <ac:chgData name="Marie-Laure Mauborgne" userId="717f1e20-c968-4716-94d0-7143ffa6b39a" providerId="ADAL" clId="{EBB8CBFE-BCB7-4725-A132-D63A59B72226}" dt="2023-06-02T08:27:07.481" v="7608"/>
          <ac:spMkLst>
            <pc:docMk/>
            <pc:sldMk cId="2340766357" sldId="2147379106"/>
            <ac:spMk id="8" creationId="{CDE98831-EA88-11F9-5A09-561646766DB8}"/>
          </ac:spMkLst>
        </pc:spChg>
        <pc:spChg chg="add del mod ord">
          <ac:chgData name="Marie-Laure Mauborgne" userId="717f1e20-c968-4716-94d0-7143ffa6b39a" providerId="ADAL" clId="{EBB8CBFE-BCB7-4725-A132-D63A59B72226}" dt="2023-06-02T08:27:19.581" v="7611"/>
          <ac:spMkLst>
            <pc:docMk/>
            <pc:sldMk cId="2340766357" sldId="2147379106"/>
            <ac:spMk id="11" creationId="{C7DA05FA-5DA1-9768-1E2A-9F61838F092D}"/>
          </ac:spMkLst>
        </pc:spChg>
        <pc:spChg chg="add mod">
          <ac:chgData name="Marie-Laure Mauborgne" userId="717f1e20-c968-4716-94d0-7143ffa6b39a" providerId="ADAL" clId="{EBB8CBFE-BCB7-4725-A132-D63A59B72226}" dt="2023-06-02T08:32:42.596" v="7780" actId="20577"/>
          <ac:spMkLst>
            <pc:docMk/>
            <pc:sldMk cId="2340766357" sldId="2147379106"/>
            <ac:spMk id="13" creationId="{C5F86B6F-CA1C-6E0C-1315-833360958831}"/>
          </ac:spMkLst>
        </pc:spChg>
        <pc:graphicFrameChg chg="add del mod">
          <ac:chgData name="Marie-Laure Mauborgne" userId="717f1e20-c968-4716-94d0-7143ffa6b39a" providerId="ADAL" clId="{EBB8CBFE-BCB7-4725-A132-D63A59B72226}" dt="2023-06-02T08:26:59.522" v="7607"/>
          <ac:graphicFrameMkLst>
            <pc:docMk/>
            <pc:sldMk cId="2340766357" sldId="2147379106"/>
            <ac:graphicFrameMk id="9" creationId="{A8A7E18E-349C-6B1E-E1D6-9832F228EDE4}"/>
          </ac:graphicFrameMkLst>
        </pc:graphicFrameChg>
        <pc:graphicFrameChg chg="add del mod ord modGraphic">
          <ac:chgData name="Marie-Laure Mauborgne" userId="717f1e20-c968-4716-94d0-7143ffa6b39a" providerId="ADAL" clId="{EBB8CBFE-BCB7-4725-A132-D63A59B72226}" dt="2023-06-02T08:27:17.101" v="7610" actId="21"/>
          <ac:graphicFrameMkLst>
            <pc:docMk/>
            <pc:sldMk cId="2340766357" sldId="2147379106"/>
            <ac:graphicFrameMk id="10" creationId="{42389BD9-0496-F265-9C85-11B85A955032}"/>
          </ac:graphicFrameMkLst>
        </pc:graphicFrameChg>
        <pc:graphicFrameChg chg="add mod">
          <ac:chgData name="Marie-Laure Mauborgne" userId="717f1e20-c968-4716-94d0-7143ffa6b39a" providerId="ADAL" clId="{EBB8CBFE-BCB7-4725-A132-D63A59B72226}" dt="2023-06-02T08:27:19.581" v="7611"/>
          <ac:graphicFrameMkLst>
            <pc:docMk/>
            <pc:sldMk cId="2340766357" sldId="2147379106"/>
            <ac:graphicFrameMk id="14" creationId="{5CD045BF-F3BE-CB93-65BC-9FB86E9F7C6E}"/>
          </ac:graphicFrameMkLst>
        </pc:graphicFrameChg>
      </pc:sldChg>
      <pc:sldChg chg="add del">
        <pc:chgData name="Marie-Laure Mauborgne" userId="717f1e20-c968-4716-94d0-7143ffa6b39a" providerId="ADAL" clId="{EBB8CBFE-BCB7-4725-A132-D63A59B72226}" dt="2023-06-01T08:12:18.509" v="6777"/>
        <pc:sldMkLst>
          <pc:docMk/>
          <pc:sldMk cId="2354656587" sldId="2147379106"/>
        </pc:sldMkLst>
      </pc:sldChg>
      <pc:sldChg chg="add del">
        <pc:chgData name="Marie-Laure Mauborgne" userId="717f1e20-c968-4716-94d0-7143ffa6b39a" providerId="ADAL" clId="{EBB8CBFE-BCB7-4725-A132-D63A59B72226}" dt="2023-06-01T08:12:42.404" v="6783"/>
        <pc:sldMkLst>
          <pc:docMk/>
          <pc:sldMk cId="2774865031" sldId="2147379106"/>
        </pc:sldMkLst>
      </pc:sldChg>
      <pc:sldChg chg="delSp modSp add del mod">
        <pc:chgData name="Marie-Laure Mauborgne" userId="717f1e20-c968-4716-94d0-7143ffa6b39a" providerId="ADAL" clId="{EBB8CBFE-BCB7-4725-A132-D63A59B72226}" dt="2023-06-02T08:00:50.777" v="7427" actId="47"/>
        <pc:sldMkLst>
          <pc:docMk/>
          <pc:sldMk cId="3081261729" sldId="2147379106"/>
        </pc:sldMkLst>
        <pc:spChg chg="del">
          <ac:chgData name="Marie-Laure Mauborgne" userId="717f1e20-c968-4716-94d0-7143ffa6b39a" providerId="ADAL" clId="{EBB8CBFE-BCB7-4725-A132-D63A59B72226}" dt="2023-06-02T07:54:19.685" v="7310" actId="478"/>
          <ac:spMkLst>
            <pc:docMk/>
            <pc:sldMk cId="3081261729" sldId="2147379106"/>
            <ac:spMk id="2" creationId="{F60EE347-BF40-56A8-BEBC-1CFA6C3B57D4}"/>
          </ac:spMkLst>
        </pc:spChg>
        <pc:spChg chg="mod">
          <ac:chgData name="Marie-Laure Mauborgne" userId="717f1e20-c968-4716-94d0-7143ffa6b39a" providerId="ADAL" clId="{EBB8CBFE-BCB7-4725-A132-D63A59B72226}" dt="2023-06-02T07:55:02.293" v="7319" actId="14100"/>
          <ac:spMkLst>
            <pc:docMk/>
            <pc:sldMk cId="3081261729" sldId="2147379106"/>
            <ac:spMk id="4" creationId="{B180EFE7-5C20-95BF-843E-5D527EB07D46}"/>
          </ac:spMkLst>
        </pc:spChg>
        <pc:spChg chg="del">
          <ac:chgData name="Marie-Laure Mauborgne" userId="717f1e20-c968-4716-94d0-7143ffa6b39a" providerId="ADAL" clId="{EBB8CBFE-BCB7-4725-A132-D63A59B72226}" dt="2023-06-02T07:54:54.927" v="7317" actId="478"/>
          <ac:spMkLst>
            <pc:docMk/>
            <pc:sldMk cId="3081261729" sldId="2147379106"/>
            <ac:spMk id="6" creationId="{CE0E7405-D9BB-AB31-D1C6-ECD19516FFB1}"/>
          </ac:spMkLst>
        </pc:spChg>
        <pc:spChg chg="del">
          <ac:chgData name="Marie-Laure Mauborgne" userId="717f1e20-c968-4716-94d0-7143ffa6b39a" providerId="ADAL" clId="{EBB8CBFE-BCB7-4725-A132-D63A59B72226}" dt="2023-06-02T07:54:24.122" v="7311" actId="478"/>
          <ac:spMkLst>
            <pc:docMk/>
            <pc:sldMk cId="3081261729" sldId="2147379106"/>
            <ac:spMk id="7" creationId="{709F2ACF-28E8-0389-F6DF-D7F72447FA2E}"/>
          </ac:spMkLst>
        </pc:spChg>
        <pc:spChg chg="mod">
          <ac:chgData name="Marie-Laure Mauborgne" userId="717f1e20-c968-4716-94d0-7143ffa6b39a" providerId="ADAL" clId="{EBB8CBFE-BCB7-4725-A132-D63A59B72226}" dt="2023-06-02T07:54:59.500" v="7318" actId="14100"/>
          <ac:spMkLst>
            <pc:docMk/>
            <pc:sldMk cId="3081261729" sldId="2147379106"/>
            <ac:spMk id="9" creationId="{CE28FF44-9244-B466-1DCF-DDB1FE8172F6}"/>
          </ac:spMkLst>
        </pc:spChg>
        <pc:spChg chg="del">
          <ac:chgData name="Marie-Laure Mauborgne" userId="717f1e20-c968-4716-94d0-7143ffa6b39a" providerId="ADAL" clId="{EBB8CBFE-BCB7-4725-A132-D63A59B72226}" dt="2023-06-02T07:54:51.023" v="7316" actId="478"/>
          <ac:spMkLst>
            <pc:docMk/>
            <pc:sldMk cId="3081261729" sldId="2147379106"/>
            <ac:spMk id="10" creationId="{E6A408BC-274A-6671-E1B0-C7DC847B400F}"/>
          </ac:spMkLst>
        </pc:spChg>
        <pc:spChg chg="del">
          <ac:chgData name="Marie-Laure Mauborgne" userId="717f1e20-c968-4716-94d0-7143ffa6b39a" providerId="ADAL" clId="{EBB8CBFE-BCB7-4725-A132-D63A59B72226}" dt="2023-06-02T07:54:26.384" v="7312" actId="478"/>
          <ac:spMkLst>
            <pc:docMk/>
            <pc:sldMk cId="3081261729" sldId="2147379106"/>
            <ac:spMk id="11" creationId="{4A52C09B-D99B-51CE-4960-4FB0C8C6D6DE}"/>
          </ac:spMkLst>
        </pc:spChg>
        <pc:spChg chg="del mod">
          <ac:chgData name="Marie-Laure Mauborgne" userId="717f1e20-c968-4716-94d0-7143ffa6b39a" providerId="ADAL" clId="{EBB8CBFE-BCB7-4725-A132-D63A59B72226}" dt="2023-06-02T07:54:39.229" v="7314" actId="478"/>
          <ac:spMkLst>
            <pc:docMk/>
            <pc:sldMk cId="3081261729" sldId="2147379106"/>
            <ac:spMk id="12" creationId="{45A78D5E-FC20-E8B6-FCB6-4B2BFF7A46FE}"/>
          </ac:spMkLst>
        </pc:spChg>
        <pc:spChg chg="del">
          <ac:chgData name="Marie-Laure Mauborgne" userId="717f1e20-c968-4716-94d0-7143ffa6b39a" providerId="ADAL" clId="{EBB8CBFE-BCB7-4725-A132-D63A59B72226}" dt="2023-06-02T07:54:54.927" v="7317" actId="478"/>
          <ac:spMkLst>
            <pc:docMk/>
            <pc:sldMk cId="3081261729" sldId="2147379106"/>
            <ac:spMk id="14" creationId="{5118A9D1-EC17-EF26-9087-F2E9C17240D1}"/>
          </ac:spMkLst>
        </pc:spChg>
        <pc:spChg chg="mod">
          <ac:chgData name="Marie-Laure Mauborgne" userId="717f1e20-c968-4716-94d0-7143ffa6b39a" providerId="ADAL" clId="{EBB8CBFE-BCB7-4725-A132-D63A59B72226}" dt="2023-06-02T07:55:05.497" v="7320" actId="14100"/>
          <ac:spMkLst>
            <pc:docMk/>
            <pc:sldMk cId="3081261729" sldId="2147379106"/>
            <ac:spMk id="16" creationId="{6784977C-9A3F-6DA6-8139-23439978800F}"/>
          </ac:spMkLst>
        </pc:spChg>
        <pc:spChg chg="del">
          <ac:chgData name="Marie-Laure Mauborgne" userId="717f1e20-c968-4716-94d0-7143ffa6b39a" providerId="ADAL" clId="{EBB8CBFE-BCB7-4725-A132-D63A59B72226}" dt="2023-06-02T07:54:54.927" v="7317" actId="478"/>
          <ac:spMkLst>
            <pc:docMk/>
            <pc:sldMk cId="3081261729" sldId="2147379106"/>
            <ac:spMk id="17" creationId="{E46923AE-02DD-8813-F430-EFE411DF116D}"/>
          </ac:spMkLst>
        </pc:spChg>
        <pc:spChg chg="del">
          <ac:chgData name="Marie-Laure Mauborgne" userId="717f1e20-c968-4716-94d0-7143ffa6b39a" providerId="ADAL" clId="{EBB8CBFE-BCB7-4725-A132-D63A59B72226}" dt="2023-06-02T07:54:54.927" v="7317" actId="478"/>
          <ac:spMkLst>
            <pc:docMk/>
            <pc:sldMk cId="3081261729" sldId="2147379106"/>
            <ac:spMk id="20" creationId="{E9D5EC9A-B740-A646-6269-F11DBA169316}"/>
          </ac:spMkLst>
        </pc:spChg>
        <pc:spChg chg="del">
          <ac:chgData name="Marie-Laure Mauborgne" userId="717f1e20-c968-4716-94d0-7143ffa6b39a" providerId="ADAL" clId="{EBB8CBFE-BCB7-4725-A132-D63A59B72226}" dt="2023-06-02T07:54:54.927" v="7317" actId="478"/>
          <ac:spMkLst>
            <pc:docMk/>
            <pc:sldMk cId="3081261729" sldId="2147379106"/>
            <ac:spMk id="21" creationId="{A8E99B32-E46A-8C2D-4FE5-EC6FF5D46B0F}"/>
          </ac:spMkLst>
        </pc:spChg>
        <pc:spChg chg="del">
          <ac:chgData name="Marie-Laure Mauborgne" userId="717f1e20-c968-4716-94d0-7143ffa6b39a" providerId="ADAL" clId="{EBB8CBFE-BCB7-4725-A132-D63A59B72226}" dt="2023-06-02T07:54:54.927" v="7317" actId="478"/>
          <ac:spMkLst>
            <pc:docMk/>
            <pc:sldMk cId="3081261729" sldId="2147379106"/>
            <ac:spMk id="23" creationId="{50A2BBC1-6801-0B24-8ABF-FCC19C4157B1}"/>
          </ac:spMkLst>
        </pc:spChg>
        <pc:spChg chg="del">
          <ac:chgData name="Marie-Laure Mauborgne" userId="717f1e20-c968-4716-94d0-7143ffa6b39a" providerId="ADAL" clId="{EBB8CBFE-BCB7-4725-A132-D63A59B72226}" dt="2023-06-02T07:54:54.927" v="7317" actId="478"/>
          <ac:spMkLst>
            <pc:docMk/>
            <pc:sldMk cId="3081261729" sldId="2147379106"/>
            <ac:spMk id="24" creationId="{A8866418-A261-F92A-D66E-707FD2FC88F2}"/>
          </ac:spMkLst>
        </pc:spChg>
        <pc:spChg chg="del">
          <ac:chgData name="Marie-Laure Mauborgne" userId="717f1e20-c968-4716-94d0-7143ffa6b39a" providerId="ADAL" clId="{EBB8CBFE-BCB7-4725-A132-D63A59B72226}" dt="2023-06-02T07:54:54.927" v="7317" actId="478"/>
          <ac:spMkLst>
            <pc:docMk/>
            <pc:sldMk cId="3081261729" sldId="2147379106"/>
            <ac:spMk id="25" creationId="{2A80CD16-6DEE-8F1E-3C7D-A96180B68975}"/>
          </ac:spMkLst>
        </pc:spChg>
        <pc:spChg chg="del">
          <ac:chgData name="Marie-Laure Mauborgne" userId="717f1e20-c968-4716-94d0-7143ffa6b39a" providerId="ADAL" clId="{EBB8CBFE-BCB7-4725-A132-D63A59B72226}" dt="2023-06-02T07:54:54.927" v="7317" actId="478"/>
          <ac:spMkLst>
            <pc:docMk/>
            <pc:sldMk cId="3081261729" sldId="2147379106"/>
            <ac:spMk id="26" creationId="{32A7A652-ECA3-103D-8968-B5B1F145DA1A}"/>
          </ac:spMkLst>
        </pc:spChg>
        <pc:graphicFrameChg chg="del">
          <ac:chgData name="Marie-Laure Mauborgne" userId="717f1e20-c968-4716-94d0-7143ffa6b39a" providerId="ADAL" clId="{EBB8CBFE-BCB7-4725-A132-D63A59B72226}" dt="2023-06-02T07:54:44.467" v="7315" actId="478"/>
          <ac:graphicFrameMkLst>
            <pc:docMk/>
            <pc:sldMk cId="3081261729" sldId="2147379106"/>
            <ac:graphicFrameMk id="8" creationId="{B999CBD0-19D0-3658-28E2-BBA06D8F8BD6}"/>
          </ac:graphicFrameMkLst>
        </pc:graphicFrameChg>
      </pc:sldChg>
      <pc:sldChg chg="add del">
        <pc:chgData name="Marie-Laure Mauborgne" userId="717f1e20-c968-4716-94d0-7143ffa6b39a" providerId="ADAL" clId="{EBB8CBFE-BCB7-4725-A132-D63A59B72226}" dt="2023-06-01T08:12:28.564" v="6779"/>
        <pc:sldMkLst>
          <pc:docMk/>
          <pc:sldMk cId="3960180685" sldId="2147379106"/>
        </pc:sldMkLst>
      </pc:sldChg>
      <pc:sldChg chg="add del">
        <pc:chgData name="Marie-Laure Mauborgne" userId="717f1e20-c968-4716-94d0-7143ffa6b39a" providerId="ADAL" clId="{EBB8CBFE-BCB7-4725-A132-D63A59B72226}" dt="2023-06-02T08:59:34.045" v="8363"/>
        <pc:sldMkLst>
          <pc:docMk/>
          <pc:sldMk cId="2709830858" sldId="2147379107"/>
        </pc:sldMkLst>
      </pc:sldChg>
      <pc:sldChg chg="addSp modSp new mod modClrScheme modShow chgLayout">
        <pc:chgData name="Marie-Laure Mauborgne" userId="717f1e20-c968-4716-94d0-7143ffa6b39a" providerId="ADAL" clId="{EBB8CBFE-BCB7-4725-A132-D63A59B72226}" dt="2023-06-02T09:04:50.618" v="8514" actId="729"/>
        <pc:sldMkLst>
          <pc:docMk/>
          <pc:sldMk cId="4086478515" sldId="2147379107"/>
        </pc:sldMkLst>
        <pc:spChg chg="mod ord">
          <ac:chgData name="Marie-Laure Mauborgne" userId="717f1e20-c968-4716-94d0-7143ffa6b39a" providerId="ADAL" clId="{EBB8CBFE-BCB7-4725-A132-D63A59B72226}" dt="2023-06-02T09:04:44.279" v="8505" actId="700"/>
          <ac:spMkLst>
            <pc:docMk/>
            <pc:sldMk cId="4086478515" sldId="2147379107"/>
            <ac:spMk id="2" creationId="{7EA5FF7E-CC49-F176-B742-CDB71082C451}"/>
          </ac:spMkLst>
        </pc:spChg>
        <pc:spChg chg="mod ord">
          <ac:chgData name="Marie-Laure Mauborgne" userId="717f1e20-c968-4716-94d0-7143ffa6b39a" providerId="ADAL" clId="{EBB8CBFE-BCB7-4725-A132-D63A59B72226}" dt="2023-06-02T09:04:44.279" v="8505" actId="700"/>
          <ac:spMkLst>
            <pc:docMk/>
            <pc:sldMk cId="4086478515" sldId="2147379107"/>
            <ac:spMk id="3" creationId="{61277EEF-9D16-5204-C14C-3A1D682E4BA9}"/>
          </ac:spMkLst>
        </pc:spChg>
        <pc:spChg chg="add mod ord">
          <ac:chgData name="Marie-Laure Mauborgne" userId="717f1e20-c968-4716-94d0-7143ffa6b39a" providerId="ADAL" clId="{EBB8CBFE-BCB7-4725-A132-D63A59B72226}" dt="2023-06-02T09:04:47.624" v="8513" actId="5793"/>
          <ac:spMkLst>
            <pc:docMk/>
            <pc:sldMk cId="4086478515" sldId="2147379107"/>
            <ac:spMk id="4" creationId="{70C4D932-F6D9-151F-30EE-E0585C8FAF7F}"/>
          </ac:spMkLst>
        </pc:spChg>
        <pc:spChg chg="add mod ord">
          <ac:chgData name="Marie-Laure Mauborgne" userId="717f1e20-c968-4716-94d0-7143ffa6b39a" providerId="ADAL" clId="{EBB8CBFE-BCB7-4725-A132-D63A59B72226}" dt="2023-06-02T09:04:44.279" v="8505" actId="700"/>
          <ac:spMkLst>
            <pc:docMk/>
            <pc:sldMk cId="4086478515" sldId="2147379107"/>
            <ac:spMk id="5" creationId="{2AB8413B-4D54-8540-2DAA-A4D0D58933F3}"/>
          </ac:spMkLst>
        </pc:spChg>
        <pc:spChg chg="add mod ord">
          <ac:chgData name="Marie-Laure Mauborgne" userId="717f1e20-c968-4716-94d0-7143ffa6b39a" providerId="ADAL" clId="{EBB8CBFE-BCB7-4725-A132-D63A59B72226}" dt="2023-06-02T09:04:44.279" v="8505" actId="700"/>
          <ac:spMkLst>
            <pc:docMk/>
            <pc:sldMk cId="4086478515" sldId="2147379107"/>
            <ac:spMk id="6" creationId="{1EBAC992-2AE1-BBA1-BBD2-976A7F954CBD}"/>
          </ac:spMkLst>
        </pc:spChg>
      </pc:sldChg>
      <pc:sldChg chg="modSp new mod">
        <pc:chgData name="Marie-Laure Mauborgne" userId="717f1e20-c968-4716-94d0-7143ffa6b39a" providerId="ADAL" clId="{EBB8CBFE-BCB7-4725-A132-D63A59B72226}" dt="2023-06-02T13:21:50.379" v="10548" actId="115"/>
        <pc:sldMkLst>
          <pc:docMk/>
          <pc:sldMk cId="1347709972" sldId="2147379108"/>
        </pc:sldMkLst>
        <pc:spChg chg="mod">
          <ac:chgData name="Marie-Laure Mauborgne" userId="717f1e20-c968-4716-94d0-7143ffa6b39a" providerId="ADAL" clId="{EBB8CBFE-BCB7-4725-A132-D63A59B72226}" dt="2023-06-02T09:36:09.024" v="8864" actId="20577"/>
          <ac:spMkLst>
            <pc:docMk/>
            <pc:sldMk cId="1347709972" sldId="2147379108"/>
            <ac:spMk id="2" creationId="{2CA287D0-DDA9-7DF1-823A-0483DD94A232}"/>
          </ac:spMkLst>
        </pc:spChg>
        <pc:spChg chg="mod">
          <ac:chgData name="Marie-Laure Mauborgne" userId="717f1e20-c968-4716-94d0-7143ffa6b39a" providerId="ADAL" clId="{EBB8CBFE-BCB7-4725-A132-D63A59B72226}" dt="2023-06-02T13:21:50.379" v="10548" actId="115"/>
          <ac:spMkLst>
            <pc:docMk/>
            <pc:sldMk cId="1347709972" sldId="2147379108"/>
            <ac:spMk id="3" creationId="{C86B19C2-7C15-1C41-5593-032A7C56BC7A}"/>
          </ac:spMkLst>
        </pc:spChg>
      </pc:sldChg>
      <pc:sldChg chg="addSp delSp modSp add mod">
        <pc:chgData name="Marie-Laure Mauborgne" userId="717f1e20-c968-4716-94d0-7143ffa6b39a" providerId="ADAL" clId="{EBB8CBFE-BCB7-4725-A132-D63A59B72226}" dt="2023-06-02T13:00:26.666" v="10244"/>
        <pc:sldMkLst>
          <pc:docMk/>
          <pc:sldMk cId="3064770116" sldId="2147379109"/>
        </pc:sldMkLst>
        <pc:spChg chg="mod">
          <ac:chgData name="Marie-Laure Mauborgne" userId="717f1e20-c968-4716-94d0-7143ffa6b39a" providerId="ADAL" clId="{EBB8CBFE-BCB7-4725-A132-D63A59B72226}" dt="2023-06-02T12:56:23.167" v="10209" actId="20577"/>
          <ac:spMkLst>
            <pc:docMk/>
            <pc:sldMk cId="3064770116" sldId="2147379109"/>
            <ac:spMk id="3" creationId="{3ED09BC6-8943-D99C-1C53-4ECBBA630202}"/>
          </ac:spMkLst>
        </pc:spChg>
        <pc:spChg chg="del mod">
          <ac:chgData name="Marie-Laure Mauborgne" userId="717f1e20-c968-4716-94d0-7143ffa6b39a" providerId="ADAL" clId="{EBB8CBFE-BCB7-4725-A132-D63A59B72226}" dt="2023-06-02T12:57:43.449" v="10223" actId="478"/>
          <ac:spMkLst>
            <pc:docMk/>
            <pc:sldMk cId="3064770116" sldId="2147379109"/>
            <ac:spMk id="16" creationId="{93576555-AB01-572F-4C14-518E75632111}"/>
          </ac:spMkLst>
        </pc:spChg>
        <pc:spChg chg="mod">
          <ac:chgData name="Marie-Laure Mauborgne" userId="717f1e20-c968-4716-94d0-7143ffa6b39a" providerId="ADAL" clId="{EBB8CBFE-BCB7-4725-A132-D63A59B72226}" dt="2023-06-02T12:56:45.417" v="10211" actId="1036"/>
          <ac:spMkLst>
            <pc:docMk/>
            <pc:sldMk cId="3064770116" sldId="2147379109"/>
            <ac:spMk id="17" creationId="{CF9795EF-E9DD-9334-94B5-6A9F88AEB921}"/>
          </ac:spMkLst>
        </pc:spChg>
        <pc:spChg chg="add mod">
          <ac:chgData name="Marie-Laure Mauborgne" userId="717f1e20-c968-4716-94d0-7143ffa6b39a" providerId="ADAL" clId="{EBB8CBFE-BCB7-4725-A132-D63A59B72226}" dt="2023-06-02T13:00:26.666" v="10244"/>
          <ac:spMkLst>
            <pc:docMk/>
            <pc:sldMk cId="3064770116" sldId="2147379109"/>
            <ac:spMk id="30" creationId="{6C6AF550-9A60-5EA4-B27F-D2C8E84CB61A}"/>
          </ac:spMkLst>
        </pc:spChg>
        <pc:spChg chg="add mod">
          <ac:chgData name="Marie-Laure Mauborgne" userId="717f1e20-c968-4716-94d0-7143ffa6b39a" providerId="ADAL" clId="{EBB8CBFE-BCB7-4725-A132-D63A59B72226}" dt="2023-06-02T13:00:26.666" v="10244"/>
          <ac:spMkLst>
            <pc:docMk/>
            <pc:sldMk cId="3064770116" sldId="2147379109"/>
            <ac:spMk id="31" creationId="{C946A747-46ED-B93B-2EE9-435842DDDC5A}"/>
          </ac:spMkLst>
        </pc:spChg>
        <pc:graphicFrameChg chg="del modGraphic">
          <ac:chgData name="Marie-Laure Mauborgne" userId="717f1e20-c968-4716-94d0-7143ffa6b39a" providerId="ADAL" clId="{EBB8CBFE-BCB7-4725-A132-D63A59B72226}" dt="2023-06-02T12:56:11.947" v="10205" actId="478"/>
          <ac:graphicFrameMkLst>
            <pc:docMk/>
            <pc:sldMk cId="3064770116" sldId="2147379109"/>
            <ac:graphicFrameMk id="4" creationId="{50C653AD-DB4E-9BE9-DFDE-C3BA4F2AD5D9}"/>
          </ac:graphicFrameMkLst>
        </pc:graphicFrameChg>
        <pc:picChg chg="add del mod">
          <ac:chgData name="Marie-Laure Mauborgne" userId="717f1e20-c968-4716-94d0-7143ffa6b39a" providerId="ADAL" clId="{EBB8CBFE-BCB7-4725-A132-D63A59B72226}" dt="2023-06-02T12:57:39.230" v="10221" actId="478"/>
          <ac:picMkLst>
            <pc:docMk/>
            <pc:sldMk cId="3064770116" sldId="2147379109"/>
            <ac:picMk id="6" creationId="{592BDC1F-73F6-125F-CD3B-CA6B43A6DBCD}"/>
          </ac:picMkLst>
        </pc:picChg>
        <pc:picChg chg="add mod">
          <ac:chgData name="Marie-Laure Mauborgne" userId="717f1e20-c968-4716-94d0-7143ffa6b39a" providerId="ADAL" clId="{EBB8CBFE-BCB7-4725-A132-D63A59B72226}" dt="2023-06-02T12:56:45.417" v="10211" actId="1036"/>
          <ac:picMkLst>
            <pc:docMk/>
            <pc:sldMk cId="3064770116" sldId="2147379109"/>
            <ac:picMk id="8" creationId="{4BD58D41-D93F-6A48-DB30-011D5D19BB4F}"/>
          </ac:picMkLst>
        </pc:picChg>
        <pc:picChg chg="add del mod">
          <ac:chgData name="Marie-Laure Mauborgne" userId="717f1e20-c968-4716-94d0-7143ffa6b39a" providerId="ADAL" clId="{EBB8CBFE-BCB7-4725-A132-D63A59B72226}" dt="2023-06-02T12:57:37.895" v="10220" actId="478"/>
          <ac:picMkLst>
            <pc:docMk/>
            <pc:sldMk cId="3064770116" sldId="2147379109"/>
            <ac:picMk id="10" creationId="{7943B68E-6AE7-9EF7-156F-DC41319381F6}"/>
          </ac:picMkLst>
        </pc:picChg>
        <pc:picChg chg="del mod">
          <ac:chgData name="Marie-Laure Mauborgne" userId="717f1e20-c968-4716-94d0-7143ffa6b39a" providerId="ADAL" clId="{EBB8CBFE-BCB7-4725-A132-D63A59B72226}" dt="2023-06-02T12:57:40.010" v="10222" actId="478"/>
          <ac:picMkLst>
            <pc:docMk/>
            <pc:sldMk cId="3064770116" sldId="2147379109"/>
            <ac:picMk id="12" creationId="{F0962E17-B583-D384-66A7-276C4BD41AE6}"/>
          </ac:picMkLst>
        </pc:picChg>
        <pc:picChg chg="add mod">
          <ac:chgData name="Marie-Laure Mauborgne" userId="717f1e20-c968-4716-94d0-7143ffa6b39a" providerId="ADAL" clId="{EBB8CBFE-BCB7-4725-A132-D63A59B72226}" dt="2023-06-02T12:56:45.417" v="10211" actId="1036"/>
          <ac:picMkLst>
            <pc:docMk/>
            <pc:sldMk cId="3064770116" sldId="2147379109"/>
            <ac:picMk id="13" creationId="{D3A3C826-C763-0E85-27AC-A60196020849}"/>
          </ac:picMkLst>
        </pc:picChg>
        <pc:picChg chg="mod">
          <ac:chgData name="Marie-Laure Mauborgne" userId="717f1e20-c968-4716-94d0-7143ffa6b39a" providerId="ADAL" clId="{EBB8CBFE-BCB7-4725-A132-D63A59B72226}" dt="2023-06-02T12:56:45.417" v="10211" actId="1036"/>
          <ac:picMkLst>
            <pc:docMk/>
            <pc:sldMk cId="3064770116" sldId="2147379109"/>
            <ac:picMk id="14" creationId="{CD0E69FC-1B22-60A1-B138-C142F5773B78}"/>
          </ac:picMkLst>
        </pc:picChg>
        <pc:picChg chg="add del mod">
          <ac:chgData name="Marie-Laure Mauborgne" userId="717f1e20-c968-4716-94d0-7143ffa6b39a" providerId="ADAL" clId="{EBB8CBFE-BCB7-4725-A132-D63A59B72226}" dt="2023-06-02T12:37:06.725" v="10023" actId="478"/>
          <ac:picMkLst>
            <pc:docMk/>
            <pc:sldMk cId="3064770116" sldId="2147379109"/>
            <ac:picMk id="22" creationId="{88693F55-4577-866D-CBE2-D079BADE17F4}"/>
          </ac:picMkLst>
        </pc:picChg>
        <pc:picChg chg="add del mod">
          <ac:chgData name="Marie-Laure Mauborgne" userId="717f1e20-c968-4716-94d0-7143ffa6b39a" providerId="ADAL" clId="{EBB8CBFE-BCB7-4725-A132-D63A59B72226}" dt="2023-06-02T12:57:37.309" v="10219" actId="478"/>
          <ac:picMkLst>
            <pc:docMk/>
            <pc:sldMk cId="3064770116" sldId="2147379109"/>
            <ac:picMk id="24" creationId="{ABEC6A7C-865D-3B0C-25B3-2B4BAF20FDE7}"/>
          </ac:picMkLst>
        </pc:picChg>
        <pc:picChg chg="add mod">
          <ac:chgData name="Marie-Laure Mauborgne" userId="717f1e20-c968-4716-94d0-7143ffa6b39a" providerId="ADAL" clId="{EBB8CBFE-BCB7-4725-A132-D63A59B72226}" dt="2023-06-02T12:57:22.965" v="10217" actId="1037"/>
          <ac:picMkLst>
            <pc:docMk/>
            <pc:sldMk cId="3064770116" sldId="2147379109"/>
            <ac:picMk id="25" creationId="{651E1D41-3D16-91D0-D0D7-255DDD23B7AD}"/>
          </ac:picMkLst>
        </pc:picChg>
        <pc:picChg chg="add mod">
          <ac:chgData name="Marie-Laure Mauborgne" userId="717f1e20-c968-4716-94d0-7143ffa6b39a" providerId="ADAL" clId="{EBB8CBFE-BCB7-4725-A132-D63A59B72226}" dt="2023-06-02T12:58:39.001" v="10242" actId="1038"/>
          <ac:picMkLst>
            <pc:docMk/>
            <pc:sldMk cId="3064770116" sldId="2147379109"/>
            <ac:picMk id="27" creationId="{4095DCCF-4496-F099-CF0C-3FD590A61B1B}"/>
          </ac:picMkLst>
        </pc:picChg>
        <pc:cxnChg chg="add del mod">
          <ac:chgData name="Marie-Laure Mauborgne" userId="717f1e20-c968-4716-94d0-7143ffa6b39a" providerId="ADAL" clId="{EBB8CBFE-BCB7-4725-A132-D63A59B72226}" dt="2023-06-02T12:18:02.939" v="9973" actId="478"/>
          <ac:cxnSpMkLst>
            <pc:docMk/>
            <pc:sldMk cId="3064770116" sldId="2147379109"/>
            <ac:cxnSpMk id="15" creationId="{089A0F6F-15FD-8464-1ECB-74C98305FBC4}"/>
          </ac:cxnSpMkLst>
        </pc:cxnChg>
        <pc:cxnChg chg="add del mod">
          <ac:chgData name="Marie-Laure Mauborgne" userId="717f1e20-c968-4716-94d0-7143ffa6b39a" providerId="ADAL" clId="{EBB8CBFE-BCB7-4725-A132-D63A59B72226}" dt="2023-06-02T12:18:06.291" v="9974" actId="478"/>
          <ac:cxnSpMkLst>
            <pc:docMk/>
            <pc:sldMk cId="3064770116" sldId="2147379109"/>
            <ac:cxnSpMk id="18" creationId="{D9F93033-842D-D478-AAB5-501F52A7DC3D}"/>
          </ac:cxnSpMkLst>
        </pc:cxnChg>
        <pc:cxnChg chg="del mod">
          <ac:chgData name="Marie-Laure Mauborgne" userId="717f1e20-c968-4716-94d0-7143ffa6b39a" providerId="ADAL" clId="{EBB8CBFE-BCB7-4725-A132-D63A59B72226}" dt="2023-06-02T12:57:45.267" v="10224" actId="478"/>
          <ac:cxnSpMkLst>
            <pc:docMk/>
            <pc:sldMk cId="3064770116" sldId="2147379109"/>
            <ac:cxnSpMk id="19" creationId="{35CD1F43-9D53-03B0-950E-D5D9046676B5}"/>
          </ac:cxnSpMkLst>
        </pc:cxnChg>
        <pc:cxnChg chg="mod">
          <ac:chgData name="Marie-Laure Mauborgne" userId="717f1e20-c968-4716-94d0-7143ffa6b39a" providerId="ADAL" clId="{EBB8CBFE-BCB7-4725-A132-D63A59B72226}" dt="2023-06-02T12:56:45.417" v="10211" actId="1036"/>
          <ac:cxnSpMkLst>
            <pc:docMk/>
            <pc:sldMk cId="3064770116" sldId="2147379109"/>
            <ac:cxnSpMk id="20" creationId="{37EF928D-F4C4-DBB6-DAE7-546D27039E57}"/>
          </ac:cxnSpMkLst>
        </pc:cxnChg>
        <pc:cxnChg chg="add del mod">
          <ac:chgData name="Marie-Laure Mauborgne" userId="717f1e20-c968-4716-94d0-7143ffa6b39a" providerId="ADAL" clId="{EBB8CBFE-BCB7-4725-A132-D63A59B72226}" dt="2023-06-02T12:56:17.455" v="10207" actId="478"/>
          <ac:cxnSpMkLst>
            <pc:docMk/>
            <pc:sldMk cId="3064770116" sldId="2147379109"/>
            <ac:cxnSpMk id="28" creationId="{9A1BC7BB-787B-3A04-73BD-CC44D457233D}"/>
          </ac:cxnSpMkLst>
        </pc:cxnChg>
        <pc:cxnChg chg="add del mod">
          <ac:chgData name="Marie-Laure Mauborgne" userId="717f1e20-c968-4716-94d0-7143ffa6b39a" providerId="ADAL" clId="{EBB8CBFE-BCB7-4725-A132-D63A59B72226}" dt="2023-06-02T12:56:19.949" v="10208" actId="478"/>
          <ac:cxnSpMkLst>
            <pc:docMk/>
            <pc:sldMk cId="3064770116" sldId="2147379109"/>
            <ac:cxnSpMk id="29" creationId="{E43ACE41-9FA6-A42D-5C04-E8F4E6ABC81D}"/>
          </ac:cxnSpMkLst>
        </pc:cxnChg>
      </pc:sldChg>
      <pc:sldChg chg="addSp delSp modSp add mod modAnim">
        <pc:chgData name="Marie-Laure Mauborgne" userId="717f1e20-c968-4716-94d0-7143ffa6b39a" providerId="ADAL" clId="{EBB8CBFE-BCB7-4725-A132-D63A59B72226}" dt="2023-06-02T13:13:48.168" v="10406" actId="313"/>
        <pc:sldMkLst>
          <pc:docMk/>
          <pc:sldMk cId="2220629317" sldId="2147379110"/>
        </pc:sldMkLst>
        <pc:spChg chg="mod">
          <ac:chgData name="Marie-Laure Mauborgne" userId="717f1e20-c968-4716-94d0-7143ffa6b39a" providerId="ADAL" clId="{EBB8CBFE-BCB7-4725-A132-D63A59B72226}" dt="2023-06-02T13:13:48.168" v="10406" actId="313"/>
          <ac:spMkLst>
            <pc:docMk/>
            <pc:sldMk cId="2220629317" sldId="2147379110"/>
            <ac:spMk id="3" creationId="{3ED09BC6-8943-D99C-1C53-4ECBBA630202}"/>
          </ac:spMkLst>
        </pc:spChg>
        <pc:spChg chg="mod">
          <ac:chgData name="Marie-Laure Mauborgne" userId="717f1e20-c968-4716-94d0-7143ffa6b39a" providerId="ADAL" clId="{EBB8CBFE-BCB7-4725-A132-D63A59B72226}" dt="2023-06-02T12:57:58.392" v="10231" actId="1037"/>
          <ac:spMkLst>
            <pc:docMk/>
            <pc:sldMk cId="2220629317" sldId="2147379110"/>
            <ac:spMk id="16" creationId="{93576555-AB01-572F-4C14-518E75632111}"/>
          </ac:spMkLst>
        </pc:spChg>
        <pc:picChg chg="del">
          <ac:chgData name="Marie-Laure Mauborgne" userId="717f1e20-c968-4716-94d0-7143ffa6b39a" providerId="ADAL" clId="{EBB8CBFE-BCB7-4725-A132-D63A59B72226}" dt="2023-06-02T12:52:34.773" v="10167" actId="478"/>
          <ac:picMkLst>
            <pc:docMk/>
            <pc:sldMk cId="2220629317" sldId="2147379110"/>
            <ac:picMk id="6" creationId="{592BDC1F-73F6-125F-CD3B-CA6B43A6DBCD}"/>
          </ac:picMkLst>
        </pc:picChg>
        <pc:picChg chg="add mod ord">
          <ac:chgData name="Marie-Laure Mauborgne" userId="717f1e20-c968-4716-94d0-7143ffa6b39a" providerId="ADAL" clId="{EBB8CBFE-BCB7-4725-A132-D63A59B72226}" dt="2023-06-02T12:57:58.392" v="10231" actId="1037"/>
          <ac:picMkLst>
            <pc:docMk/>
            <pc:sldMk cId="2220629317" sldId="2147379110"/>
            <ac:picMk id="7" creationId="{9F3CE9FD-8D7E-BEB1-349D-4E32780FC8C3}"/>
          </ac:picMkLst>
        </pc:picChg>
        <pc:picChg chg="del">
          <ac:chgData name="Marie-Laure Mauborgne" userId="717f1e20-c968-4716-94d0-7143ffa6b39a" providerId="ADAL" clId="{EBB8CBFE-BCB7-4725-A132-D63A59B72226}" dt="2023-06-02T12:54:16.916" v="10180" actId="478"/>
          <ac:picMkLst>
            <pc:docMk/>
            <pc:sldMk cId="2220629317" sldId="2147379110"/>
            <ac:picMk id="8" creationId="{4BD58D41-D93F-6A48-DB30-011D5D19BB4F}"/>
          </ac:picMkLst>
        </pc:picChg>
        <pc:picChg chg="del">
          <ac:chgData name="Marie-Laure Mauborgne" userId="717f1e20-c968-4716-94d0-7143ffa6b39a" providerId="ADAL" clId="{EBB8CBFE-BCB7-4725-A132-D63A59B72226}" dt="2023-06-02T12:52:33.565" v="10166" actId="478"/>
          <ac:picMkLst>
            <pc:docMk/>
            <pc:sldMk cId="2220629317" sldId="2147379110"/>
            <ac:picMk id="10" creationId="{7943B68E-6AE7-9EF7-156F-DC41319381F6}"/>
          </ac:picMkLst>
        </pc:picChg>
        <pc:picChg chg="add mod ord">
          <ac:chgData name="Marie-Laure Mauborgne" userId="717f1e20-c968-4716-94d0-7143ffa6b39a" providerId="ADAL" clId="{EBB8CBFE-BCB7-4725-A132-D63A59B72226}" dt="2023-06-02T12:54:13.386" v="10177" actId="167"/>
          <ac:picMkLst>
            <pc:docMk/>
            <pc:sldMk cId="2220629317" sldId="2147379110"/>
            <ac:picMk id="11" creationId="{9BF21033-221D-C072-CEB3-FF87618F466C}"/>
          </ac:picMkLst>
        </pc:picChg>
        <pc:picChg chg="del">
          <ac:chgData name="Marie-Laure Mauborgne" userId="717f1e20-c968-4716-94d0-7143ffa6b39a" providerId="ADAL" clId="{EBB8CBFE-BCB7-4725-A132-D63A59B72226}" dt="2023-06-02T12:52:35.833" v="10168" actId="478"/>
          <ac:picMkLst>
            <pc:docMk/>
            <pc:sldMk cId="2220629317" sldId="2147379110"/>
            <ac:picMk id="12" creationId="{F0962E17-B583-D384-66A7-276C4BD41AE6}"/>
          </ac:picMkLst>
        </pc:picChg>
        <pc:picChg chg="del">
          <ac:chgData name="Marie-Laure Mauborgne" userId="717f1e20-c968-4716-94d0-7143ffa6b39a" providerId="ADAL" clId="{EBB8CBFE-BCB7-4725-A132-D63A59B72226}" dt="2023-06-02T12:54:16.105" v="10179" actId="478"/>
          <ac:picMkLst>
            <pc:docMk/>
            <pc:sldMk cId="2220629317" sldId="2147379110"/>
            <ac:picMk id="13" creationId="{D3A3C826-C763-0E85-27AC-A60196020849}"/>
          </ac:picMkLst>
        </pc:picChg>
        <pc:picChg chg="del">
          <ac:chgData name="Marie-Laure Mauborgne" userId="717f1e20-c968-4716-94d0-7143ffa6b39a" providerId="ADAL" clId="{EBB8CBFE-BCB7-4725-A132-D63A59B72226}" dt="2023-06-02T12:54:18.269" v="10181" actId="478"/>
          <ac:picMkLst>
            <pc:docMk/>
            <pc:sldMk cId="2220629317" sldId="2147379110"/>
            <ac:picMk id="14" creationId="{CD0E69FC-1B22-60A1-B138-C142F5773B78}"/>
          </ac:picMkLst>
        </pc:picChg>
        <pc:picChg chg="del">
          <ac:chgData name="Marie-Laure Mauborgne" userId="717f1e20-c968-4716-94d0-7143ffa6b39a" providerId="ADAL" clId="{EBB8CBFE-BCB7-4725-A132-D63A59B72226}" dt="2023-06-02T12:52:32.209" v="10165" actId="478"/>
          <ac:picMkLst>
            <pc:docMk/>
            <pc:sldMk cId="2220629317" sldId="2147379110"/>
            <ac:picMk id="24" creationId="{ABEC6A7C-865D-3B0C-25B3-2B4BAF20FDE7}"/>
          </ac:picMkLst>
        </pc:picChg>
        <pc:picChg chg="del">
          <ac:chgData name="Marie-Laure Mauborgne" userId="717f1e20-c968-4716-94d0-7143ffa6b39a" providerId="ADAL" clId="{EBB8CBFE-BCB7-4725-A132-D63A59B72226}" dt="2023-06-02T12:54:14.681" v="10178" actId="478"/>
          <ac:picMkLst>
            <pc:docMk/>
            <pc:sldMk cId="2220629317" sldId="2147379110"/>
            <ac:picMk id="25" creationId="{651E1D41-3D16-91D0-D0D7-255DDD23B7AD}"/>
          </ac:picMkLst>
        </pc:picChg>
        <pc:picChg chg="del">
          <ac:chgData name="Marie-Laure Mauborgne" userId="717f1e20-c968-4716-94d0-7143ffa6b39a" providerId="ADAL" clId="{EBB8CBFE-BCB7-4725-A132-D63A59B72226}" dt="2023-06-02T12:52:31.045" v="10164" actId="478"/>
          <ac:picMkLst>
            <pc:docMk/>
            <pc:sldMk cId="2220629317" sldId="2147379110"/>
            <ac:picMk id="27" creationId="{4095DCCF-4496-F099-CF0C-3FD590A61B1B}"/>
          </ac:picMkLst>
        </pc:picChg>
        <pc:cxnChg chg="del">
          <ac:chgData name="Marie-Laure Mauborgne" userId="717f1e20-c968-4716-94d0-7143ffa6b39a" providerId="ADAL" clId="{EBB8CBFE-BCB7-4725-A132-D63A59B72226}" dt="2023-06-02T12:52:39.929" v="10169" actId="478"/>
          <ac:cxnSpMkLst>
            <pc:docMk/>
            <pc:sldMk cId="2220629317" sldId="2147379110"/>
            <ac:cxnSpMk id="19" creationId="{35CD1F43-9D53-03B0-950E-D5D9046676B5}"/>
          </ac:cxnSpMkLst>
        </pc:cxnChg>
        <pc:cxnChg chg="del">
          <ac:chgData name="Marie-Laure Mauborgne" userId="717f1e20-c968-4716-94d0-7143ffa6b39a" providerId="ADAL" clId="{EBB8CBFE-BCB7-4725-A132-D63A59B72226}" dt="2023-06-02T12:54:47.987" v="10185" actId="478"/>
          <ac:cxnSpMkLst>
            <pc:docMk/>
            <pc:sldMk cId="2220629317" sldId="2147379110"/>
            <ac:cxnSpMk id="20" creationId="{37EF928D-F4C4-DBB6-DAE7-546D27039E57}"/>
          </ac:cxnSpMkLst>
        </pc:cxnChg>
        <pc:cxnChg chg="mod">
          <ac:chgData name="Marie-Laure Mauborgne" userId="717f1e20-c968-4716-94d0-7143ffa6b39a" providerId="ADAL" clId="{EBB8CBFE-BCB7-4725-A132-D63A59B72226}" dt="2023-06-02T12:57:58.392" v="10231" actId="1037"/>
          <ac:cxnSpMkLst>
            <pc:docMk/>
            <pc:sldMk cId="2220629317" sldId="2147379110"/>
            <ac:cxnSpMk id="28" creationId="{9A1BC7BB-787B-3A04-73BD-CC44D457233D}"/>
          </ac:cxnSpMkLst>
        </pc:cxnChg>
        <pc:cxnChg chg="mod">
          <ac:chgData name="Marie-Laure Mauborgne" userId="717f1e20-c968-4716-94d0-7143ffa6b39a" providerId="ADAL" clId="{EBB8CBFE-BCB7-4725-A132-D63A59B72226}" dt="2023-06-02T12:55:07.861" v="10190" actId="1036"/>
          <ac:cxnSpMkLst>
            <pc:docMk/>
            <pc:sldMk cId="2220629317" sldId="2147379110"/>
            <ac:cxnSpMk id="29" creationId="{E43ACE41-9FA6-A42D-5C04-E8F4E6ABC81D}"/>
          </ac:cxnSpMkLst>
        </pc:cxnChg>
      </pc:sldChg>
      <pc:sldChg chg="addSp modSp add mod">
        <pc:chgData name="Marie-Laure Mauborgne" userId="717f1e20-c968-4716-94d0-7143ffa6b39a" providerId="ADAL" clId="{EBB8CBFE-BCB7-4725-A132-D63A59B72226}" dt="2023-06-02T14:44:45.329" v="11265" actId="1036"/>
        <pc:sldMkLst>
          <pc:docMk/>
          <pc:sldMk cId="3435401549" sldId="2147379111"/>
        </pc:sldMkLst>
        <pc:spChg chg="mod">
          <ac:chgData name="Marie-Laure Mauborgne" userId="717f1e20-c968-4716-94d0-7143ffa6b39a" providerId="ADAL" clId="{EBB8CBFE-BCB7-4725-A132-D63A59B72226}" dt="2023-06-02T13:44:52.994" v="10740" actId="20577"/>
          <ac:spMkLst>
            <pc:docMk/>
            <pc:sldMk cId="3435401549" sldId="2147379111"/>
            <ac:spMk id="3" creationId="{C32055E2-1ED1-8228-F711-FF847C0DCEFF}"/>
          </ac:spMkLst>
        </pc:spChg>
        <pc:spChg chg="mod">
          <ac:chgData name="Marie-Laure Mauborgne" userId="717f1e20-c968-4716-94d0-7143ffa6b39a" providerId="ADAL" clId="{EBB8CBFE-BCB7-4725-A132-D63A59B72226}" dt="2023-06-02T14:16:19.271" v="11027" actId="14100"/>
          <ac:spMkLst>
            <pc:docMk/>
            <pc:sldMk cId="3435401549" sldId="2147379111"/>
            <ac:spMk id="8" creationId="{3009BCE5-51E6-F812-C237-F18F949F1D6D}"/>
          </ac:spMkLst>
        </pc:spChg>
        <pc:spChg chg="mod">
          <ac:chgData name="Marie-Laure Mauborgne" userId="717f1e20-c968-4716-94d0-7143ffa6b39a" providerId="ADAL" clId="{EBB8CBFE-BCB7-4725-A132-D63A59B72226}" dt="2023-06-02T14:33:32.019" v="11039" actId="164"/>
          <ac:spMkLst>
            <pc:docMk/>
            <pc:sldMk cId="3435401549" sldId="2147379111"/>
            <ac:spMk id="9" creationId="{9BAFFA1A-332B-0487-9C93-5138CA99C96D}"/>
          </ac:spMkLst>
        </pc:spChg>
        <pc:spChg chg="mod">
          <ac:chgData name="Marie-Laure Mauborgne" userId="717f1e20-c968-4716-94d0-7143ffa6b39a" providerId="ADAL" clId="{EBB8CBFE-BCB7-4725-A132-D63A59B72226}" dt="2023-06-02T14:39:27.009" v="11186" actId="14100"/>
          <ac:spMkLst>
            <pc:docMk/>
            <pc:sldMk cId="3435401549" sldId="2147379111"/>
            <ac:spMk id="31" creationId="{7325E9B5-7843-C17E-A6D2-B01A22DC092B}"/>
          </ac:spMkLst>
        </pc:spChg>
        <pc:spChg chg="mod">
          <ac:chgData name="Marie-Laure Mauborgne" userId="717f1e20-c968-4716-94d0-7143ffa6b39a" providerId="ADAL" clId="{EBB8CBFE-BCB7-4725-A132-D63A59B72226}" dt="2023-06-02T14:39:14.842" v="11185"/>
          <ac:spMkLst>
            <pc:docMk/>
            <pc:sldMk cId="3435401549" sldId="2147379111"/>
            <ac:spMk id="32" creationId="{BE2B7FF0-A767-1C17-4021-B97104D9348E}"/>
          </ac:spMkLst>
        </pc:spChg>
        <pc:spChg chg="mod">
          <ac:chgData name="Marie-Laure Mauborgne" userId="717f1e20-c968-4716-94d0-7143ffa6b39a" providerId="ADAL" clId="{EBB8CBFE-BCB7-4725-A132-D63A59B72226}" dt="2023-06-02T14:39:14.842" v="11185"/>
          <ac:spMkLst>
            <pc:docMk/>
            <pc:sldMk cId="3435401549" sldId="2147379111"/>
            <ac:spMk id="33" creationId="{AAB7504A-FCBD-CFEE-CB1F-D7730C69C368}"/>
          </ac:spMkLst>
        </pc:spChg>
        <pc:spChg chg="mod">
          <ac:chgData name="Marie-Laure Mauborgne" userId="717f1e20-c968-4716-94d0-7143ffa6b39a" providerId="ADAL" clId="{EBB8CBFE-BCB7-4725-A132-D63A59B72226}" dt="2023-06-02T14:39:14.842" v="11185"/>
          <ac:spMkLst>
            <pc:docMk/>
            <pc:sldMk cId="3435401549" sldId="2147379111"/>
            <ac:spMk id="34" creationId="{2C2DF0FD-772B-26F5-E240-2A19E6B105B6}"/>
          </ac:spMkLst>
        </pc:spChg>
        <pc:grpChg chg="add mod">
          <ac:chgData name="Marie-Laure Mauborgne" userId="717f1e20-c968-4716-94d0-7143ffa6b39a" providerId="ADAL" clId="{EBB8CBFE-BCB7-4725-A132-D63A59B72226}" dt="2023-06-02T14:44:36.399" v="11263" actId="14100"/>
          <ac:grpSpMkLst>
            <pc:docMk/>
            <pc:sldMk cId="3435401549" sldId="2147379111"/>
            <ac:grpSpMk id="25" creationId="{F97CE27F-DD5B-6FF4-1E8E-712C7A682E4B}"/>
          </ac:grpSpMkLst>
        </pc:grpChg>
        <pc:grpChg chg="add mod">
          <ac:chgData name="Marie-Laure Mauborgne" userId="717f1e20-c968-4716-94d0-7143ffa6b39a" providerId="ADAL" clId="{EBB8CBFE-BCB7-4725-A132-D63A59B72226}" dt="2023-06-02T14:33:37.012" v="11040" actId="164"/>
          <ac:grpSpMkLst>
            <pc:docMk/>
            <pc:sldMk cId="3435401549" sldId="2147379111"/>
            <ac:grpSpMk id="28" creationId="{B494809F-2BF3-16A2-2F3B-B3FE775C92D7}"/>
          </ac:grpSpMkLst>
        </pc:grpChg>
        <pc:grpChg chg="add mod">
          <ac:chgData name="Marie-Laure Mauborgne" userId="717f1e20-c968-4716-94d0-7143ffa6b39a" providerId="ADAL" clId="{EBB8CBFE-BCB7-4725-A132-D63A59B72226}" dt="2023-06-02T14:44:41.155" v="11264" actId="14100"/>
          <ac:grpSpMkLst>
            <pc:docMk/>
            <pc:sldMk cId="3435401549" sldId="2147379111"/>
            <ac:grpSpMk id="29" creationId="{C45EA717-6FBE-A33F-F625-82D82D878848}"/>
          </ac:grpSpMkLst>
        </pc:grpChg>
        <pc:grpChg chg="add mod">
          <ac:chgData name="Marie-Laure Mauborgne" userId="717f1e20-c968-4716-94d0-7143ffa6b39a" providerId="ADAL" clId="{EBB8CBFE-BCB7-4725-A132-D63A59B72226}" dt="2023-06-02T14:39:32.017" v="11187" actId="1076"/>
          <ac:grpSpMkLst>
            <pc:docMk/>
            <pc:sldMk cId="3435401549" sldId="2147379111"/>
            <ac:grpSpMk id="30" creationId="{A5163012-9365-6E5D-DF78-A44A1F70E5AC}"/>
          </ac:grpSpMkLst>
        </pc:grpChg>
        <pc:picChg chg="mod modCrop">
          <ac:chgData name="Marie-Laure Mauborgne" userId="717f1e20-c968-4716-94d0-7143ffa6b39a" providerId="ADAL" clId="{EBB8CBFE-BCB7-4725-A132-D63A59B72226}" dt="2023-06-02T14:16:12.587" v="11025" actId="164"/>
          <ac:picMkLst>
            <pc:docMk/>
            <pc:sldMk cId="3435401549" sldId="2147379111"/>
            <ac:picMk id="6" creationId="{E23EBADA-3628-7CE3-6F7A-E1274ED5876A}"/>
          </ac:picMkLst>
        </pc:picChg>
        <pc:picChg chg="mod modCrop">
          <ac:chgData name="Marie-Laure Mauborgne" userId="717f1e20-c968-4716-94d0-7143ffa6b39a" providerId="ADAL" clId="{EBB8CBFE-BCB7-4725-A132-D63A59B72226}" dt="2023-06-02T14:33:32.019" v="11039" actId="164"/>
          <ac:picMkLst>
            <pc:docMk/>
            <pc:sldMk cId="3435401549" sldId="2147379111"/>
            <ac:picMk id="7" creationId="{10311F56-6689-5FE6-77DA-051DEA063395}"/>
          </ac:picMkLst>
        </pc:picChg>
        <pc:picChg chg="add mod modCrop">
          <ac:chgData name="Marie-Laure Mauborgne" userId="717f1e20-c968-4716-94d0-7143ffa6b39a" providerId="ADAL" clId="{EBB8CBFE-BCB7-4725-A132-D63A59B72226}" dt="2023-06-02T14:16:12.587" v="11025" actId="164"/>
          <ac:picMkLst>
            <pc:docMk/>
            <pc:sldMk cId="3435401549" sldId="2147379111"/>
            <ac:picMk id="11" creationId="{3035B542-C385-496E-ADAC-FF48FB09101A}"/>
          </ac:picMkLst>
        </pc:picChg>
        <pc:picChg chg="add mod">
          <ac:chgData name="Marie-Laure Mauborgne" userId="717f1e20-c968-4716-94d0-7143ffa6b39a" providerId="ADAL" clId="{EBB8CBFE-BCB7-4725-A132-D63A59B72226}" dt="2023-06-02T14:44:45.329" v="11265" actId="1036"/>
          <ac:picMkLst>
            <pc:docMk/>
            <pc:sldMk cId="3435401549" sldId="2147379111"/>
            <ac:picMk id="27" creationId="{4F7995BD-0BB4-7167-CCE7-14DEAEFAA4D9}"/>
          </ac:picMkLst>
        </pc:picChg>
        <pc:cxnChg chg="add mod">
          <ac:chgData name="Marie-Laure Mauborgne" userId="717f1e20-c968-4716-94d0-7143ffa6b39a" providerId="ADAL" clId="{EBB8CBFE-BCB7-4725-A132-D63A59B72226}" dt="2023-06-02T14:16:12.587" v="11025" actId="164"/>
          <ac:cxnSpMkLst>
            <pc:docMk/>
            <pc:sldMk cId="3435401549" sldId="2147379111"/>
            <ac:cxnSpMk id="13" creationId="{3881D3C9-AB5C-41B3-596E-9DD349986AD0}"/>
          </ac:cxnSpMkLst>
        </pc:cxnChg>
        <pc:cxnChg chg="add mod">
          <ac:chgData name="Marie-Laure Mauborgne" userId="717f1e20-c968-4716-94d0-7143ffa6b39a" providerId="ADAL" clId="{EBB8CBFE-BCB7-4725-A132-D63A59B72226}" dt="2023-06-02T14:16:12.587" v="11025" actId="164"/>
          <ac:cxnSpMkLst>
            <pc:docMk/>
            <pc:sldMk cId="3435401549" sldId="2147379111"/>
            <ac:cxnSpMk id="14" creationId="{21B275D7-36CD-C2C4-6FF7-CEDA1B435DBB}"/>
          </ac:cxnSpMkLst>
        </pc:cxnChg>
        <pc:cxnChg chg="add mod">
          <ac:chgData name="Marie-Laure Mauborgne" userId="717f1e20-c968-4716-94d0-7143ffa6b39a" providerId="ADAL" clId="{EBB8CBFE-BCB7-4725-A132-D63A59B72226}" dt="2023-06-02T14:16:12.587" v="11025" actId="164"/>
          <ac:cxnSpMkLst>
            <pc:docMk/>
            <pc:sldMk cId="3435401549" sldId="2147379111"/>
            <ac:cxnSpMk id="15" creationId="{468E8A67-670D-FE3D-FB72-4B5770A58ACA}"/>
          </ac:cxnSpMkLst>
        </pc:cxnChg>
        <pc:cxnChg chg="add mod">
          <ac:chgData name="Marie-Laure Mauborgne" userId="717f1e20-c968-4716-94d0-7143ffa6b39a" providerId="ADAL" clId="{EBB8CBFE-BCB7-4725-A132-D63A59B72226}" dt="2023-06-02T14:16:12.587" v="11025" actId="164"/>
          <ac:cxnSpMkLst>
            <pc:docMk/>
            <pc:sldMk cId="3435401549" sldId="2147379111"/>
            <ac:cxnSpMk id="18" creationId="{D75B376A-9AA3-A27E-8D24-575931D66875}"/>
          </ac:cxnSpMkLst>
        </pc:cxnChg>
        <pc:cxnChg chg="add mod">
          <ac:chgData name="Marie-Laure Mauborgne" userId="717f1e20-c968-4716-94d0-7143ffa6b39a" providerId="ADAL" clId="{EBB8CBFE-BCB7-4725-A132-D63A59B72226}" dt="2023-06-02T14:16:12.587" v="11025" actId="164"/>
          <ac:cxnSpMkLst>
            <pc:docMk/>
            <pc:sldMk cId="3435401549" sldId="2147379111"/>
            <ac:cxnSpMk id="19" creationId="{278D065B-57AA-EA4D-E300-ADB1FBFF929B}"/>
          </ac:cxnSpMkLst>
        </pc:cxnChg>
        <pc:cxnChg chg="add mod">
          <ac:chgData name="Marie-Laure Mauborgne" userId="717f1e20-c968-4716-94d0-7143ffa6b39a" providerId="ADAL" clId="{EBB8CBFE-BCB7-4725-A132-D63A59B72226}" dt="2023-06-02T14:16:12.587" v="11025" actId="164"/>
          <ac:cxnSpMkLst>
            <pc:docMk/>
            <pc:sldMk cId="3435401549" sldId="2147379111"/>
            <ac:cxnSpMk id="20" creationId="{E3918BC9-D605-E9F6-2991-E4FBC263B64F}"/>
          </ac:cxnSpMkLst>
        </pc:cxnChg>
        <pc:cxnChg chg="add mod">
          <ac:chgData name="Marie-Laure Mauborgne" userId="717f1e20-c968-4716-94d0-7143ffa6b39a" providerId="ADAL" clId="{EBB8CBFE-BCB7-4725-A132-D63A59B72226}" dt="2023-06-02T14:16:12.587" v="11025" actId="164"/>
          <ac:cxnSpMkLst>
            <pc:docMk/>
            <pc:sldMk cId="3435401549" sldId="2147379111"/>
            <ac:cxnSpMk id="21" creationId="{05293E10-9475-1B9D-C346-DB1D12EA4BB7}"/>
          </ac:cxnSpMkLst>
        </pc:cxnChg>
        <pc:cxnChg chg="add mod">
          <ac:chgData name="Marie-Laure Mauborgne" userId="717f1e20-c968-4716-94d0-7143ffa6b39a" providerId="ADAL" clId="{EBB8CBFE-BCB7-4725-A132-D63A59B72226}" dt="2023-06-02T14:16:12.587" v="11025" actId="164"/>
          <ac:cxnSpMkLst>
            <pc:docMk/>
            <pc:sldMk cId="3435401549" sldId="2147379111"/>
            <ac:cxnSpMk id="22" creationId="{03663E2B-0F58-8BB1-B2BF-CFB70B81E8E4}"/>
          </ac:cxnSpMkLst>
        </pc:cxnChg>
        <pc:cxnChg chg="add mod">
          <ac:chgData name="Marie-Laure Mauborgne" userId="717f1e20-c968-4716-94d0-7143ffa6b39a" providerId="ADAL" clId="{EBB8CBFE-BCB7-4725-A132-D63A59B72226}" dt="2023-06-02T14:16:31.585" v="11030" actId="1037"/>
          <ac:cxnSpMkLst>
            <pc:docMk/>
            <pc:sldMk cId="3435401549" sldId="2147379111"/>
            <ac:cxnSpMk id="23" creationId="{E607CBA9-59CB-899B-35FD-2A4E3F5DD943}"/>
          </ac:cxnSpMkLst>
        </pc:cxnChg>
        <pc:cxnChg chg="add mod">
          <ac:chgData name="Marie-Laure Mauborgne" userId="717f1e20-c968-4716-94d0-7143ffa6b39a" providerId="ADAL" clId="{EBB8CBFE-BCB7-4725-A132-D63A59B72226}" dt="2023-06-02T14:16:12.587" v="11025" actId="164"/>
          <ac:cxnSpMkLst>
            <pc:docMk/>
            <pc:sldMk cId="3435401549" sldId="2147379111"/>
            <ac:cxnSpMk id="24" creationId="{261FC50D-3261-BDAF-C6EF-7FB8CC690F7F}"/>
          </ac:cxnSpMkLst>
        </pc:cxnChg>
      </pc:sldChg>
      <pc:sldChg chg="addSp delSp modSp add mod">
        <pc:chgData name="Marie-Laure Mauborgne" userId="717f1e20-c968-4716-94d0-7143ffa6b39a" providerId="ADAL" clId="{EBB8CBFE-BCB7-4725-A132-D63A59B72226}" dt="2023-06-02T14:47:13.352" v="11271" actId="14100"/>
        <pc:sldMkLst>
          <pc:docMk/>
          <pc:sldMk cId="889586708" sldId="2147379112"/>
        </pc:sldMkLst>
        <pc:spChg chg="mod">
          <ac:chgData name="Marie-Laure Mauborgne" userId="717f1e20-c968-4716-94d0-7143ffa6b39a" providerId="ADAL" clId="{EBB8CBFE-BCB7-4725-A132-D63A59B72226}" dt="2023-06-02T13:44:08.219" v="10724" actId="20577"/>
          <ac:spMkLst>
            <pc:docMk/>
            <pc:sldMk cId="889586708" sldId="2147379112"/>
            <ac:spMk id="3" creationId="{C32055E2-1ED1-8228-F711-FF847C0DCEFF}"/>
          </ac:spMkLst>
        </pc:spChg>
        <pc:spChg chg="del">
          <ac:chgData name="Marie-Laure Mauborgne" userId="717f1e20-c968-4716-94d0-7143ffa6b39a" providerId="ADAL" clId="{EBB8CBFE-BCB7-4725-A132-D63A59B72226}" dt="2023-06-02T13:39:56.026" v="10705" actId="478"/>
          <ac:spMkLst>
            <pc:docMk/>
            <pc:sldMk cId="889586708" sldId="2147379112"/>
            <ac:spMk id="5" creationId="{5CF84B41-87E2-BBB0-192B-4CE9E5B01309}"/>
          </ac:spMkLst>
        </pc:spChg>
        <pc:spChg chg="del mod">
          <ac:chgData name="Marie-Laure Mauborgne" userId="717f1e20-c968-4716-94d0-7143ffa6b39a" providerId="ADAL" clId="{EBB8CBFE-BCB7-4725-A132-D63A59B72226}" dt="2023-06-02T14:34:05.543" v="11046" actId="478"/>
          <ac:spMkLst>
            <pc:docMk/>
            <pc:sldMk cId="889586708" sldId="2147379112"/>
            <ac:spMk id="8" creationId="{3009BCE5-51E6-F812-C237-F18F949F1D6D}"/>
          </ac:spMkLst>
        </pc:spChg>
        <pc:spChg chg="del">
          <ac:chgData name="Marie-Laure Mauborgne" userId="717f1e20-c968-4716-94d0-7143ffa6b39a" providerId="ADAL" clId="{EBB8CBFE-BCB7-4725-A132-D63A59B72226}" dt="2023-06-02T13:39:56.026" v="10705" actId="478"/>
          <ac:spMkLst>
            <pc:docMk/>
            <pc:sldMk cId="889586708" sldId="2147379112"/>
            <ac:spMk id="9" creationId="{9BAFFA1A-332B-0487-9C93-5138CA99C96D}"/>
          </ac:spMkLst>
        </pc:spChg>
        <pc:spChg chg="mod">
          <ac:chgData name="Marie-Laure Mauborgne" userId="717f1e20-c968-4716-94d0-7143ffa6b39a" providerId="ADAL" clId="{EBB8CBFE-BCB7-4725-A132-D63A59B72226}" dt="2023-06-02T14:33:53.906" v="11043"/>
          <ac:spMkLst>
            <pc:docMk/>
            <pc:sldMk cId="889586708" sldId="2147379112"/>
            <ac:spMk id="12" creationId="{336A5EF5-0654-2E5A-260F-948232D082C6}"/>
          </ac:spMkLst>
        </pc:spChg>
        <pc:spChg chg="mod">
          <ac:chgData name="Marie-Laure Mauborgne" userId="717f1e20-c968-4716-94d0-7143ffa6b39a" providerId="ADAL" clId="{EBB8CBFE-BCB7-4725-A132-D63A59B72226}" dt="2023-06-02T14:34:39.162" v="11051"/>
          <ac:spMkLst>
            <pc:docMk/>
            <pc:sldMk cId="889586708" sldId="2147379112"/>
            <ac:spMk id="28" creationId="{C736DC7C-89BF-7FD5-7549-1A14B36A2CFC}"/>
          </ac:spMkLst>
        </pc:spChg>
        <pc:spChg chg="mod">
          <ac:chgData name="Marie-Laure Mauborgne" userId="717f1e20-c968-4716-94d0-7143ffa6b39a" providerId="ADAL" clId="{EBB8CBFE-BCB7-4725-A132-D63A59B72226}" dt="2023-06-02T14:47:13.352" v="11271" actId="14100"/>
          <ac:spMkLst>
            <pc:docMk/>
            <pc:sldMk cId="889586708" sldId="2147379112"/>
            <ac:spMk id="30" creationId="{924AF40C-27FC-104A-F83B-5027A98871C7}"/>
          </ac:spMkLst>
        </pc:spChg>
        <pc:spChg chg="mod">
          <ac:chgData name="Marie-Laure Mauborgne" userId="717f1e20-c968-4716-94d0-7143ffa6b39a" providerId="ADAL" clId="{EBB8CBFE-BCB7-4725-A132-D63A59B72226}" dt="2023-06-02T14:38:53.758" v="11181"/>
          <ac:spMkLst>
            <pc:docMk/>
            <pc:sldMk cId="889586708" sldId="2147379112"/>
            <ac:spMk id="31" creationId="{554433C2-979B-AE60-FF42-290A7F1BCADE}"/>
          </ac:spMkLst>
        </pc:spChg>
        <pc:spChg chg="mod">
          <ac:chgData name="Marie-Laure Mauborgne" userId="717f1e20-c968-4716-94d0-7143ffa6b39a" providerId="ADAL" clId="{EBB8CBFE-BCB7-4725-A132-D63A59B72226}" dt="2023-06-02T14:38:53.758" v="11181"/>
          <ac:spMkLst>
            <pc:docMk/>
            <pc:sldMk cId="889586708" sldId="2147379112"/>
            <ac:spMk id="32" creationId="{0ED174B1-23D7-7C69-74F9-590630FDA90F}"/>
          </ac:spMkLst>
        </pc:spChg>
        <pc:spChg chg="mod">
          <ac:chgData name="Marie-Laure Mauborgne" userId="717f1e20-c968-4716-94d0-7143ffa6b39a" providerId="ADAL" clId="{EBB8CBFE-BCB7-4725-A132-D63A59B72226}" dt="2023-06-02T14:38:53.758" v="11181"/>
          <ac:spMkLst>
            <pc:docMk/>
            <pc:sldMk cId="889586708" sldId="2147379112"/>
            <ac:spMk id="33" creationId="{7286BBC5-B478-C185-08D8-F9D065493C5B}"/>
          </ac:spMkLst>
        </pc:spChg>
        <pc:grpChg chg="add mod">
          <ac:chgData name="Marie-Laure Mauborgne" userId="717f1e20-c968-4716-94d0-7143ffa6b39a" providerId="ADAL" clId="{EBB8CBFE-BCB7-4725-A132-D63A59B72226}" dt="2023-06-02T14:34:27.928" v="11050" actId="14100"/>
          <ac:grpSpMkLst>
            <pc:docMk/>
            <pc:sldMk cId="889586708" sldId="2147379112"/>
            <ac:grpSpMk id="10" creationId="{2BDC02D9-9E5D-2DE8-5396-4362B1D82D2B}"/>
          </ac:grpSpMkLst>
        </pc:grpChg>
        <pc:grpChg chg="add del mod">
          <ac:chgData name="Marie-Laure Mauborgne" userId="717f1e20-c968-4716-94d0-7143ffa6b39a" providerId="ADAL" clId="{EBB8CBFE-BCB7-4725-A132-D63A59B72226}" dt="2023-06-02T14:34:40.319" v="11052"/>
          <ac:grpSpMkLst>
            <pc:docMk/>
            <pc:sldMk cId="889586708" sldId="2147379112"/>
            <ac:grpSpMk id="24" creationId="{E780726C-3DF9-58CB-6323-578D0EB13A08}"/>
          </ac:grpSpMkLst>
        </pc:grpChg>
        <pc:grpChg chg="mod">
          <ac:chgData name="Marie-Laure Mauborgne" userId="717f1e20-c968-4716-94d0-7143ffa6b39a" providerId="ADAL" clId="{EBB8CBFE-BCB7-4725-A132-D63A59B72226}" dt="2023-06-02T14:34:39.162" v="11051"/>
          <ac:grpSpMkLst>
            <pc:docMk/>
            <pc:sldMk cId="889586708" sldId="2147379112"/>
            <ac:grpSpMk id="25" creationId="{963A1A9F-FFA5-C017-6326-F5F2D0885071}"/>
          </ac:grpSpMkLst>
        </pc:grpChg>
        <pc:grpChg chg="add mod">
          <ac:chgData name="Marie-Laure Mauborgne" userId="717f1e20-c968-4716-94d0-7143ffa6b39a" providerId="ADAL" clId="{EBB8CBFE-BCB7-4725-A132-D63A59B72226}" dt="2023-06-02T14:38:57.995" v="11182" actId="1076"/>
          <ac:grpSpMkLst>
            <pc:docMk/>
            <pc:sldMk cId="889586708" sldId="2147379112"/>
            <ac:grpSpMk id="29" creationId="{48A2DFCC-68FE-11E1-849F-34024D8A597A}"/>
          </ac:grpSpMkLst>
        </pc:grpChg>
        <pc:picChg chg="del mod">
          <ac:chgData name="Marie-Laure Mauborgne" userId="717f1e20-c968-4716-94d0-7143ffa6b39a" providerId="ADAL" clId="{EBB8CBFE-BCB7-4725-A132-D63A59B72226}" dt="2023-06-02T14:33:55.871" v="11044" actId="478"/>
          <ac:picMkLst>
            <pc:docMk/>
            <pc:sldMk cId="889586708" sldId="2147379112"/>
            <ac:picMk id="6" creationId="{E23EBADA-3628-7CE3-6F7A-E1274ED5876A}"/>
          </ac:picMkLst>
        </pc:picChg>
        <pc:picChg chg="del">
          <ac:chgData name="Marie-Laure Mauborgne" userId="717f1e20-c968-4716-94d0-7143ffa6b39a" providerId="ADAL" clId="{EBB8CBFE-BCB7-4725-A132-D63A59B72226}" dt="2023-06-02T13:39:56.026" v="10705" actId="478"/>
          <ac:picMkLst>
            <pc:docMk/>
            <pc:sldMk cId="889586708" sldId="2147379112"/>
            <ac:picMk id="7" creationId="{10311F56-6689-5FE6-77DA-051DEA063395}"/>
          </ac:picMkLst>
        </pc:picChg>
        <pc:picChg chg="mod">
          <ac:chgData name="Marie-Laure Mauborgne" userId="717f1e20-c968-4716-94d0-7143ffa6b39a" providerId="ADAL" clId="{EBB8CBFE-BCB7-4725-A132-D63A59B72226}" dt="2023-06-02T14:33:53.906" v="11043"/>
          <ac:picMkLst>
            <pc:docMk/>
            <pc:sldMk cId="889586708" sldId="2147379112"/>
            <ac:picMk id="11" creationId="{544C6005-47B8-BDC6-97FD-5BC89F6979F8}"/>
          </ac:picMkLst>
        </pc:picChg>
        <pc:picChg chg="mod">
          <ac:chgData name="Marie-Laure Mauborgne" userId="717f1e20-c968-4716-94d0-7143ffa6b39a" providerId="ADAL" clId="{EBB8CBFE-BCB7-4725-A132-D63A59B72226}" dt="2023-06-02T14:33:53.906" v="11043"/>
          <ac:picMkLst>
            <pc:docMk/>
            <pc:sldMk cId="889586708" sldId="2147379112"/>
            <ac:picMk id="13" creationId="{FA946BD2-AB93-AB24-CE72-DEC4939D6DC2}"/>
          </ac:picMkLst>
        </pc:picChg>
        <pc:picChg chg="mod">
          <ac:chgData name="Marie-Laure Mauborgne" userId="717f1e20-c968-4716-94d0-7143ffa6b39a" providerId="ADAL" clId="{EBB8CBFE-BCB7-4725-A132-D63A59B72226}" dt="2023-06-02T14:34:39.162" v="11051"/>
          <ac:picMkLst>
            <pc:docMk/>
            <pc:sldMk cId="889586708" sldId="2147379112"/>
            <ac:picMk id="26" creationId="{93A6E420-16E9-052F-BBBE-A193E73CA272}"/>
          </ac:picMkLst>
        </pc:picChg>
        <pc:picChg chg="mod">
          <ac:chgData name="Marie-Laure Mauborgne" userId="717f1e20-c968-4716-94d0-7143ffa6b39a" providerId="ADAL" clId="{EBB8CBFE-BCB7-4725-A132-D63A59B72226}" dt="2023-06-02T14:34:39.162" v="11051"/>
          <ac:picMkLst>
            <pc:docMk/>
            <pc:sldMk cId="889586708" sldId="2147379112"/>
            <ac:picMk id="27" creationId="{703DC48B-7631-770F-CA51-53D83D3A4C33}"/>
          </ac:picMkLst>
        </pc:picChg>
        <pc:cxnChg chg="mod">
          <ac:chgData name="Marie-Laure Mauborgne" userId="717f1e20-c968-4716-94d0-7143ffa6b39a" providerId="ADAL" clId="{EBB8CBFE-BCB7-4725-A132-D63A59B72226}" dt="2023-06-02T14:33:53.906" v="11043"/>
          <ac:cxnSpMkLst>
            <pc:docMk/>
            <pc:sldMk cId="889586708" sldId="2147379112"/>
            <ac:cxnSpMk id="14" creationId="{02492F86-D70F-0C1E-D58C-6DB4748005AB}"/>
          </ac:cxnSpMkLst>
        </pc:cxnChg>
        <pc:cxnChg chg="mod">
          <ac:chgData name="Marie-Laure Mauborgne" userId="717f1e20-c968-4716-94d0-7143ffa6b39a" providerId="ADAL" clId="{EBB8CBFE-BCB7-4725-A132-D63A59B72226}" dt="2023-06-02T14:33:53.906" v="11043"/>
          <ac:cxnSpMkLst>
            <pc:docMk/>
            <pc:sldMk cId="889586708" sldId="2147379112"/>
            <ac:cxnSpMk id="15" creationId="{12E0706E-8EF5-BDE8-1C95-58F974732671}"/>
          </ac:cxnSpMkLst>
        </pc:cxnChg>
        <pc:cxnChg chg="mod">
          <ac:chgData name="Marie-Laure Mauborgne" userId="717f1e20-c968-4716-94d0-7143ffa6b39a" providerId="ADAL" clId="{EBB8CBFE-BCB7-4725-A132-D63A59B72226}" dt="2023-06-02T14:33:53.906" v="11043"/>
          <ac:cxnSpMkLst>
            <pc:docMk/>
            <pc:sldMk cId="889586708" sldId="2147379112"/>
            <ac:cxnSpMk id="16" creationId="{A18EF98B-4E96-540F-CA86-1757DB15D31C}"/>
          </ac:cxnSpMkLst>
        </pc:cxnChg>
        <pc:cxnChg chg="mod">
          <ac:chgData name="Marie-Laure Mauborgne" userId="717f1e20-c968-4716-94d0-7143ffa6b39a" providerId="ADAL" clId="{EBB8CBFE-BCB7-4725-A132-D63A59B72226}" dt="2023-06-02T14:33:53.906" v="11043"/>
          <ac:cxnSpMkLst>
            <pc:docMk/>
            <pc:sldMk cId="889586708" sldId="2147379112"/>
            <ac:cxnSpMk id="17" creationId="{8150BF53-5B3E-C43E-AE5E-53097FE21D1F}"/>
          </ac:cxnSpMkLst>
        </pc:cxnChg>
        <pc:cxnChg chg="mod">
          <ac:chgData name="Marie-Laure Mauborgne" userId="717f1e20-c968-4716-94d0-7143ffa6b39a" providerId="ADAL" clId="{EBB8CBFE-BCB7-4725-A132-D63A59B72226}" dt="2023-06-02T14:33:53.906" v="11043"/>
          <ac:cxnSpMkLst>
            <pc:docMk/>
            <pc:sldMk cId="889586708" sldId="2147379112"/>
            <ac:cxnSpMk id="18" creationId="{D03AA1E0-D99C-4A7D-A40F-95AE3FFF0FD5}"/>
          </ac:cxnSpMkLst>
        </pc:cxnChg>
        <pc:cxnChg chg="mod">
          <ac:chgData name="Marie-Laure Mauborgne" userId="717f1e20-c968-4716-94d0-7143ffa6b39a" providerId="ADAL" clId="{EBB8CBFE-BCB7-4725-A132-D63A59B72226}" dt="2023-06-02T14:33:53.906" v="11043"/>
          <ac:cxnSpMkLst>
            <pc:docMk/>
            <pc:sldMk cId="889586708" sldId="2147379112"/>
            <ac:cxnSpMk id="19" creationId="{67683297-A6C4-C850-7B5C-FF0C5D90593E}"/>
          </ac:cxnSpMkLst>
        </pc:cxnChg>
        <pc:cxnChg chg="mod">
          <ac:chgData name="Marie-Laure Mauborgne" userId="717f1e20-c968-4716-94d0-7143ffa6b39a" providerId="ADAL" clId="{EBB8CBFE-BCB7-4725-A132-D63A59B72226}" dt="2023-06-02T14:33:53.906" v="11043"/>
          <ac:cxnSpMkLst>
            <pc:docMk/>
            <pc:sldMk cId="889586708" sldId="2147379112"/>
            <ac:cxnSpMk id="20" creationId="{5775F96C-6823-8363-9FF2-19A3B34C4FA6}"/>
          </ac:cxnSpMkLst>
        </pc:cxnChg>
        <pc:cxnChg chg="mod">
          <ac:chgData name="Marie-Laure Mauborgne" userId="717f1e20-c968-4716-94d0-7143ffa6b39a" providerId="ADAL" clId="{EBB8CBFE-BCB7-4725-A132-D63A59B72226}" dt="2023-06-02T14:33:53.906" v="11043"/>
          <ac:cxnSpMkLst>
            <pc:docMk/>
            <pc:sldMk cId="889586708" sldId="2147379112"/>
            <ac:cxnSpMk id="21" creationId="{C0DFF787-9113-10D8-8D72-7153B995C753}"/>
          </ac:cxnSpMkLst>
        </pc:cxnChg>
        <pc:cxnChg chg="mod">
          <ac:chgData name="Marie-Laure Mauborgne" userId="717f1e20-c968-4716-94d0-7143ffa6b39a" providerId="ADAL" clId="{EBB8CBFE-BCB7-4725-A132-D63A59B72226}" dt="2023-06-02T14:33:53.906" v="11043"/>
          <ac:cxnSpMkLst>
            <pc:docMk/>
            <pc:sldMk cId="889586708" sldId="2147379112"/>
            <ac:cxnSpMk id="22" creationId="{E4896C11-6E9F-B404-8CB7-EA267243940A}"/>
          </ac:cxnSpMkLst>
        </pc:cxnChg>
        <pc:cxnChg chg="mod">
          <ac:chgData name="Marie-Laure Mauborgne" userId="717f1e20-c968-4716-94d0-7143ffa6b39a" providerId="ADAL" clId="{EBB8CBFE-BCB7-4725-A132-D63A59B72226}" dt="2023-06-02T14:33:53.906" v="11043"/>
          <ac:cxnSpMkLst>
            <pc:docMk/>
            <pc:sldMk cId="889586708" sldId="2147379112"/>
            <ac:cxnSpMk id="23" creationId="{B179A891-6C80-6997-6EBF-4AFB1E0FA76E}"/>
          </ac:cxnSpMkLst>
        </pc:cxnChg>
      </pc:sldChg>
      <pc:sldChg chg="modSp new del mod ord">
        <pc:chgData name="Marie-Laure Mauborgne" userId="717f1e20-c968-4716-94d0-7143ffa6b39a" providerId="ADAL" clId="{EBB8CBFE-BCB7-4725-A132-D63A59B72226}" dt="2023-06-02T14:42:33.529" v="11258" actId="47"/>
        <pc:sldMkLst>
          <pc:docMk/>
          <pc:sldMk cId="1053692368" sldId="2147379113"/>
        </pc:sldMkLst>
        <pc:spChg chg="mod">
          <ac:chgData name="Marie-Laure Mauborgne" userId="717f1e20-c968-4716-94d0-7143ffa6b39a" providerId="ADAL" clId="{EBB8CBFE-BCB7-4725-A132-D63A59B72226}" dt="2023-06-02T13:48:19.812" v="10771" actId="20577"/>
          <ac:spMkLst>
            <pc:docMk/>
            <pc:sldMk cId="1053692368" sldId="2147379113"/>
            <ac:spMk id="2" creationId="{6C687C26-62CC-FDA1-2244-6758AE50A1EB}"/>
          </ac:spMkLst>
        </pc:spChg>
      </pc:sldChg>
      <pc:sldMasterChg chg="delSldLayout">
        <pc:chgData name="Marie-Laure Mauborgne" userId="717f1e20-c968-4716-94d0-7143ffa6b39a" providerId="ADAL" clId="{EBB8CBFE-BCB7-4725-A132-D63A59B72226}" dt="2023-06-02T10:16:05.025" v="9671" actId="2696"/>
        <pc:sldMasterMkLst>
          <pc:docMk/>
          <pc:sldMasterMk cId="2257447738" sldId="2147483856"/>
        </pc:sldMasterMkLst>
        <pc:sldLayoutChg chg="del">
          <pc:chgData name="Marie-Laure Mauborgne" userId="717f1e20-c968-4716-94d0-7143ffa6b39a" providerId="ADAL" clId="{EBB8CBFE-BCB7-4725-A132-D63A59B72226}" dt="2023-05-30T09:54:37.794" v="1766" actId="2696"/>
          <pc:sldLayoutMkLst>
            <pc:docMk/>
            <pc:sldMasterMk cId="2257447738" sldId="2147483856"/>
            <pc:sldLayoutMk cId="1086846630" sldId="2147483887"/>
          </pc:sldLayoutMkLst>
        </pc:sldLayoutChg>
        <pc:sldLayoutChg chg="del">
          <pc:chgData name="Marie-Laure Mauborgne" userId="717f1e20-c968-4716-94d0-7143ffa6b39a" providerId="ADAL" clId="{EBB8CBFE-BCB7-4725-A132-D63A59B72226}" dt="2023-06-02T10:16:05.025" v="9671" actId="2696"/>
          <pc:sldLayoutMkLst>
            <pc:docMk/>
            <pc:sldMasterMk cId="2257447738" sldId="2147483856"/>
            <pc:sldLayoutMk cId="1378609903" sldId="2147483953"/>
          </pc:sldLayoutMkLst>
        </pc:sldLayoutChg>
      </pc:sldMasterChg>
    </pc:docChg>
  </pc:docChgLst>
  <pc:docChgLst>
    <pc:chgData name="Marie-Laure Mauborgne" userId="717f1e20-c968-4716-94d0-7143ffa6b39a" providerId="ADAL" clId="{B376DD1B-D1D1-4E69-94E7-ED3E1B2B779E}"/>
    <pc:docChg chg="undo custSel addSld delSld modSld sldOrd">
      <pc:chgData name="Marie-Laure Mauborgne" userId="717f1e20-c968-4716-94d0-7143ffa6b39a" providerId="ADAL" clId="{B376DD1B-D1D1-4E69-94E7-ED3E1B2B779E}" dt="2023-04-06T09:19:48.861" v="564" actId="20577"/>
      <pc:docMkLst>
        <pc:docMk/>
      </pc:docMkLst>
      <pc:sldChg chg="addSp delSp modSp mod modClrScheme chgLayout">
        <pc:chgData name="Marie-Laure Mauborgne" userId="717f1e20-c968-4716-94d0-7143ffa6b39a" providerId="ADAL" clId="{B376DD1B-D1D1-4E69-94E7-ED3E1B2B779E}" dt="2023-04-06T09:19:48.861" v="564" actId="20577"/>
        <pc:sldMkLst>
          <pc:docMk/>
          <pc:sldMk cId="3357076986" sldId="378"/>
        </pc:sldMkLst>
        <pc:spChg chg="del mod ord">
          <ac:chgData name="Marie-Laure Mauborgne" userId="717f1e20-c968-4716-94d0-7143ffa6b39a" providerId="ADAL" clId="{B376DD1B-D1D1-4E69-94E7-ED3E1B2B779E}" dt="2023-04-05T12:21:30.147" v="3"/>
          <ac:spMkLst>
            <pc:docMk/>
            <pc:sldMk cId="3357076986" sldId="378"/>
            <ac:spMk id="3" creationId="{00000000-0000-0000-0000-000000000000}"/>
          </ac:spMkLst>
        </pc:spChg>
        <pc:spChg chg="mod ord">
          <ac:chgData name="Marie-Laure Mauborgne" userId="717f1e20-c968-4716-94d0-7143ffa6b39a" providerId="ADAL" clId="{B376DD1B-D1D1-4E69-94E7-ED3E1B2B779E}" dt="2023-04-06T09:19:48.861" v="564" actId="20577"/>
          <ac:spMkLst>
            <pc:docMk/>
            <pc:sldMk cId="3357076986" sldId="378"/>
            <ac:spMk id="4" creationId="{00000000-0000-0000-0000-000000000000}"/>
          </ac:spMkLst>
        </pc:spChg>
        <pc:spChg chg="add del mod">
          <ac:chgData name="Marie-Laure Mauborgne" userId="717f1e20-c968-4716-94d0-7143ffa6b39a" providerId="ADAL" clId="{B376DD1B-D1D1-4E69-94E7-ED3E1B2B779E}" dt="2023-04-05T12:21:25.577" v="1"/>
          <ac:spMkLst>
            <pc:docMk/>
            <pc:sldMk cId="3357076986" sldId="378"/>
            <ac:spMk id="14" creationId="{717FBCC3-11B3-CA6B-A5B8-0F69596B5B52}"/>
          </ac:spMkLst>
        </pc:spChg>
        <pc:spChg chg="add del mod">
          <ac:chgData name="Marie-Laure Mauborgne" userId="717f1e20-c968-4716-94d0-7143ffa6b39a" providerId="ADAL" clId="{B376DD1B-D1D1-4E69-94E7-ED3E1B2B779E}" dt="2023-04-05T12:21:25.577" v="1"/>
          <ac:spMkLst>
            <pc:docMk/>
            <pc:sldMk cId="3357076986" sldId="378"/>
            <ac:spMk id="15" creationId="{B1C9AE00-0B10-57F1-9841-543D1E584D2B}"/>
          </ac:spMkLst>
        </pc:spChg>
        <pc:spChg chg="add del mod">
          <ac:chgData name="Marie-Laure Mauborgne" userId="717f1e20-c968-4716-94d0-7143ffa6b39a" providerId="ADAL" clId="{B376DD1B-D1D1-4E69-94E7-ED3E1B2B779E}" dt="2023-04-05T12:21:25.577" v="1"/>
          <ac:spMkLst>
            <pc:docMk/>
            <pc:sldMk cId="3357076986" sldId="378"/>
            <ac:spMk id="16" creationId="{F9B3CB80-CD49-58A0-7818-FCBCB763E988}"/>
          </ac:spMkLst>
        </pc:spChg>
        <pc:spChg chg="add del mod">
          <ac:chgData name="Marie-Laure Mauborgne" userId="717f1e20-c968-4716-94d0-7143ffa6b39a" providerId="ADAL" clId="{B376DD1B-D1D1-4E69-94E7-ED3E1B2B779E}" dt="2023-04-05T12:21:30.147" v="3"/>
          <ac:spMkLst>
            <pc:docMk/>
            <pc:sldMk cId="3357076986" sldId="378"/>
            <ac:spMk id="17" creationId="{51740841-40D3-A74E-6374-6F3570E5BF35}"/>
          </ac:spMkLst>
        </pc:spChg>
        <pc:spChg chg="add del mod">
          <ac:chgData name="Marie-Laure Mauborgne" userId="717f1e20-c968-4716-94d0-7143ffa6b39a" providerId="ADAL" clId="{B376DD1B-D1D1-4E69-94E7-ED3E1B2B779E}" dt="2023-04-05T12:21:30.147" v="3"/>
          <ac:spMkLst>
            <pc:docMk/>
            <pc:sldMk cId="3357076986" sldId="378"/>
            <ac:spMk id="18" creationId="{5263157F-BF52-CA13-2287-460733447C5D}"/>
          </ac:spMkLst>
        </pc:spChg>
        <pc:spChg chg="add mod ord">
          <ac:chgData name="Marie-Laure Mauborgne" userId="717f1e20-c968-4716-94d0-7143ffa6b39a" providerId="ADAL" clId="{B376DD1B-D1D1-4E69-94E7-ED3E1B2B779E}" dt="2023-04-06T09:18:36.812" v="516" actId="14100"/>
          <ac:spMkLst>
            <pc:docMk/>
            <pc:sldMk cId="3357076986" sldId="378"/>
            <ac:spMk id="19" creationId="{0E29C0E1-60F4-9B2E-FD41-F5A7ADE86738}"/>
          </ac:spMkLst>
        </pc:spChg>
        <pc:spChg chg="mod">
          <ac:chgData name="Marie-Laure Mauborgne" userId="717f1e20-c968-4716-94d0-7143ffa6b39a" providerId="ADAL" clId="{B376DD1B-D1D1-4E69-94E7-ED3E1B2B779E}" dt="2023-04-06T09:19:01.168" v="519" actId="1076"/>
          <ac:spMkLst>
            <pc:docMk/>
            <pc:sldMk cId="3357076986" sldId="378"/>
            <ac:spMk id="34"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36"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37"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38"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41"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43"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44"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45"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49"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50"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51"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55"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56"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57"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61"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62"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63"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67"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68"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69"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73"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74"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75" creationId="{00000000-0000-0000-0000-000000000000}"/>
          </ac:spMkLst>
        </pc:spChg>
        <pc:spChg chg="del mod ord">
          <ac:chgData name="Marie-Laure Mauborgne" userId="717f1e20-c968-4716-94d0-7143ffa6b39a" providerId="ADAL" clId="{B376DD1B-D1D1-4E69-94E7-ED3E1B2B779E}" dt="2023-04-05T12:22:01.685" v="50" actId="478"/>
          <ac:spMkLst>
            <pc:docMk/>
            <pc:sldMk cId="3357076986" sldId="378"/>
            <ac:spMk id="78"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79"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80"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81" creationId="{00000000-0000-0000-0000-000000000000}"/>
          </ac:spMkLst>
        </pc:spChg>
        <pc:spChg chg="del mod ord">
          <ac:chgData name="Marie-Laure Mauborgne" userId="717f1e20-c968-4716-94d0-7143ffa6b39a" providerId="ADAL" clId="{B376DD1B-D1D1-4E69-94E7-ED3E1B2B779E}" dt="2023-04-05T12:22:23.678" v="145" actId="478"/>
          <ac:spMkLst>
            <pc:docMk/>
            <pc:sldMk cId="3357076986" sldId="378"/>
            <ac:spMk id="84"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85"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86"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87"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90"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91"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92"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93" creationId="{00000000-0000-0000-0000-000000000000}"/>
          </ac:spMkLst>
        </pc:spChg>
        <pc:spChg chg="del mod">
          <ac:chgData name="Marie-Laure Mauborgne" userId="717f1e20-c968-4716-94d0-7143ffa6b39a" providerId="ADAL" clId="{B376DD1B-D1D1-4E69-94E7-ED3E1B2B779E}" dt="2023-04-05T12:21:57.164" v="49" actId="478"/>
          <ac:spMkLst>
            <pc:docMk/>
            <pc:sldMk cId="3357076986" sldId="378"/>
            <ac:spMk id="95"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96"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97"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98"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99"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100" creationId="{00000000-0000-0000-0000-000000000000}"/>
          </ac:spMkLst>
        </pc:spChg>
        <pc:spChg chg="mod">
          <ac:chgData name="Marie-Laure Mauborgne" userId="717f1e20-c968-4716-94d0-7143ffa6b39a" providerId="ADAL" clId="{B376DD1B-D1D1-4E69-94E7-ED3E1B2B779E}" dt="2023-04-06T09:19:01.168" v="519" actId="1076"/>
          <ac:spMkLst>
            <pc:docMk/>
            <pc:sldMk cId="3357076986" sldId="378"/>
            <ac:spMk id="103" creationId="{00000000-0000-0000-0000-000000000000}"/>
          </ac:spMkLst>
        </pc:spChg>
        <pc:grpChg chg="del">
          <ac:chgData name="Marie-Laure Mauborgne" userId="717f1e20-c968-4716-94d0-7143ffa6b39a" providerId="ADAL" clId="{B376DD1B-D1D1-4E69-94E7-ED3E1B2B779E}" dt="2023-04-05T12:21:41.837" v="23" actId="478"/>
          <ac:grpSpMkLst>
            <pc:docMk/>
            <pc:sldMk cId="3357076986" sldId="378"/>
            <ac:grpSpMk id="2"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5"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6"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7"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8"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9"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10"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11"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12" creationId="{00000000-0000-0000-0000-000000000000}"/>
          </ac:grpSpMkLst>
        </pc:grpChg>
        <pc:grpChg chg="mod">
          <ac:chgData name="Marie-Laure Mauborgne" userId="717f1e20-c968-4716-94d0-7143ffa6b39a" providerId="ADAL" clId="{B376DD1B-D1D1-4E69-94E7-ED3E1B2B779E}" dt="2023-04-06T09:19:01.168" v="519" actId="1076"/>
          <ac:grpSpMkLst>
            <pc:docMk/>
            <pc:sldMk cId="3357076986" sldId="378"/>
            <ac:grpSpMk id="13" creationId="{00000000-0000-0000-0000-000000000000}"/>
          </ac:grpSpMkLst>
        </pc:grpChg>
        <pc:picChg chg="mod">
          <ac:chgData name="Marie-Laure Mauborgne" userId="717f1e20-c968-4716-94d0-7143ffa6b39a" providerId="ADAL" clId="{B376DD1B-D1D1-4E69-94E7-ED3E1B2B779E}" dt="2023-04-06T09:19:01.168" v="519" actId="1076"/>
          <ac:picMkLst>
            <pc:docMk/>
            <pc:sldMk cId="3357076986" sldId="378"/>
            <ac:picMk id="102" creationId="{00000000-0000-0000-0000-000000000000}"/>
          </ac:picMkLst>
        </pc:picChg>
        <pc:cxnChg chg="mod">
          <ac:chgData name="Marie-Laure Mauborgne" userId="717f1e20-c968-4716-94d0-7143ffa6b39a" providerId="ADAL" clId="{B376DD1B-D1D1-4E69-94E7-ED3E1B2B779E}" dt="2023-04-06T09:19:01.168" v="519" actId="1076"/>
          <ac:cxnSpMkLst>
            <pc:docMk/>
            <pc:sldMk cId="3357076986" sldId="378"/>
            <ac:cxnSpMk id="39"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40"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46"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47"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52"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53"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58"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59"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64"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65"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70"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71"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76"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77"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82"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83"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88" creationId="{00000000-0000-0000-0000-000000000000}"/>
          </ac:cxnSpMkLst>
        </pc:cxnChg>
        <pc:cxnChg chg="mod">
          <ac:chgData name="Marie-Laure Mauborgne" userId="717f1e20-c968-4716-94d0-7143ffa6b39a" providerId="ADAL" clId="{B376DD1B-D1D1-4E69-94E7-ED3E1B2B779E}" dt="2023-04-06T09:19:01.168" v="519" actId="1076"/>
          <ac:cxnSpMkLst>
            <pc:docMk/>
            <pc:sldMk cId="3357076986" sldId="378"/>
            <ac:cxnSpMk id="89" creationId="{00000000-0000-0000-0000-000000000000}"/>
          </ac:cxnSpMkLst>
        </pc:cxnChg>
      </pc:sldChg>
      <pc:sldChg chg="addSp delSp modSp add del mod modAnim">
        <pc:chgData name="Marie-Laure Mauborgne" userId="717f1e20-c968-4716-94d0-7143ffa6b39a" providerId="ADAL" clId="{B376DD1B-D1D1-4E69-94E7-ED3E1B2B779E}" dt="2023-04-06T09:18:09.461" v="515" actId="14100"/>
        <pc:sldMkLst>
          <pc:docMk/>
          <pc:sldMk cId="1041884285" sldId="388"/>
        </pc:sldMkLst>
        <pc:spChg chg="add del mod">
          <ac:chgData name="Marie-Laure Mauborgne" userId="717f1e20-c968-4716-94d0-7143ffa6b39a" providerId="ADAL" clId="{B376DD1B-D1D1-4E69-94E7-ED3E1B2B779E}" dt="2023-04-05T15:42:42.452" v="313" actId="478"/>
          <ac:spMkLst>
            <pc:docMk/>
            <pc:sldMk cId="1041884285" sldId="388"/>
            <ac:spMk id="11" creationId="{143D5945-6203-AED9-8374-903D57C5BBE6}"/>
          </ac:spMkLst>
        </pc:spChg>
        <pc:spChg chg="del mod">
          <ac:chgData name="Marie-Laure Mauborgne" userId="717f1e20-c968-4716-94d0-7143ffa6b39a" providerId="ADAL" clId="{B376DD1B-D1D1-4E69-94E7-ED3E1B2B779E}" dt="2023-04-05T15:42:24.106" v="307" actId="478"/>
          <ac:spMkLst>
            <pc:docMk/>
            <pc:sldMk cId="1041884285" sldId="388"/>
            <ac:spMk id="49" creationId="{00000000-0000-0000-0000-000000000000}"/>
          </ac:spMkLst>
        </pc:spChg>
        <pc:spChg chg="del">
          <ac:chgData name="Marie-Laure Mauborgne" userId="717f1e20-c968-4716-94d0-7143ffa6b39a" providerId="ADAL" clId="{B376DD1B-D1D1-4E69-94E7-ED3E1B2B779E}" dt="2023-04-05T15:42:39.058" v="312" actId="478"/>
          <ac:spMkLst>
            <pc:docMk/>
            <pc:sldMk cId="1041884285" sldId="388"/>
            <ac:spMk id="50" creationId="{00000000-0000-0000-0000-000000000000}"/>
          </ac:spMkLst>
        </pc:spChg>
        <pc:spChg chg="mod">
          <ac:chgData name="Marie-Laure Mauborgne" userId="717f1e20-c968-4716-94d0-7143ffa6b39a" providerId="ADAL" clId="{B376DD1B-D1D1-4E69-94E7-ED3E1B2B779E}" dt="2023-04-06T09:18:09.461" v="515" actId="14100"/>
          <ac:spMkLst>
            <pc:docMk/>
            <pc:sldMk cId="1041884285" sldId="388"/>
            <ac:spMk id="52"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96" creationId="{00000000-0000-0000-0000-000000000000}"/>
          </ac:spMkLst>
        </pc:spChg>
        <pc:spChg chg="mod">
          <ac:chgData name="Marie-Laure Mauborgne" userId="717f1e20-c968-4716-94d0-7143ffa6b39a" providerId="ADAL" clId="{B376DD1B-D1D1-4E69-94E7-ED3E1B2B779E}" dt="2023-04-05T15:47:01.923" v="478" actId="1037"/>
          <ac:spMkLst>
            <pc:docMk/>
            <pc:sldMk cId="1041884285" sldId="388"/>
            <ac:spMk id="97"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99"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0"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1"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2"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3"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4"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5"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6"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7"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8"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09"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10"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11"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12"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14"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15"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16"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18"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19"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20"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22"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23" creationId="{00000000-0000-0000-0000-000000000000}"/>
          </ac:spMkLst>
        </pc:spChg>
        <pc:spChg chg="mod">
          <ac:chgData name="Marie-Laure Mauborgne" userId="717f1e20-c968-4716-94d0-7143ffa6b39a" providerId="ADAL" clId="{B376DD1B-D1D1-4E69-94E7-ED3E1B2B779E}" dt="2023-04-05T15:47:10.601" v="479" actId="14100"/>
          <ac:spMkLst>
            <pc:docMk/>
            <pc:sldMk cId="1041884285" sldId="388"/>
            <ac:spMk id="124"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26"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27"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30"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31"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32" creationId="{00000000-0000-0000-0000-000000000000}"/>
          </ac:spMkLst>
        </pc:spChg>
        <pc:spChg chg="mod">
          <ac:chgData name="Marie-Laure Mauborgne" userId="717f1e20-c968-4716-94d0-7143ffa6b39a" providerId="ADAL" clId="{B376DD1B-D1D1-4E69-94E7-ED3E1B2B779E}" dt="2023-04-05T15:48:16.588" v="494" actId="1036"/>
          <ac:spMkLst>
            <pc:docMk/>
            <pc:sldMk cId="1041884285" sldId="388"/>
            <ac:spMk id="133"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34"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35"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37"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39" creationId="{00000000-0000-0000-0000-000000000000}"/>
          </ac:spMkLst>
        </pc:spChg>
        <pc:spChg chg="mod">
          <ac:chgData name="Marie-Laure Mauborgne" userId="717f1e20-c968-4716-94d0-7143ffa6b39a" providerId="ADAL" clId="{B376DD1B-D1D1-4E69-94E7-ED3E1B2B779E}" dt="2023-04-05T15:45:46.898" v="456" actId="1035"/>
          <ac:spMkLst>
            <pc:docMk/>
            <pc:sldMk cId="1041884285" sldId="388"/>
            <ac:spMk id="140" creationId="{00000000-0000-0000-0000-000000000000}"/>
          </ac:spMkLst>
        </pc:spChg>
        <pc:grpChg chg="mod">
          <ac:chgData name="Marie-Laure Mauborgne" userId="717f1e20-c968-4716-94d0-7143ffa6b39a" providerId="ADAL" clId="{B376DD1B-D1D1-4E69-94E7-ED3E1B2B779E}" dt="2023-04-05T15:45:46.898" v="456" actId="1035"/>
          <ac:grpSpMkLst>
            <pc:docMk/>
            <pc:sldMk cId="1041884285" sldId="388"/>
            <ac:grpSpMk id="2" creationId="{00000000-0000-0000-0000-000000000000}"/>
          </ac:grpSpMkLst>
        </pc:grpChg>
        <pc:grpChg chg="mod">
          <ac:chgData name="Marie-Laure Mauborgne" userId="717f1e20-c968-4716-94d0-7143ffa6b39a" providerId="ADAL" clId="{B376DD1B-D1D1-4E69-94E7-ED3E1B2B779E}" dt="2023-04-05T15:48:29.064" v="498" actId="1038"/>
          <ac:grpSpMkLst>
            <pc:docMk/>
            <pc:sldMk cId="1041884285" sldId="388"/>
            <ac:grpSpMk id="3" creationId="{00000000-0000-0000-0000-000000000000}"/>
          </ac:grpSpMkLst>
        </pc:grpChg>
        <pc:grpChg chg="mod">
          <ac:chgData name="Marie-Laure Mauborgne" userId="717f1e20-c968-4716-94d0-7143ffa6b39a" providerId="ADAL" clId="{B376DD1B-D1D1-4E69-94E7-ED3E1B2B779E}" dt="2023-04-05T15:47:45.222" v="491" actId="1038"/>
          <ac:grpSpMkLst>
            <pc:docMk/>
            <pc:sldMk cId="1041884285" sldId="388"/>
            <ac:grpSpMk id="4" creationId="{00000000-0000-0000-0000-000000000000}"/>
          </ac:grpSpMkLst>
        </pc:grpChg>
        <pc:grpChg chg="mod">
          <ac:chgData name="Marie-Laure Mauborgne" userId="717f1e20-c968-4716-94d0-7143ffa6b39a" providerId="ADAL" clId="{B376DD1B-D1D1-4E69-94E7-ED3E1B2B779E}" dt="2023-04-05T15:47:15.106" v="481" actId="1036"/>
          <ac:grpSpMkLst>
            <pc:docMk/>
            <pc:sldMk cId="1041884285" sldId="388"/>
            <ac:grpSpMk id="6" creationId="{00000000-0000-0000-0000-000000000000}"/>
          </ac:grpSpMkLst>
        </pc:grpChg>
        <pc:grpChg chg="mod">
          <ac:chgData name="Marie-Laure Mauborgne" userId="717f1e20-c968-4716-94d0-7143ffa6b39a" providerId="ADAL" clId="{B376DD1B-D1D1-4E69-94E7-ED3E1B2B779E}" dt="2023-04-05T15:48:31.381" v="502" actId="1037"/>
          <ac:grpSpMkLst>
            <pc:docMk/>
            <pc:sldMk cId="1041884285" sldId="388"/>
            <ac:grpSpMk id="7" creationId="{00000000-0000-0000-0000-000000000000}"/>
          </ac:grpSpMkLst>
        </pc:grpChg>
        <pc:grpChg chg="mod">
          <ac:chgData name="Marie-Laure Mauborgne" userId="717f1e20-c968-4716-94d0-7143ffa6b39a" providerId="ADAL" clId="{B376DD1B-D1D1-4E69-94E7-ED3E1B2B779E}" dt="2023-04-05T15:45:46.898" v="456" actId="1035"/>
          <ac:grpSpMkLst>
            <pc:docMk/>
            <pc:sldMk cId="1041884285" sldId="388"/>
            <ac:grpSpMk id="8" creationId="{00000000-0000-0000-0000-000000000000}"/>
          </ac:grpSpMkLst>
        </pc:grpChg>
        <pc:grpChg chg="mod">
          <ac:chgData name="Marie-Laure Mauborgne" userId="717f1e20-c968-4716-94d0-7143ffa6b39a" providerId="ADAL" clId="{B376DD1B-D1D1-4E69-94E7-ED3E1B2B779E}" dt="2023-04-05T15:45:46.898" v="456" actId="1035"/>
          <ac:grpSpMkLst>
            <pc:docMk/>
            <pc:sldMk cId="1041884285" sldId="388"/>
            <ac:grpSpMk id="9" creationId="{00000000-0000-0000-0000-000000000000}"/>
          </ac:grpSpMkLst>
        </pc:grpChg>
        <pc:picChg chg="mod">
          <ac:chgData name="Marie-Laure Mauborgne" userId="717f1e20-c968-4716-94d0-7143ffa6b39a" providerId="ADAL" clId="{B376DD1B-D1D1-4E69-94E7-ED3E1B2B779E}" dt="2023-04-05T15:45:46.898" v="456" actId="1035"/>
          <ac:picMkLst>
            <pc:docMk/>
            <pc:sldMk cId="1041884285" sldId="388"/>
            <ac:picMk id="98" creationId="{00000000-0000-0000-0000-000000000000}"/>
          </ac:picMkLst>
        </pc:picChg>
        <pc:cxnChg chg="mod">
          <ac:chgData name="Marie-Laure Mauborgne" userId="717f1e20-c968-4716-94d0-7143ffa6b39a" providerId="ADAL" clId="{B376DD1B-D1D1-4E69-94E7-ED3E1B2B779E}" dt="2023-04-05T15:45:46.898" v="456" actId="1035"/>
          <ac:cxnSpMkLst>
            <pc:docMk/>
            <pc:sldMk cId="1041884285" sldId="388"/>
            <ac:cxnSpMk id="128" creationId="{00000000-0000-0000-0000-000000000000}"/>
          </ac:cxnSpMkLst>
        </pc:cxnChg>
      </pc:sldChg>
      <pc:sldChg chg="modSp mod modClrScheme chgLayout">
        <pc:chgData name="Marie-Laure Mauborgne" userId="717f1e20-c968-4716-94d0-7143ffa6b39a" providerId="ADAL" clId="{B376DD1B-D1D1-4E69-94E7-ED3E1B2B779E}" dt="2023-04-05T12:26:37.805" v="173" actId="207"/>
        <pc:sldMkLst>
          <pc:docMk/>
          <pc:sldMk cId="2306752089" sldId="434"/>
        </pc:sldMkLst>
        <pc:spChg chg="mod ord">
          <ac:chgData name="Marie-Laure Mauborgne" userId="717f1e20-c968-4716-94d0-7143ffa6b39a" providerId="ADAL" clId="{B376DD1B-D1D1-4E69-94E7-ED3E1B2B779E}" dt="2023-04-05T12:26:28.983" v="171" actId="700"/>
          <ac:spMkLst>
            <pc:docMk/>
            <pc:sldMk cId="2306752089" sldId="434"/>
            <ac:spMk id="2" creationId="{0F2D9E96-E8F3-4529-9E8D-3B8FB79AEF60}"/>
          </ac:spMkLst>
        </pc:spChg>
        <pc:spChg chg="mod ord">
          <ac:chgData name="Marie-Laure Mauborgne" userId="717f1e20-c968-4716-94d0-7143ffa6b39a" providerId="ADAL" clId="{B376DD1B-D1D1-4E69-94E7-ED3E1B2B779E}" dt="2023-04-05T12:26:28.983" v="171" actId="700"/>
          <ac:spMkLst>
            <pc:docMk/>
            <pc:sldMk cId="2306752089" sldId="434"/>
            <ac:spMk id="3" creationId="{5F0A780E-6637-44B4-9568-E18E256CF10F}"/>
          </ac:spMkLst>
        </pc:spChg>
        <pc:spChg chg="mod">
          <ac:chgData name="Marie-Laure Mauborgne" userId="717f1e20-c968-4716-94d0-7143ffa6b39a" providerId="ADAL" clId="{B376DD1B-D1D1-4E69-94E7-ED3E1B2B779E}" dt="2023-04-05T12:26:37.805" v="173" actId="207"/>
          <ac:spMkLst>
            <pc:docMk/>
            <pc:sldMk cId="2306752089" sldId="434"/>
            <ac:spMk id="77" creationId="{49C0FDBB-BE31-86A2-F483-60E86A33C1F1}"/>
          </ac:spMkLst>
        </pc:spChg>
        <pc:spChg chg="mod">
          <ac:chgData name="Marie-Laure Mauborgne" userId="717f1e20-c968-4716-94d0-7143ffa6b39a" providerId="ADAL" clId="{B376DD1B-D1D1-4E69-94E7-ED3E1B2B779E}" dt="2023-04-05T12:26:34.326" v="172" actId="207"/>
          <ac:spMkLst>
            <pc:docMk/>
            <pc:sldMk cId="2306752089" sldId="434"/>
            <ac:spMk id="108" creationId="{B8A936EE-B9B6-AB8D-B6F8-90FBC8F0728D}"/>
          </ac:spMkLst>
        </pc:spChg>
      </pc:sldChg>
      <pc:sldChg chg="addSp delSp modSp mod modAnim chgLayout">
        <pc:chgData name="Marie-Laure Mauborgne" userId="717f1e20-c968-4716-94d0-7143ffa6b39a" providerId="ADAL" clId="{B376DD1B-D1D1-4E69-94E7-ED3E1B2B779E}" dt="2023-04-05T12:38:16.011" v="212" actId="478"/>
        <pc:sldMkLst>
          <pc:docMk/>
          <pc:sldMk cId="0" sldId="522"/>
        </pc:sldMkLst>
        <pc:spChg chg="mod ord">
          <ac:chgData name="Marie-Laure Mauborgne" userId="717f1e20-c968-4716-94d0-7143ffa6b39a" providerId="ADAL" clId="{B376DD1B-D1D1-4E69-94E7-ED3E1B2B779E}" dt="2023-04-05T12:36:41.662" v="211" actId="14100"/>
          <ac:spMkLst>
            <pc:docMk/>
            <pc:sldMk cId="0" sldId="522"/>
            <ac:spMk id="2" creationId="{00000000-0000-0000-0000-000000000000}"/>
          </ac:spMkLst>
        </pc:spChg>
        <pc:spChg chg="mod">
          <ac:chgData name="Marie-Laure Mauborgne" userId="717f1e20-c968-4716-94d0-7143ffa6b39a" providerId="ADAL" clId="{B376DD1B-D1D1-4E69-94E7-ED3E1B2B779E}" dt="2023-04-05T12:31:15.639" v="186" actId="20577"/>
          <ac:spMkLst>
            <pc:docMk/>
            <pc:sldMk cId="0" sldId="522"/>
            <ac:spMk id="5" creationId="{00000000-0000-0000-0000-000000000000}"/>
          </ac:spMkLst>
        </pc:spChg>
        <pc:spChg chg="add del mod ord">
          <ac:chgData name="Marie-Laure Mauborgne" userId="717f1e20-c968-4716-94d0-7143ffa6b39a" providerId="ADAL" clId="{B376DD1B-D1D1-4E69-94E7-ED3E1B2B779E}" dt="2023-04-05T12:36:28.587" v="195"/>
          <ac:spMkLst>
            <pc:docMk/>
            <pc:sldMk cId="0" sldId="522"/>
            <ac:spMk id="22" creationId="{9F84BC64-AF97-A398-33A7-34681FC70BB7}"/>
          </ac:spMkLst>
        </pc:spChg>
        <pc:spChg chg="mod">
          <ac:chgData name="Marie-Laure Mauborgne" userId="717f1e20-c968-4716-94d0-7143ffa6b39a" providerId="ADAL" clId="{B376DD1B-D1D1-4E69-94E7-ED3E1B2B779E}" dt="2023-04-05T12:30:28.779" v="181" actId="14100"/>
          <ac:spMkLst>
            <pc:docMk/>
            <pc:sldMk cId="0" sldId="522"/>
            <ac:spMk id="23" creationId="{00000000-0000-0000-0000-000000000000}"/>
          </ac:spMkLst>
        </pc:spChg>
        <pc:spChg chg="add del mod">
          <ac:chgData name="Marie-Laure Mauborgne" userId="717f1e20-c968-4716-94d0-7143ffa6b39a" providerId="ADAL" clId="{B376DD1B-D1D1-4E69-94E7-ED3E1B2B779E}" dt="2023-04-05T12:36:28.587" v="195"/>
          <ac:spMkLst>
            <pc:docMk/>
            <pc:sldMk cId="0" sldId="522"/>
            <ac:spMk id="27" creationId="{47BFBDA0-83FC-9579-AB2D-6650B45A6501}"/>
          </ac:spMkLst>
        </pc:spChg>
        <pc:spChg chg="mod">
          <ac:chgData name="Marie-Laure Mauborgne" userId="717f1e20-c968-4716-94d0-7143ffa6b39a" providerId="ADAL" clId="{B376DD1B-D1D1-4E69-94E7-ED3E1B2B779E}" dt="2023-04-05T12:30:25.586" v="180" actId="14100"/>
          <ac:spMkLst>
            <pc:docMk/>
            <pc:sldMk cId="0" sldId="522"/>
            <ac:spMk id="29" creationId="{00000000-0000-0000-0000-000000000000}"/>
          </ac:spMkLst>
        </pc:spChg>
        <pc:spChg chg="del">
          <ac:chgData name="Marie-Laure Mauborgne" userId="717f1e20-c968-4716-94d0-7143ffa6b39a" providerId="ADAL" clId="{B376DD1B-D1D1-4E69-94E7-ED3E1B2B779E}" dt="2023-04-05T12:31:02.878" v="183" actId="478"/>
          <ac:spMkLst>
            <pc:docMk/>
            <pc:sldMk cId="0" sldId="522"/>
            <ac:spMk id="31" creationId="{00000000-0000-0000-0000-000000000000}"/>
          </ac:spMkLst>
        </pc:spChg>
        <pc:spChg chg="add del mod">
          <ac:chgData name="Marie-Laure Mauborgne" userId="717f1e20-c968-4716-94d0-7143ffa6b39a" providerId="ADAL" clId="{B376DD1B-D1D1-4E69-94E7-ED3E1B2B779E}" dt="2023-04-05T12:38:16.011" v="212" actId="478"/>
          <ac:spMkLst>
            <pc:docMk/>
            <pc:sldMk cId="0" sldId="522"/>
            <ac:spMk id="34" creationId="{12FC148D-2E43-7320-5A17-7073B6047C03}"/>
          </ac:spMkLst>
        </pc:spChg>
      </pc:sldChg>
      <pc:sldChg chg="modSp mod modClrScheme modAnim chgLayout">
        <pc:chgData name="Marie-Laure Mauborgne" userId="717f1e20-c968-4716-94d0-7143ffa6b39a" providerId="ADAL" clId="{B376DD1B-D1D1-4E69-94E7-ED3E1B2B779E}" dt="2023-04-05T12:25:57.731" v="170" actId="20577"/>
        <pc:sldMkLst>
          <pc:docMk/>
          <pc:sldMk cId="3919984126" sldId="666"/>
        </pc:sldMkLst>
        <pc:spChg chg="mod ord">
          <ac:chgData name="Marie-Laure Mauborgne" userId="717f1e20-c968-4716-94d0-7143ffa6b39a" providerId="ADAL" clId="{B376DD1B-D1D1-4E69-94E7-ED3E1B2B779E}" dt="2023-04-05T12:24:02.773" v="157" actId="700"/>
          <ac:spMkLst>
            <pc:docMk/>
            <pc:sldMk cId="3919984126" sldId="666"/>
            <ac:spMk id="2" creationId="{6C41EE0D-24DB-C85A-7AEB-DF952D5AFA36}"/>
          </ac:spMkLst>
        </pc:spChg>
        <pc:spChg chg="mod ord">
          <ac:chgData name="Marie-Laure Mauborgne" userId="717f1e20-c968-4716-94d0-7143ffa6b39a" providerId="ADAL" clId="{B376DD1B-D1D1-4E69-94E7-ED3E1B2B779E}" dt="2023-04-05T12:25:57.731" v="170" actId="20577"/>
          <ac:spMkLst>
            <pc:docMk/>
            <pc:sldMk cId="3919984126" sldId="666"/>
            <ac:spMk id="3" creationId="{526EF28E-F546-8C82-261F-610044B4F462}"/>
          </ac:spMkLst>
        </pc:spChg>
        <pc:spChg chg="mod">
          <ac:chgData name="Marie-Laure Mauborgne" userId="717f1e20-c968-4716-94d0-7143ffa6b39a" providerId="ADAL" clId="{B376DD1B-D1D1-4E69-94E7-ED3E1B2B779E}" dt="2023-04-05T12:24:30.654" v="164" actId="207"/>
          <ac:spMkLst>
            <pc:docMk/>
            <pc:sldMk cId="3919984126" sldId="666"/>
            <ac:spMk id="5" creationId="{1CBF5E72-CB78-293B-94E5-C0C4268DD4CF}"/>
          </ac:spMkLst>
        </pc:spChg>
        <pc:spChg chg="mod">
          <ac:chgData name="Marie-Laure Mauborgne" userId="717f1e20-c968-4716-94d0-7143ffa6b39a" providerId="ADAL" clId="{B376DD1B-D1D1-4E69-94E7-ED3E1B2B779E}" dt="2023-04-05T12:24:13.297" v="159" actId="207"/>
          <ac:spMkLst>
            <pc:docMk/>
            <pc:sldMk cId="3919984126" sldId="666"/>
            <ac:spMk id="7" creationId="{2B7C5F84-5CD0-A4D8-22BA-EDEA5114A556}"/>
          </ac:spMkLst>
        </pc:spChg>
        <pc:spChg chg="mod">
          <ac:chgData name="Marie-Laure Mauborgne" userId="717f1e20-c968-4716-94d0-7143ffa6b39a" providerId="ADAL" clId="{B376DD1B-D1D1-4E69-94E7-ED3E1B2B779E}" dt="2023-04-05T12:24:19.173" v="161" actId="207"/>
          <ac:spMkLst>
            <pc:docMk/>
            <pc:sldMk cId="3919984126" sldId="666"/>
            <ac:spMk id="8" creationId="{BFA3E465-7955-41A7-3DEB-F882A39BAEF1}"/>
          </ac:spMkLst>
        </pc:spChg>
        <pc:spChg chg="mod">
          <ac:chgData name="Marie-Laure Mauborgne" userId="717f1e20-c968-4716-94d0-7143ffa6b39a" providerId="ADAL" clId="{B376DD1B-D1D1-4E69-94E7-ED3E1B2B779E}" dt="2023-04-05T12:24:22.918" v="162" actId="207"/>
          <ac:spMkLst>
            <pc:docMk/>
            <pc:sldMk cId="3919984126" sldId="666"/>
            <ac:spMk id="16" creationId="{6A069206-5A26-CF99-0C2F-E1AA2320CE1C}"/>
          </ac:spMkLst>
        </pc:spChg>
        <pc:spChg chg="mod">
          <ac:chgData name="Marie-Laure Mauborgne" userId="717f1e20-c968-4716-94d0-7143ffa6b39a" providerId="ADAL" clId="{B376DD1B-D1D1-4E69-94E7-ED3E1B2B779E}" dt="2023-04-05T12:24:26.394" v="163" actId="207"/>
          <ac:spMkLst>
            <pc:docMk/>
            <pc:sldMk cId="3919984126" sldId="666"/>
            <ac:spMk id="17" creationId="{40E10239-3C1D-6910-1EC4-E763ED144A09}"/>
          </ac:spMkLst>
        </pc:spChg>
        <pc:spChg chg="mod">
          <ac:chgData name="Marie-Laure Mauborgne" userId="717f1e20-c968-4716-94d0-7143ffa6b39a" providerId="ADAL" clId="{B376DD1B-D1D1-4E69-94E7-ED3E1B2B779E}" dt="2023-04-05T12:24:10.418" v="158" actId="207"/>
          <ac:spMkLst>
            <pc:docMk/>
            <pc:sldMk cId="3919984126" sldId="666"/>
            <ac:spMk id="32" creationId="{D5A2622C-F70D-A34C-7B7C-D8AA3AE0FD1C}"/>
          </ac:spMkLst>
        </pc:spChg>
        <pc:spChg chg="mod">
          <ac:chgData name="Marie-Laure Mauborgne" userId="717f1e20-c968-4716-94d0-7143ffa6b39a" providerId="ADAL" clId="{B376DD1B-D1D1-4E69-94E7-ED3E1B2B779E}" dt="2023-04-05T12:24:16.345" v="160" actId="207"/>
          <ac:spMkLst>
            <pc:docMk/>
            <pc:sldMk cId="3919984126" sldId="666"/>
            <ac:spMk id="33" creationId="{45521E5E-E679-4D22-31DB-74C477CD1E42}"/>
          </ac:spMkLst>
        </pc:spChg>
        <pc:grpChg chg="mod">
          <ac:chgData name="Marie-Laure Mauborgne" userId="717f1e20-c968-4716-94d0-7143ffa6b39a" providerId="ADAL" clId="{B376DD1B-D1D1-4E69-94E7-ED3E1B2B779E}" dt="2023-04-05T12:24:30.654" v="164" actId="207"/>
          <ac:grpSpMkLst>
            <pc:docMk/>
            <pc:sldMk cId="3919984126" sldId="666"/>
            <ac:grpSpMk id="6" creationId="{CFAA471C-675B-F111-D382-01519D0CA3A4}"/>
          </ac:grpSpMkLst>
        </pc:grpChg>
        <pc:grpChg chg="mod">
          <ac:chgData name="Marie-Laure Mauborgne" userId="717f1e20-c968-4716-94d0-7143ffa6b39a" providerId="ADAL" clId="{B376DD1B-D1D1-4E69-94E7-ED3E1B2B779E}" dt="2023-04-05T12:24:22.918" v="162" actId="207"/>
          <ac:grpSpMkLst>
            <pc:docMk/>
            <pc:sldMk cId="3919984126" sldId="666"/>
            <ac:grpSpMk id="14" creationId="{5BBB5358-7C81-F353-96A2-ABBC308F9CC7}"/>
          </ac:grpSpMkLst>
        </pc:grpChg>
        <pc:picChg chg="mod">
          <ac:chgData name="Marie-Laure Mauborgne" userId="717f1e20-c968-4716-94d0-7143ffa6b39a" providerId="ADAL" clId="{B376DD1B-D1D1-4E69-94E7-ED3E1B2B779E}" dt="2023-04-05T12:24:30.654" v="164" actId="207"/>
          <ac:picMkLst>
            <pc:docMk/>
            <pc:sldMk cId="3919984126" sldId="666"/>
            <ac:picMk id="4" creationId="{C2D45CF6-82EC-BF45-9924-46BC439D185E}"/>
          </ac:picMkLst>
        </pc:picChg>
        <pc:picChg chg="mod">
          <ac:chgData name="Marie-Laure Mauborgne" userId="717f1e20-c968-4716-94d0-7143ffa6b39a" providerId="ADAL" clId="{B376DD1B-D1D1-4E69-94E7-ED3E1B2B779E}" dt="2023-04-05T12:24:22.918" v="162" actId="207"/>
          <ac:picMkLst>
            <pc:docMk/>
            <pc:sldMk cId="3919984126" sldId="666"/>
            <ac:picMk id="15" creationId="{9479A50F-74C4-53EA-BC13-C9BB0537A244}"/>
          </ac:picMkLst>
        </pc:picChg>
      </pc:sldChg>
      <pc:sldChg chg="modSp mod modClrScheme chgLayout">
        <pc:chgData name="Marie-Laure Mauborgne" userId="717f1e20-c968-4716-94d0-7143ffa6b39a" providerId="ADAL" clId="{B376DD1B-D1D1-4E69-94E7-ED3E1B2B779E}" dt="2023-04-05T12:23:48.179" v="154" actId="700"/>
        <pc:sldMkLst>
          <pc:docMk/>
          <pc:sldMk cId="1568999786" sldId="674"/>
        </pc:sldMkLst>
        <pc:spChg chg="mod ord">
          <ac:chgData name="Marie-Laure Mauborgne" userId="717f1e20-c968-4716-94d0-7143ffa6b39a" providerId="ADAL" clId="{B376DD1B-D1D1-4E69-94E7-ED3E1B2B779E}" dt="2023-04-05T12:23:48.179" v="154" actId="700"/>
          <ac:spMkLst>
            <pc:docMk/>
            <pc:sldMk cId="1568999786" sldId="674"/>
            <ac:spMk id="2" creationId="{250DEFBF-5A46-8516-D1A3-314C0B98DA8C}"/>
          </ac:spMkLst>
        </pc:spChg>
        <pc:spChg chg="mod ord">
          <ac:chgData name="Marie-Laure Mauborgne" userId="717f1e20-c968-4716-94d0-7143ffa6b39a" providerId="ADAL" clId="{B376DD1B-D1D1-4E69-94E7-ED3E1B2B779E}" dt="2023-04-05T12:23:48.179" v="154" actId="700"/>
          <ac:spMkLst>
            <pc:docMk/>
            <pc:sldMk cId="1568999786" sldId="674"/>
            <ac:spMk id="5" creationId="{0CAF7F82-A749-BC74-46D4-9E3671118BE8}"/>
          </ac:spMkLst>
        </pc:spChg>
      </pc:sldChg>
      <pc:sldChg chg="addSp delSp modSp del mod ord modClrScheme chgLayout">
        <pc:chgData name="Marie-Laure Mauborgne" userId="717f1e20-c968-4716-94d0-7143ffa6b39a" providerId="ADAL" clId="{B376DD1B-D1D1-4E69-94E7-ED3E1B2B779E}" dt="2023-04-05T15:42:32.788" v="310" actId="47"/>
        <pc:sldMkLst>
          <pc:docMk/>
          <pc:sldMk cId="2988685174" sldId="681"/>
        </pc:sldMkLst>
        <pc:spChg chg="mod ord">
          <ac:chgData name="Marie-Laure Mauborgne" userId="717f1e20-c968-4716-94d0-7143ffa6b39a" providerId="ADAL" clId="{B376DD1B-D1D1-4E69-94E7-ED3E1B2B779E}" dt="2023-04-05T15:42:28.448" v="308" actId="21"/>
          <ac:spMkLst>
            <pc:docMk/>
            <pc:sldMk cId="2988685174" sldId="681"/>
            <ac:spMk id="2" creationId="{250DEFBF-5A46-8516-D1A3-314C0B98DA8C}"/>
          </ac:spMkLst>
        </pc:spChg>
        <pc:spChg chg="add del mod ord">
          <ac:chgData name="Marie-Laure Mauborgne" userId="717f1e20-c968-4716-94d0-7143ffa6b39a" providerId="ADAL" clId="{B376DD1B-D1D1-4E69-94E7-ED3E1B2B779E}" dt="2023-04-05T15:40:34.879" v="273" actId="478"/>
          <ac:spMkLst>
            <pc:docMk/>
            <pc:sldMk cId="2988685174" sldId="681"/>
            <ac:spMk id="3" creationId="{86921F3E-BFB3-9C53-E745-A92060A9D7C3}"/>
          </ac:spMkLst>
        </pc:spChg>
        <pc:picChg chg="mod">
          <ac:chgData name="Marie-Laure Mauborgne" userId="717f1e20-c968-4716-94d0-7143ffa6b39a" providerId="ADAL" clId="{B376DD1B-D1D1-4E69-94E7-ED3E1B2B779E}" dt="2023-04-05T15:40:37.211" v="275" actId="1076"/>
          <ac:picMkLst>
            <pc:docMk/>
            <pc:sldMk cId="2988685174" sldId="681"/>
            <ac:picMk id="5" creationId="{22C32B1B-1E07-F0FD-A389-E8579505C8BC}"/>
          </ac:picMkLst>
        </pc:picChg>
      </pc:sldChg>
      <pc:sldChg chg="addSp delSp modSp mod modClrScheme chgLayout">
        <pc:chgData name="Marie-Laure Mauborgne" userId="717f1e20-c968-4716-94d0-7143ffa6b39a" providerId="ADAL" clId="{B376DD1B-D1D1-4E69-94E7-ED3E1B2B779E}" dt="2023-04-05T12:23:02.587" v="151" actId="700"/>
        <pc:sldMkLst>
          <pc:docMk/>
          <pc:sldMk cId="773061102" sldId="2147379073"/>
        </pc:sldMkLst>
        <pc:spChg chg="mod ord">
          <ac:chgData name="Marie-Laure Mauborgne" userId="717f1e20-c968-4716-94d0-7143ffa6b39a" providerId="ADAL" clId="{B376DD1B-D1D1-4E69-94E7-ED3E1B2B779E}" dt="2023-04-05T12:23:02.587" v="151" actId="700"/>
          <ac:spMkLst>
            <pc:docMk/>
            <pc:sldMk cId="773061102" sldId="2147379073"/>
            <ac:spMk id="2" creationId="{00000000-0000-0000-0000-000000000000}"/>
          </ac:spMkLst>
        </pc:spChg>
        <pc:spChg chg="add del mod ord">
          <ac:chgData name="Marie-Laure Mauborgne" userId="717f1e20-c968-4716-94d0-7143ffa6b39a" providerId="ADAL" clId="{B376DD1B-D1D1-4E69-94E7-ED3E1B2B779E}" dt="2023-04-05T12:23:02.587" v="151" actId="700"/>
          <ac:spMkLst>
            <pc:docMk/>
            <pc:sldMk cId="773061102" sldId="2147379073"/>
            <ac:spMk id="3" creationId="{60A2EEA6-5823-C9D6-21F8-33473AEC2B63}"/>
          </ac:spMkLst>
        </pc:spChg>
        <pc:spChg chg="mod ord">
          <ac:chgData name="Marie-Laure Mauborgne" userId="717f1e20-c968-4716-94d0-7143ffa6b39a" providerId="ADAL" clId="{B376DD1B-D1D1-4E69-94E7-ED3E1B2B779E}" dt="2023-04-05T12:23:02.587" v="151" actId="700"/>
          <ac:spMkLst>
            <pc:docMk/>
            <pc:sldMk cId="773061102" sldId="2147379073"/>
            <ac:spMk id="4" creationId="{00000000-0000-0000-0000-000000000000}"/>
          </ac:spMkLst>
        </pc:spChg>
        <pc:spChg chg="mod ord">
          <ac:chgData name="Marie-Laure Mauborgne" userId="717f1e20-c968-4716-94d0-7143ffa6b39a" providerId="ADAL" clId="{B376DD1B-D1D1-4E69-94E7-ED3E1B2B779E}" dt="2023-04-05T12:23:02.587" v="151" actId="700"/>
          <ac:spMkLst>
            <pc:docMk/>
            <pc:sldMk cId="773061102" sldId="2147379073"/>
            <ac:spMk id="5" creationId="{00000000-0000-0000-0000-000000000000}"/>
          </ac:spMkLst>
        </pc:spChg>
        <pc:spChg chg="add mod ord">
          <ac:chgData name="Marie-Laure Mauborgne" userId="717f1e20-c968-4716-94d0-7143ffa6b39a" providerId="ADAL" clId="{B376DD1B-D1D1-4E69-94E7-ED3E1B2B779E}" dt="2023-04-05T12:23:02.587" v="151" actId="700"/>
          <ac:spMkLst>
            <pc:docMk/>
            <pc:sldMk cId="773061102" sldId="2147379073"/>
            <ac:spMk id="6" creationId="{B224F9E3-2DF5-03A7-D44F-9531C19125EF}"/>
          </ac:spMkLst>
        </pc:spChg>
        <pc:spChg chg="add mod ord">
          <ac:chgData name="Marie-Laure Mauborgne" userId="717f1e20-c968-4716-94d0-7143ffa6b39a" providerId="ADAL" clId="{B376DD1B-D1D1-4E69-94E7-ED3E1B2B779E}" dt="2023-04-05T12:23:02.587" v="151" actId="700"/>
          <ac:spMkLst>
            <pc:docMk/>
            <pc:sldMk cId="773061102" sldId="2147379073"/>
            <ac:spMk id="7" creationId="{53183C37-917D-AD69-6B6F-84ED439625A4}"/>
          </ac:spMkLst>
        </pc:spChg>
      </pc:sldChg>
      <pc:sldChg chg="new del">
        <pc:chgData name="Marie-Laure Mauborgne" userId="717f1e20-c968-4716-94d0-7143ffa6b39a" providerId="ADAL" clId="{B376DD1B-D1D1-4E69-94E7-ED3E1B2B779E}" dt="2023-04-05T12:29:11.039" v="175" actId="47"/>
        <pc:sldMkLst>
          <pc:docMk/>
          <pc:sldMk cId="3158893215" sldId="2147379076"/>
        </pc:sldMkLst>
      </pc:sldChg>
    </pc:docChg>
  </pc:docChgLst>
  <pc:docChgLst>
    <pc:chgData name="Alexis Pallain" userId="c36ed1c7-ded9-4db6-a024-7557c6c16aab" providerId="ADAL" clId="{D70F164C-4110-4B99-8562-95268C4129AE}"/>
    <pc:docChg chg="undo custSel addSld delSld modSld sldOrd">
      <pc:chgData name="Alexis Pallain" userId="c36ed1c7-ded9-4db6-a024-7557c6c16aab" providerId="ADAL" clId="{D70F164C-4110-4B99-8562-95268C4129AE}" dt="2023-04-07T12:15:38.709" v="2161" actId="729"/>
      <pc:docMkLst>
        <pc:docMk/>
      </pc:docMkLst>
      <pc:sldChg chg="modSp mod">
        <pc:chgData name="Alexis Pallain" userId="c36ed1c7-ded9-4db6-a024-7557c6c16aab" providerId="ADAL" clId="{D70F164C-4110-4B99-8562-95268C4129AE}" dt="2023-03-28T08:45:53.078" v="6" actId="20577"/>
        <pc:sldMkLst>
          <pc:docMk/>
          <pc:sldMk cId="2854351964" sldId="257"/>
        </pc:sldMkLst>
        <pc:spChg chg="mod">
          <ac:chgData name="Alexis Pallain" userId="c36ed1c7-ded9-4db6-a024-7557c6c16aab" providerId="ADAL" clId="{D70F164C-4110-4B99-8562-95268C4129AE}" dt="2023-03-28T08:45:53.078" v="6" actId="20577"/>
          <ac:spMkLst>
            <pc:docMk/>
            <pc:sldMk cId="2854351964" sldId="257"/>
            <ac:spMk id="7" creationId="{CDFE6908-2B53-A8B8-14DF-0F78031824FB}"/>
          </ac:spMkLst>
        </pc:spChg>
      </pc:sldChg>
      <pc:sldChg chg="del">
        <pc:chgData name="Alexis Pallain" userId="c36ed1c7-ded9-4db6-a024-7557c6c16aab" providerId="ADAL" clId="{D70F164C-4110-4B99-8562-95268C4129AE}" dt="2023-03-28T09:07:37.322" v="371" actId="47"/>
        <pc:sldMkLst>
          <pc:docMk/>
          <pc:sldMk cId="4197892329" sldId="321"/>
        </pc:sldMkLst>
      </pc:sldChg>
      <pc:sldChg chg="add">
        <pc:chgData name="Alexis Pallain" userId="c36ed1c7-ded9-4db6-a024-7557c6c16aab" providerId="ADAL" clId="{D70F164C-4110-4B99-8562-95268C4129AE}" dt="2023-03-28T09:01:20.851" v="121"/>
        <pc:sldMkLst>
          <pc:docMk/>
          <pc:sldMk cId="1550801614" sldId="361"/>
        </pc:sldMkLst>
      </pc:sldChg>
      <pc:sldChg chg="ord">
        <pc:chgData name="Alexis Pallain" userId="c36ed1c7-ded9-4db6-a024-7557c6c16aab" providerId="ADAL" clId="{D70F164C-4110-4B99-8562-95268C4129AE}" dt="2023-03-28T09:01:10.494" v="120"/>
        <pc:sldMkLst>
          <pc:docMk/>
          <pc:sldMk cId="352217459" sldId="372"/>
        </pc:sldMkLst>
      </pc:sldChg>
      <pc:sldChg chg="modSp">
        <pc:chgData name="Alexis Pallain" userId="c36ed1c7-ded9-4db6-a024-7557c6c16aab" providerId="ADAL" clId="{D70F164C-4110-4B99-8562-95268C4129AE}" dt="2023-04-06T09:37:58.343" v="1229"/>
        <pc:sldMkLst>
          <pc:docMk/>
          <pc:sldMk cId="500936331" sldId="377"/>
        </pc:sldMkLst>
        <pc:graphicFrameChg chg="mod">
          <ac:chgData name="Alexis Pallain" userId="c36ed1c7-ded9-4db6-a024-7557c6c16aab" providerId="ADAL" clId="{D70F164C-4110-4B99-8562-95268C4129AE}" dt="2023-04-06T09:37:58.343" v="1229"/>
          <ac:graphicFrameMkLst>
            <pc:docMk/>
            <pc:sldMk cId="500936331" sldId="377"/>
            <ac:graphicFrameMk id="4" creationId="{0AD34314-0767-6612-96E9-6D68FBCC62A9}"/>
          </ac:graphicFrameMkLst>
        </pc:graphicFrameChg>
      </pc:sldChg>
      <pc:sldChg chg="mod modShow">
        <pc:chgData name="Alexis Pallain" userId="c36ed1c7-ded9-4db6-a024-7557c6c16aab" providerId="ADAL" clId="{D70F164C-4110-4B99-8562-95268C4129AE}" dt="2023-04-06T11:32:47.410" v="1451" actId="729"/>
        <pc:sldMkLst>
          <pc:docMk/>
          <pc:sldMk cId="3357076986" sldId="378"/>
        </pc:sldMkLst>
      </pc:sldChg>
      <pc:sldChg chg="add mod modShow">
        <pc:chgData name="Alexis Pallain" userId="c36ed1c7-ded9-4db6-a024-7557c6c16aab" providerId="ADAL" clId="{D70F164C-4110-4B99-8562-95268C4129AE}" dt="2023-04-04T15:36:08.081" v="858" actId="729"/>
        <pc:sldMkLst>
          <pc:docMk/>
          <pc:sldMk cId="3065482779" sldId="381"/>
        </pc:sldMkLst>
      </pc:sldChg>
      <pc:sldChg chg="ord">
        <pc:chgData name="Alexis Pallain" userId="c36ed1c7-ded9-4db6-a024-7557c6c16aab" providerId="ADAL" clId="{D70F164C-4110-4B99-8562-95268C4129AE}" dt="2023-04-04T15:29:47.561" v="854"/>
        <pc:sldMkLst>
          <pc:docMk/>
          <pc:sldMk cId="2306752089" sldId="434"/>
        </pc:sldMkLst>
      </pc:sldChg>
      <pc:sldChg chg="modSp mod ord modShow">
        <pc:chgData name="Alexis Pallain" userId="c36ed1c7-ded9-4db6-a024-7557c6c16aab" providerId="ADAL" clId="{D70F164C-4110-4B99-8562-95268C4129AE}" dt="2023-04-06T11:32:13.077" v="1450" actId="20577"/>
        <pc:sldMkLst>
          <pc:docMk/>
          <pc:sldMk cId="3919984126" sldId="666"/>
        </pc:sldMkLst>
        <pc:spChg chg="mod">
          <ac:chgData name="Alexis Pallain" userId="c36ed1c7-ded9-4db6-a024-7557c6c16aab" providerId="ADAL" clId="{D70F164C-4110-4B99-8562-95268C4129AE}" dt="2023-04-06T11:32:13.077" v="1450" actId="20577"/>
          <ac:spMkLst>
            <pc:docMk/>
            <pc:sldMk cId="3919984126" sldId="666"/>
            <ac:spMk id="3" creationId="{526EF28E-F546-8C82-261F-610044B4F462}"/>
          </ac:spMkLst>
        </pc:spChg>
      </pc:sldChg>
      <pc:sldChg chg="modSp mod">
        <pc:chgData name="Alexis Pallain" userId="c36ed1c7-ded9-4db6-a024-7557c6c16aab" providerId="ADAL" clId="{D70F164C-4110-4B99-8562-95268C4129AE}" dt="2023-04-05T13:25:38.791" v="1011" actId="6549"/>
        <pc:sldMkLst>
          <pc:docMk/>
          <pc:sldMk cId="954897603" sldId="2134804504"/>
        </pc:sldMkLst>
        <pc:graphicFrameChg chg="mod modGraphic">
          <ac:chgData name="Alexis Pallain" userId="c36ed1c7-ded9-4db6-a024-7557c6c16aab" providerId="ADAL" clId="{D70F164C-4110-4B99-8562-95268C4129AE}" dt="2023-04-05T13:25:38.791" v="1011" actId="6549"/>
          <ac:graphicFrameMkLst>
            <pc:docMk/>
            <pc:sldMk cId="954897603" sldId="2134804504"/>
            <ac:graphicFrameMk id="4" creationId="{2743016F-07B1-B536-D98F-B6339E029F70}"/>
          </ac:graphicFrameMkLst>
        </pc:graphicFrameChg>
      </pc:sldChg>
      <pc:sldChg chg="add">
        <pc:chgData name="Alexis Pallain" userId="c36ed1c7-ded9-4db6-a024-7557c6c16aab" providerId="ADAL" clId="{D70F164C-4110-4B99-8562-95268C4129AE}" dt="2023-03-28T09:01:20.851" v="121"/>
        <pc:sldMkLst>
          <pc:docMk/>
          <pc:sldMk cId="1395785707" sldId="2134804513"/>
        </pc:sldMkLst>
      </pc:sldChg>
      <pc:sldChg chg="modSp mod">
        <pc:chgData name="Alexis Pallain" userId="c36ed1c7-ded9-4db6-a024-7557c6c16aab" providerId="ADAL" clId="{D70F164C-4110-4B99-8562-95268C4129AE}" dt="2023-04-04T15:12:58.868" v="839" actId="20577"/>
        <pc:sldMkLst>
          <pc:docMk/>
          <pc:sldMk cId="2653008997" sldId="2134804521"/>
        </pc:sldMkLst>
        <pc:spChg chg="mod">
          <ac:chgData name="Alexis Pallain" userId="c36ed1c7-ded9-4db6-a024-7557c6c16aab" providerId="ADAL" clId="{D70F164C-4110-4B99-8562-95268C4129AE}" dt="2023-04-04T15:12:58.868" v="839" actId="20577"/>
          <ac:spMkLst>
            <pc:docMk/>
            <pc:sldMk cId="2653008997" sldId="2134804521"/>
            <ac:spMk id="29" creationId="{D94D551C-8BEC-0F0D-DF59-8B144760F0CF}"/>
          </ac:spMkLst>
        </pc:spChg>
      </pc:sldChg>
      <pc:sldChg chg="modSp mod">
        <pc:chgData name="Alexis Pallain" userId="c36ed1c7-ded9-4db6-a024-7557c6c16aab" providerId="ADAL" clId="{D70F164C-4110-4B99-8562-95268C4129AE}" dt="2023-04-05T13:32:34.241" v="1117" actId="20577"/>
        <pc:sldMkLst>
          <pc:docMk/>
          <pc:sldMk cId="1617946034" sldId="2134804522"/>
        </pc:sldMkLst>
        <pc:spChg chg="mod">
          <ac:chgData name="Alexis Pallain" userId="c36ed1c7-ded9-4db6-a024-7557c6c16aab" providerId="ADAL" clId="{D70F164C-4110-4B99-8562-95268C4129AE}" dt="2023-04-05T13:32:34.241" v="1117" actId="20577"/>
          <ac:spMkLst>
            <pc:docMk/>
            <pc:sldMk cId="1617946034" sldId="2134804522"/>
            <ac:spMk id="40" creationId="{9FA8B47F-79A2-9687-02CF-8CAD073E1F06}"/>
          </ac:spMkLst>
        </pc:spChg>
      </pc:sldChg>
      <pc:sldChg chg="mod ord modShow">
        <pc:chgData name="Alexis Pallain" userId="c36ed1c7-ded9-4db6-a024-7557c6c16aab" providerId="ADAL" clId="{D70F164C-4110-4B99-8562-95268C4129AE}" dt="2023-04-07T12:15:38.709" v="2161" actId="729"/>
        <pc:sldMkLst>
          <pc:docMk/>
          <pc:sldMk cId="2419785585" sldId="2134804524"/>
        </pc:sldMkLst>
      </pc:sldChg>
      <pc:sldChg chg="del mod modShow">
        <pc:chgData name="Alexis Pallain" userId="c36ed1c7-ded9-4db6-a024-7557c6c16aab" providerId="ADAL" clId="{D70F164C-4110-4B99-8562-95268C4129AE}" dt="2023-03-28T08:56:24.342" v="79" actId="47"/>
        <pc:sldMkLst>
          <pc:docMk/>
          <pc:sldMk cId="3599469885" sldId="2142535332"/>
        </pc:sldMkLst>
      </pc:sldChg>
      <pc:sldChg chg="del mod modShow">
        <pc:chgData name="Alexis Pallain" userId="c36ed1c7-ded9-4db6-a024-7557c6c16aab" providerId="ADAL" clId="{D70F164C-4110-4B99-8562-95268C4129AE}" dt="2023-03-28T08:56:24.342" v="79" actId="47"/>
        <pc:sldMkLst>
          <pc:docMk/>
          <pc:sldMk cId="4258101654" sldId="2142535333"/>
        </pc:sldMkLst>
      </pc:sldChg>
      <pc:sldChg chg="del mod modShow">
        <pc:chgData name="Alexis Pallain" userId="c36ed1c7-ded9-4db6-a024-7557c6c16aab" providerId="ADAL" clId="{D70F164C-4110-4B99-8562-95268C4129AE}" dt="2023-03-28T09:02:34.830" v="125" actId="47"/>
        <pc:sldMkLst>
          <pc:docMk/>
          <pc:sldMk cId="1582988379" sldId="2142535337"/>
        </pc:sldMkLst>
      </pc:sldChg>
      <pc:sldChg chg="addSp delSp modSp del mod modAnim modShow">
        <pc:chgData name="Alexis Pallain" userId="c36ed1c7-ded9-4db6-a024-7557c6c16aab" providerId="ADAL" clId="{D70F164C-4110-4B99-8562-95268C4129AE}" dt="2023-03-28T09:02:21.798" v="123" actId="47"/>
        <pc:sldMkLst>
          <pc:docMk/>
          <pc:sldMk cId="1399180575" sldId="2142535338"/>
        </pc:sldMkLst>
        <pc:spChg chg="add del">
          <ac:chgData name="Alexis Pallain" userId="c36ed1c7-ded9-4db6-a024-7557c6c16aab" providerId="ADAL" clId="{D70F164C-4110-4B99-8562-95268C4129AE}" dt="2023-03-28T08:52:42.135" v="18" actId="22"/>
          <ac:spMkLst>
            <pc:docMk/>
            <pc:sldMk cId="1399180575" sldId="2142535338"/>
            <ac:spMk id="10" creationId="{531DDF7C-36F5-0911-0C38-CD44DBDC166F}"/>
          </ac:spMkLst>
        </pc:spChg>
        <pc:picChg chg="add mod">
          <ac:chgData name="Alexis Pallain" userId="c36ed1c7-ded9-4db6-a024-7557c6c16aab" providerId="ADAL" clId="{D70F164C-4110-4B99-8562-95268C4129AE}" dt="2023-03-28T08:52:06.559" v="15" actId="1076"/>
          <ac:picMkLst>
            <pc:docMk/>
            <pc:sldMk cId="1399180575" sldId="2142535338"/>
            <ac:picMk id="6" creationId="{CC8870FF-9D09-8398-50CF-DD6F12304E92}"/>
          </ac:picMkLst>
        </pc:picChg>
        <pc:picChg chg="add mod">
          <ac:chgData name="Alexis Pallain" userId="c36ed1c7-ded9-4db6-a024-7557c6c16aab" providerId="ADAL" clId="{D70F164C-4110-4B99-8562-95268C4129AE}" dt="2023-03-28T08:52:12.078" v="16" actId="1076"/>
          <ac:picMkLst>
            <pc:docMk/>
            <pc:sldMk cId="1399180575" sldId="2142535338"/>
            <ac:picMk id="7" creationId="{4AD81230-BFF1-41C3-AE54-30BB484421F5}"/>
          </ac:picMkLst>
        </pc:picChg>
        <pc:picChg chg="del">
          <ac:chgData name="Alexis Pallain" userId="c36ed1c7-ded9-4db6-a024-7557c6c16aab" providerId="ADAL" clId="{D70F164C-4110-4B99-8562-95268C4129AE}" dt="2023-03-28T08:51:55.383" v="13" actId="478"/>
          <ac:picMkLst>
            <pc:docMk/>
            <pc:sldMk cId="1399180575" sldId="2142535338"/>
            <ac:picMk id="270" creationId="{8BF1CF0A-81A7-092B-D623-CCC49D8A43C6}"/>
          </ac:picMkLst>
        </pc:picChg>
      </pc:sldChg>
      <pc:sldChg chg="addSp delSp modSp del mod addAnim delAnim">
        <pc:chgData name="Alexis Pallain" userId="c36ed1c7-ded9-4db6-a024-7557c6c16aab" providerId="ADAL" clId="{D70F164C-4110-4B99-8562-95268C4129AE}" dt="2023-03-28T08:50:58.009" v="12" actId="47"/>
        <pc:sldMkLst>
          <pc:docMk/>
          <pc:sldMk cId="3032201622" sldId="2142535340"/>
        </pc:sldMkLst>
        <pc:spChg chg="mod">
          <ac:chgData name="Alexis Pallain" userId="c36ed1c7-ded9-4db6-a024-7557c6c16aab" providerId="ADAL" clId="{D70F164C-4110-4B99-8562-95268C4129AE}" dt="2023-03-28T08:47:34.142" v="9" actId="6549"/>
          <ac:spMkLst>
            <pc:docMk/>
            <pc:sldMk cId="3032201622" sldId="2142535340"/>
            <ac:spMk id="14" creationId="{3EC470F4-B70E-2DFD-B391-0C78F0AB5F02}"/>
          </ac:spMkLst>
        </pc:spChg>
        <pc:spChg chg="add del">
          <ac:chgData name="Alexis Pallain" userId="c36ed1c7-ded9-4db6-a024-7557c6c16aab" providerId="ADAL" clId="{D70F164C-4110-4B99-8562-95268C4129AE}" dt="2023-03-28T08:47:34.741" v="10" actId="478"/>
          <ac:spMkLst>
            <pc:docMk/>
            <pc:sldMk cId="3032201622" sldId="2142535340"/>
            <ac:spMk id="366" creationId="{03E00EF6-7D12-5C23-B48F-B485948399ED}"/>
          </ac:spMkLst>
        </pc:spChg>
      </pc:sldChg>
      <pc:sldChg chg="del">
        <pc:chgData name="Alexis Pallain" userId="c36ed1c7-ded9-4db6-a024-7557c6c16aab" providerId="ADAL" clId="{D70F164C-4110-4B99-8562-95268C4129AE}" dt="2023-03-28T09:02:38.342" v="126" actId="47"/>
        <pc:sldMkLst>
          <pc:docMk/>
          <pc:sldMk cId="2738228102" sldId="2142535342"/>
        </pc:sldMkLst>
      </pc:sldChg>
      <pc:sldChg chg="modSp add mod modAnim">
        <pc:chgData name="Alexis Pallain" userId="c36ed1c7-ded9-4db6-a024-7557c6c16aab" providerId="ADAL" clId="{D70F164C-4110-4B99-8562-95268C4129AE}" dt="2023-03-28T08:54:14.114" v="74" actId="20577"/>
        <pc:sldMkLst>
          <pc:docMk/>
          <pc:sldMk cId="1689646336" sldId="2142535367"/>
        </pc:sldMkLst>
        <pc:spChg chg="mod">
          <ac:chgData name="Alexis Pallain" userId="c36ed1c7-ded9-4db6-a024-7557c6c16aab" providerId="ADAL" clId="{D70F164C-4110-4B99-8562-95268C4129AE}" dt="2023-03-28T08:54:14.114" v="74" actId="20577"/>
          <ac:spMkLst>
            <pc:docMk/>
            <pc:sldMk cId="1689646336" sldId="2142535367"/>
            <ac:spMk id="3" creationId="{4780E10A-60FA-DA95-4BEE-D843019D4D54}"/>
          </ac:spMkLst>
        </pc:spChg>
        <pc:picChg chg="mod">
          <ac:chgData name="Alexis Pallain" userId="c36ed1c7-ded9-4db6-a024-7557c6c16aab" providerId="ADAL" clId="{D70F164C-4110-4B99-8562-95268C4129AE}" dt="2023-03-28T08:53:24.438" v="20" actId="1076"/>
          <ac:picMkLst>
            <pc:docMk/>
            <pc:sldMk cId="1689646336" sldId="2142535367"/>
            <ac:picMk id="12" creationId="{DC025CC2-A1A8-7324-0675-F17471C3E2F4}"/>
          </ac:picMkLst>
        </pc:picChg>
      </pc:sldChg>
      <pc:sldChg chg="add">
        <pc:chgData name="Alexis Pallain" userId="c36ed1c7-ded9-4db6-a024-7557c6c16aab" providerId="ADAL" clId="{D70F164C-4110-4B99-8562-95268C4129AE}" dt="2023-03-28T08:50:49.893" v="11"/>
        <pc:sldMkLst>
          <pc:docMk/>
          <pc:sldMk cId="377998030" sldId="2142535368"/>
        </pc:sldMkLst>
      </pc:sldChg>
      <pc:sldChg chg="del">
        <pc:chgData name="Alexis Pallain" userId="c36ed1c7-ded9-4db6-a024-7557c6c16aab" providerId="ADAL" clId="{D70F164C-4110-4B99-8562-95268C4129AE}" dt="2023-03-28T08:56:24.342" v="79" actId="47"/>
        <pc:sldMkLst>
          <pc:docMk/>
          <pc:sldMk cId="3213035211" sldId="2147378778"/>
        </pc:sldMkLst>
      </pc:sldChg>
      <pc:sldChg chg="del">
        <pc:chgData name="Alexis Pallain" userId="c36ed1c7-ded9-4db6-a024-7557c6c16aab" providerId="ADAL" clId="{D70F164C-4110-4B99-8562-95268C4129AE}" dt="2023-03-28T09:01:07.362" v="118" actId="47"/>
        <pc:sldMkLst>
          <pc:docMk/>
          <pc:sldMk cId="1780913622" sldId="2147378788"/>
        </pc:sldMkLst>
      </pc:sldChg>
      <pc:sldChg chg="del mod modShow">
        <pc:chgData name="Alexis Pallain" userId="c36ed1c7-ded9-4db6-a024-7557c6c16aab" providerId="ADAL" clId="{D70F164C-4110-4B99-8562-95268C4129AE}" dt="2023-03-28T09:07:35.555" v="370" actId="47"/>
        <pc:sldMkLst>
          <pc:docMk/>
          <pc:sldMk cId="444521345" sldId="2147378797"/>
        </pc:sldMkLst>
      </pc:sldChg>
      <pc:sldChg chg="del">
        <pc:chgData name="Alexis Pallain" userId="c36ed1c7-ded9-4db6-a024-7557c6c16aab" providerId="ADAL" clId="{D70F164C-4110-4B99-8562-95268C4129AE}" dt="2023-03-28T09:02:33.160" v="124" actId="47"/>
        <pc:sldMkLst>
          <pc:docMk/>
          <pc:sldMk cId="1208834599" sldId="2147378798"/>
        </pc:sldMkLst>
      </pc:sldChg>
      <pc:sldChg chg="del">
        <pc:chgData name="Alexis Pallain" userId="c36ed1c7-ded9-4db6-a024-7557c6c16aab" providerId="ADAL" clId="{D70F164C-4110-4B99-8562-95268C4129AE}" dt="2023-03-28T09:02:33.160" v="124" actId="47"/>
        <pc:sldMkLst>
          <pc:docMk/>
          <pc:sldMk cId="4022040243" sldId="2147378799"/>
        </pc:sldMkLst>
      </pc:sldChg>
      <pc:sldChg chg="del">
        <pc:chgData name="Alexis Pallain" userId="c36ed1c7-ded9-4db6-a024-7557c6c16aab" providerId="ADAL" clId="{D70F164C-4110-4B99-8562-95268C4129AE}" dt="2023-03-28T08:56:24.342" v="79" actId="47"/>
        <pc:sldMkLst>
          <pc:docMk/>
          <pc:sldMk cId="2845007607" sldId="2147378804"/>
        </pc:sldMkLst>
      </pc:sldChg>
      <pc:sldChg chg="del">
        <pc:chgData name="Alexis Pallain" userId="c36ed1c7-ded9-4db6-a024-7557c6c16aab" providerId="ADAL" clId="{D70F164C-4110-4B99-8562-95268C4129AE}" dt="2023-03-28T08:56:24.342" v="79" actId="47"/>
        <pc:sldMkLst>
          <pc:docMk/>
          <pc:sldMk cId="124832277" sldId="2147378805"/>
        </pc:sldMkLst>
      </pc:sldChg>
      <pc:sldChg chg="modSp add del mod ord modShow">
        <pc:chgData name="Alexis Pallain" userId="c36ed1c7-ded9-4db6-a024-7557c6c16aab" providerId="ADAL" clId="{D70F164C-4110-4B99-8562-95268C4129AE}" dt="2023-04-06T15:42:08.614" v="1920" actId="729"/>
        <pc:sldMkLst>
          <pc:docMk/>
          <pc:sldMk cId="1786774589" sldId="2147378812"/>
        </pc:sldMkLst>
        <pc:spChg chg="mod">
          <ac:chgData name="Alexis Pallain" userId="c36ed1c7-ded9-4db6-a024-7557c6c16aab" providerId="ADAL" clId="{D70F164C-4110-4B99-8562-95268C4129AE}" dt="2023-03-30T15:58:37.306" v="799" actId="20577"/>
          <ac:spMkLst>
            <pc:docMk/>
            <pc:sldMk cId="1786774589" sldId="2147378812"/>
            <ac:spMk id="6" creationId="{4A46C37D-4637-46E0-99BE-2B6B42CE6ED0}"/>
          </ac:spMkLst>
        </pc:spChg>
      </pc:sldChg>
      <pc:sldChg chg="modSp mod">
        <pc:chgData name="Alexis Pallain" userId="c36ed1c7-ded9-4db6-a024-7557c6c16aab" providerId="ADAL" clId="{D70F164C-4110-4B99-8562-95268C4129AE}" dt="2023-03-28T09:08:15.278" v="374" actId="14100"/>
        <pc:sldMkLst>
          <pc:docMk/>
          <pc:sldMk cId="3658751145" sldId="2147378818"/>
        </pc:sldMkLst>
        <pc:cxnChg chg="mod">
          <ac:chgData name="Alexis Pallain" userId="c36ed1c7-ded9-4db6-a024-7557c6c16aab" providerId="ADAL" clId="{D70F164C-4110-4B99-8562-95268C4129AE}" dt="2023-03-28T09:08:15.278" v="374" actId="14100"/>
          <ac:cxnSpMkLst>
            <pc:docMk/>
            <pc:sldMk cId="3658751145" sldId="2147378818"/>
            <ac:cxnSpMk id="12" creationId="{F1D00758-0A02-EBAA-C592-95316435B490}"/>
          </ac:cxnSpMkLst>
        </pc:cxnChg>
      </pc:sldChg>
      <pc:sldChg chg="mod modShow">
        <pc:chgData name="Alexis Pallain" userId="c36ed1c7-ded9-4db6-a024-7557c6c16aab" providerId="ADAL" clId="{D70F164C-4110-4B99-8562-95268C4129AE}" dt="2023-03-30T15:45:40.991" v="766" actId="729"/>
        <pc:sldMkLst>
          <pc:docMk/>
          <pc:sldMk cId="2344860147" sldId="2147378819"/>
        </pc:sldMkLst>
      </pc:sldChg>
      <pc:sldChg chg="modSp del mod modShow">
        <pc:chgData name="Alexis Pallain" userId="c36ed1c7-ded9-4db6-a024-7557c6c16aab" providerId="ADAL" clId="{D70F164C-4110-4B99-8562-95268C4129AE}" dt="2023-03-30T15:42:06.662" v="753" actId="47"/>
        <pc:sldMkLst>
          <pc:docMk/>
          <pc:sldMk cId="1124184457" sldId="2147378820"/>
        </pc:sldMkLst>
        <pc:spChg chg="mod">
          <ac:chgData name="Alexis Pallain" userId="c36ed1c7-ded9-4db6-a024-7557c6c16aab" providerId="ADAL" clId="{D70F164C-4110-4B99-8562-95268C4129AE}" dt="2023-03-28T09:21:08.712" v="393" actId="20577"/>
          <ac:spMkLst>
            <pc:docMk/>
            <pc:sldMk cId="1124184457" sldId="2147378820"/>
            <ac:spMk id="4" creationId="{11953F39-01D1-70E7-370A-B93B4CCB2F5C}"/>
          </ac:spMkLst>
        </pc:spChg>
      </pc:sldChg>
      <pc:sldChg chg="mod modShow">
        <pc:chgData name="Alexis Pallain" userId="c36ed1c7-ded9-4db6-a024-7557c6c16aab" providerId="ADAL" clId="{D70F164C-4110-4B99-8562-95268C4129AE}" dt="2023-04-04T15:24:16.090" v="848" actId="729"/>
        <pc:sldMkLst>
          <pc:docMk/>
          <pc:sldMk cId="470958028" sldId="2147378824"/>
        </pc:sldMkLst>
      </pc:sldChg>
      <pc:sldChg chg="modSp mod">
        <pc:chgData name="Alexis Pallain" userId="c36ed1c7-ded9-4db6-a024-7557c6c16aab" providerId="ADAL" clId="{D70F164C-4110-4B99-8562-95268C4129AE}" dt="2023-03-28T09:07:45.796" v="372" actId="403"/>
        <pc:sldMkLst>
          <pc:docMk/>
          <pc:sldMk cId="3818289999" sldId="2147378829"/>
        </pc:sldMkLst>
        <pc:spChg chg="mod">
          <ac:chgData name="Alexis Pallain" userId="c36ed1c7-ded9-4db6-a024-7557c6c16aab" providerId="ADAL" clId="{D70F164C-4110-4B99-8562-95268C4129AE}" dt="2023-03-28T09:07:45.796" v="372" actId="403"/>
          <ac:spMkLst>
            <pc:docMk/>
            <pc:sldMk cId="3818289999" sldId="2147378829"/>
            <ac:spMk id="6" creationId="{4A46C37D-4637-46E0-99BE-2B6B42CE6ED0}"/>
          </ac:spMkLst>
        </pc:spChg>
      </pc:sldChg>
      <pc:sldChg chg="modSp mod">
        <pc:chgData name="Alexis Pallain" userId="c36ed1c7-ded9-4db6-a024-7557c6c16aab" providerId="ADAL" clId="{D70F164C-4110-4B99-8562-95268C4129AE}" dt="2023-03-30T15:45:08.976" v="765" actId="2165"/>
        <pc:sldMkLst>
          <pc:docMk/>
          <pc:sldMk cId="400922107" sldId="2147378830"/>
        </pc:sldMkLst>
        <pc:spChg chg="mod">
          <ac:chgData name="Alexis Pallain" userId="c36ed1c7-ded9-4db6-a024-7557c6c16aab" providerId="ADAL" clId="{D70F164C-4110-4B99-8562-95268C4129AE}" dt="2023-03-30T15:44:43.284" v="763" actId="20577"/>
          <ac:spMkLst>
            <pc:docMk/>
            <pc:sldMk cId="400922107" sldId="2147378830"/>
            <ac:spMk id="4" creationId="{16279D74-E900-CED6-C55F-2F6624D9F0E0}"/>
          </ac:spMkLst>
        </pc:spChg>
        <pc:graphicFrameChg chg="modGraphic">
          <ac:chgData name="Alexis Pallain" userId="c36ed1c7-ded9-4db6-a024-7557c6c16aab" providerId="ADAL" clId="{D70F164C-4110-4B99-8562-95268C4129AE}" dt="2023-03-30T15:45:08.976" v="765" actId="2165"/>
          <ac:graphicFrameMkLst>
            <pc:docMk/>
            <pc:sldMk cId="400922107" sldId="2147378830"/>
            <ac:graphicFrameMk id="5" creationId="{E64C96BA-8D3F-9C33-F285-747FCE50EBB7}"/>
          </ac:graphicFrameMkLst>
        </pc:graphicFrameChg>
      </pc:sldChg>
      <pc:sldChg chg="mod modShow">
        <pc:chgData name="Alexis Pallain" userId="c36ed1c7-ded9-4db6-a024-7557c6c16aab" providerId="ADAL" clId="{D70F164C-4110-4B99-8562-95268C4129AE}" dt="2023-03-30T15:42:19.101" v="754" actId="729"/>
        <pc:sldMkLst>
          <pc:docMk/>
          <pc:sldMk cId="3693928197" sldId="2147379066"/>
        </pc:sldMkLst>
      </pc:sldChg>
      <pc:sldChg chg="addSp modSp mod modAnim">
        <pc:chgData name="Alexis Pallain" userId="c36ed1c7-ded9-4db6-a024-7557c6c16aab" providerId="ADAL" clId="{D70F164C-4110-4B99-8562-95268C4129AE}" dt="2023-04-07T10:47:41.292" v="2160" actId="1076"/>
        <pc:sldMkLst>
          <pc:docMk/>
          <pc:sldMk cId="3098091831" sldId="2147379067"/>
        </pc:sldMkLst>
        <pc:spChg chg="mod">
          <ac:chgData name="Alexis Pallain" userId="c36ed1c7-ded9-4db6-a024-7557c6c16aab" providerId="ADAL" clId="{D70F164C-4110-4B99-8562-95268C4129AE}" dt="2023-04-07T10:47:41.292" v="2160" actId="1076"/>
          <ac:spMkLst>
            <pc:docMk/>
            <pc:sldMk cId="3098091831" sldId="2147379067"/>
            <ac:spMk id="3" creationId="{40BA5F81-13D4-30C8-72D6-A410536ED369}"/>
          </ac:spMkLst>
        </pc:spChg>
        <pc:spChg chg="add mod">
          <ac:chgData name="Alexis Pallain" userId="c36ed1c7-ded9-4db6-a024-7557c6c16aab" providerId="ADAL" clId="{D70F164C-4110-4B99-8562-95268C4129AE}" dt="2023-04-07T08:21:25.801" v="2112" actId="14100"/>
          <ac:spMkLst>
            <pc:docMk/>
            <pc:sldMk cId="3098091831" sldId="2147379067"/>
            <ac:spMk id="5" creationId="{AF175948-F29A-765D-F910-E5B82AA03BEA}"/>
          </ac:spMkLst>
        </pc:spChg>
        <pc:spChg chg="add mod">
          <ac:chgData name="Alexis Pallain" userId="c36ed1c7-ded9-4db6-a024-7557c6c16aab" providerId="ADAL" clId="{D70F164C-4110-4B99-8562-95268C4129AE}" dt="2023-04-07T08:21:25.801" v="2112" actId="14100"/>
          <ac:spMkLst>
            <pc:docMk/>
            <pc:sldMk cId="3098091831" sldId="2147379067"/>
            <ac:spMk id="7" creationId="{10E8B60C-53E0-2FDC-FF50-48CAAFC3F7F9}"/>
          </ac:spMkLst>
        </pc:spChg>
        <pc:spChg chg="add mod">
          <ac:chgData name="Alexis Pallain" userId="c36ed1c7-ded9-4db6-a024-7557c6c16aab" providerId="ADAL" clId="{D70F164C-4110-4B99-8562-95268C4129AE}" dt="2023-04-07T08:21:25.801" v="2112" actId="14100"/>
          <ac:spMkLst>
            <pc:docMk/>
            <pc:sldMk cId="3098091831" sldId="2147379067"/>
            <ac:spMk id="8" creationId="{4F31019C-6B1B-6FCE-4A97-A74276CD75A4}"/>
          </ac:spMkLst>
        </pc:spChg>
        <pc:spChg chg="add mod">
          <ac:chgData name="Alexis Pallain" userId="c36ed1c7-ded9-4db6-a024-7557c6c16aab" providerId="ADAL" clId="{D70F164C-4110-4B99-8562-95268C4129AE}" dt="2023-04-07T08:21:25.801" v="2112" actId="14100"/>
          <ac:spMkLst>
            <pc:docMk/>
            <pc:sldMk cId="3098091831" sldId="2147379067"/>
            <ac:spMk id="9" creationId="{220C5014-47D4-F5CF-B52E-5F93E90F7E7E}"/>
          </ac:spMkLst>
        </pc:spChg>
        <pc:spChg chg="add mod">
          <ac:chgData name="Alexis Pallain" userId="c36ed1c7-ded9-4db6-a024-7557c6c16aab" providerId="ADAL" clId="{D70F164C-4110-4B99-8562-95268C4129AE}" dt="2023-04-07T08:21:25.801" v="2112" actId="14100"/>
          <ac:spMkLst>
            <pc:docMk/>
            <pc:sldMk cId="3098091831" sldId="2147379067"/>
            <ac:spMk id="10" creationId="{D639F8A0-ADD3-67D7-C7F8-4E0DC307FDAE}"/>
          </ac:spMkLst>
        </pc:spChg>
        <pc:spChg chg="add mod">
          <ac:chgData name="Alexis Pallain" userId="c36ed1c7-ded9-4db6-a024-7557c6c16aab" providerId="ADAL" clId="{D70F164C-4110-4B99-8562-95268C4129AE}" dt="2023-04-07T08:21:25.801" v="2112" actId="14100"/>
          <ac:spMkLst>
            <pc:docMk/>
            <pc:sldMk cId="3098091831" sldId="2147379067"/>
            <ac:spMk id="11" creationId="{A829CFE0-128F-8DBA-3BBD-0D98CC3CFC0B}"/>
          </ac:spMkLst>
        </pc:spChg>
        <pc:spChg chg="add mod">
          <ac:chgData name="Alexis Pallain" userId="c36ed1c7-ded9-4db6-a024-7557c6c16aab" providerId="ADAL" clId="{D70F164C-4110-4B99-8562-95268C4129AE}" dt="2023-04-07T08:21:25.801" v="2112" actId="14100"/>
          <ac:spMkLst>
            <pc:docMk/>
            <pc:sldMk cId="3098091831" sldId="2147379067"/>
            <ac:spMk id="12" creationId="{39FD1A96-56BB-5BFF-EC0D-0013E6660FD8}"/>
          </ac:spMkLst>
        </pc:spChg>
        <pc:spChg chg="add mod">
          <ac:chgData name="Alexis Pallain" userId="c36ed1c7-ded9-4db6-a024-7557c6c16aab" providerId="ADAL" clId="{D70F164C-4110-4B99-8562-95268C4129AE}" dt="2023-04-07T08:21:25.801" v="2112" actId="14100"/>
          <ac:spMkLst>
            <pc:docMk/>
            <pc:sldMk cId="3098091831" sldId="2147379067"/>
            <ac:spMk id="13" creationId="{1AC08416-0470-1CE1-904E-4F7B9C15E29B}"/>
          </ac:spMkLst>
        </pc:spChg>
        <pc:spChg chg="add mod">
          <ac:chgData name="Alexis Pallain" userId="c36ed1c7-ded9-4db6-a024-7557c6c16aab" providerId="ADAL" clId="{D70F164C-4110-4B99-8562-95268C4129AE}" dt="2023-04-07T08:22:51.464" v="2157" actId="27636"/>
          <ac:spMkLst>
            <pc:docMk/>
            <pc:sldMk cId="3098091831" sldId="2147379067"/>
            <ac:spMk id="14" creationId="{28180DD2-2B31-A219-D3FA-3FCB74306F94}"/>
          </ac:spMkLst>
        </pc:spChg>
        <pc:picChg chg="mod">
          <ac:chgData name="Alexis Pallain" userId="c36ed1c7-ded9-4db6-a024-7557c6c16aab" providerId="ADAL" clId="{D70F164C-4110-4B99-8562-95268C4129AE}" dt="2023-04-07T08:21:25.801" v="2112" actId="14100"/>
          <ac:picMkLst>
            <pc:docMk/>
            <pc:sldMk cId="3098091831" sldId="2147379067"/>
            <ac:picMk id="6" creationId="{0F731716-86A4-DA5F-656C-FC1952767E34}"/>
          </ac:picMkLst>
        </pc:picChg>
      </pc:sldChg>
      <pc:sldChg chg="modSp add del mod">
        <pc:chgData name="Alexis Pallain" userId="c36ed1c7-ded9-4db6-a024-7557c6c16aab" providerId="ADAL" clId="{D70F164C-4110-4B99-8562-95268C4129AE}" dt="2023-03-28T09:07:32.117" v="369" actId="47"/>
        <pc:sldMkLst>
          <pc:docMk/>
          <pc:sldMk cId="1016899980" sldId="2147379068"/>
        </pc:sldMkLst>
        <pc:spChg chg="mod">
          <ac:chgData name="Alexis Pallain" userId="c36ed1c7-ded9-4db6-a024-7557c6c16aab" providerId="ADAL" clId="{D70F164C-4110-4B99-8562-95268C4129AE}" dt="2023-03-28T09:02:58.894" v="139" actId="20577"/>
          <ac:spMkLst>
            <pc:docMk/>
            <pc:sldMk cId="1016899980" sldId="2147379068"/>
            <ac:spMk id="5" creationId="{A5AA973F-E48C-D839-23E9-DCF9CE8FB5C2}"/>
          </ac:spMkLst>
        </pc:spChg>
      </pc:sldChg>
      <pc:sldChg chg="modSp new mod">
        <pc:chgData name="Alexis Pallain" userId="c36ed1c7-ded9-4db6-a024-7557c6c16aab" providerId="ADAL" clId="{D70F164C-4110-4B99-8562-95268C4129AE}" dt="2023-04-04T15:52:29.194" v="955" actId="20577"/>
        <pc:sldMkLst>
          <pc:docMk/>
          <pc:sldMk cId="2593285436" sldId="2147379069"/>
        </pc:sldMkLst>
        <pc:spChg chg="mod">
          <ac:chgData name="Alexis Pallain" userId="c36ed1c7-ded9-4db6-a024-7557c6c16aab" providerId="ADAL" clId="{D70F164C-4110-4B99-8562-95268C4129AE}" dt="2023-03-28T09:03:12.201" v="151" actId="20577"/>
          <ac:spMkLst>
            <pc:docMk/>
            <pc:sldMk cId="2593285436" sldId="2147379069"/>
            <ac:spMk id="2" creationId="{065CEB4F-37A1-1669-4D9F-BCCE6D68F939}"/>
          </ac:spMkLst>
        </pc:spChg>
        <pc:spChg chg="mod">
          <ac:chgData name="Alexis Pallain" userId="c36ed1c7-ded9-4db6-a024-7557c6c16aab" providerId="ADAL" clId="{D70F164C-4110-4B99-8562-95268C4129AE}" dt="2023-04-04T15:52:29.194" v="955" actId="20577"/>
          <ac:spMkLst>
            <pc:docMk/>
            <pc:sldMk cId="2593285436" sldId="2147379069"/>
            <ac:spMk id="3" creationId="{A0468659-8421-71B0-527A-BFC8795CB061}"/>
          </ac:spMkLst>
        </pc:spChg>
      </pc:sldChg>
      <pc:sldChg chg="addSp modSp new mod addAnim delAnim modAnim">
        <pc:chgData name="Alexis Pallain" userId="c36ed1c7-ded9-4db6-a024-7557c6c16aab" providerId="ADAL" clId="{D70F164C-4110-4B99-8562-95268C4129AE}" dt="2023-04-05T13:37:09.369" v="1201" actId="20577"/>
        <pc:sldMkLst>
          <pc:docMk/>
          <pc:sldMk cId="1639478457" sldId="2147379070"/>
        </pc:sldMkLst>
        <pc:spChg chg="mod">
          <ac:chgData name="Alexis Pallain" userId="c36ed1c7-ded9-4db6-a024-7557c6c16aab" providerId="ADAL" clId="{D70F164C-4110-4B99-8562-95268C4129AE}" dt="2023-04-05T13:29:27.967" v="1094" actId="20577"/>
          <ac:spMkLst>
            <pc:docMk/>
            <pc:sldMk cId="1639478457" sldId="2147379070"/>
            <ac:spMk id="4" creationId="{92932245-318E-0CEF-B316-7D0F06B603DF}"/>
          </ac:spMkLst>
        </pc:spChg>
        <pc:spChg chg="add mod">
          <ac:chgData name="Alexis Pallain" userId="c36ed1c7-ded9-4db6-a024-7557c6c16aab" providerId="ADAL" clId="{D70F164C-4110-4B99-8562-95268C4129AE}" dt="2023-04-05T13:37:07.798" v="1200" actId="20577"/>
          <ac:spMkLst>
            <pc:docMk/>
            <pc:sldMk cId="1639478457" sldId="2147379070"/>
            <ac:spMk id="5" creationId="{E5BE0115-AB38-51D7-5646-77E003956F6A}"/>
          </ac:spMkLst>
        </pc:spChg>
        <pc:spChg chg="add mod">
          <ac:chgData name="Alexis Pallain" userId="c36ed1c7-ded9-4db6-a024-7557c6c16aab" providerId="ADAL" clId="{D70F164C-4110-4B99-8562-95268C4129AE}" dt="2023-04-05T13:37:00.609" v="1199" actId="108"/>
          <ac:spMkLst>
            <pc:docMk/>
            <pc:sldMk cId="1639478457" sldId="2147379070"/>
            <ac:spMk id="6" creationId="{429990E4-CAE1-0402-D789-087BCD89421B}"/>
          </ac:spMkLst>
        </pc:spChg>
        <pc:spChg chg="add mod">
          <ac:chgData name="Alexis Pallain" userId="c36ed1c7-ded9-4db6-a024-7557c6c16aab" providerId="ADAL" clId="{D70F164C-4110-4B99-8562-95268C4129AE}" dt="2023-04-05T13:31:14.389" v="1105"/>
          <ac:spMkLst>
            <pc:docMk/>
            <pc:sldMk cId="1639478457" sldId="2147379070"/>
            <ac:spMk id="7" creationId="{D807FB45-B77C-9D7A-D6D0-D6692956D0D8}"/>
          </ac:spMkLst>
        </pc:spChg>
        <pc:spChg chg="add mod">
          <ac:chgData name="Alexis Pallain" userId="c36ed1c7-ded9-4db6-a024-7557c6c16aab" providerId="ADAL" clId="{D70F164C-4110-4B99-8562-95268C4129AE}" dt="2023-04-05T13:31:26.371" v="1108"/>
          <ac:spMkLst>
            <pc:docMk/>
            <pc:sldMk cId="1639478457" sldId="2147379070"/>
            <ac:spMk id="8" creationId="{AD8D62D0-FDDC-6B66-A3D5-FDBFF7FBCCC5}"/>
          </ac:spMkLst>
        </pc:spChg>
        <pc:spChg chg="add mod">
          <ac:chgData name="Alexis Pallain" userId="c36ed1c7-ded9-4db6-a024-7557c6c16aab" providerId="ADAL" clId="{D70F164C-4110-4B99-8562-95268C4129AE}" dt="2023-04-05T13:31:17.078" v="1106"/>
          <ac:spMkLst>
            <pc:docMk/>
            <pc:sldMk cId="1639478457" sldId="2147379070"/>
            <ac:spMk id="9" creationId="{498CAC58-BC39-A646-3877-D6C0C2AE7673}"/>
          </ac:spMkLst>
        </pc:spChg>
      </pc:sldChg>
      <pc:sldChg chg="addSp modSp new mod">
        <pc:chgData name="Alexis Pallain" userId="c36ed1c7-ded9-4db6-a024-7557c6c16aab" providerId="ADAL" clId="{D70F164C-4110-4B99-8562-95268C4129AE}" dt="2023-03-30T15:46:22.061" v="770" actId="14100"/>
        <pc:sldMkLst>
          <pc:docMk/>
          <pc:sldMk cId="417650236" sldId="2147379071"/>
        </pc:sldMkLst>
        <pc:spChg chg="mod">
          <ac:chgData name="Alexis Pallain" userId="c36ed1c7-ded9-4db6-a024-7557c6c16aab" providerId="ADAL" clId="{D70F164C-4110-4B99-8562-95268C4129AE}" dt="2023-03-28T09:29:08.863" v="668" actId="20577"/>
          <ac:spMkLst>
            <pc:docMk/>
            <pc:sldMk cId="417650236" sldId="2147379071"/>
            <ac:spMk id="4" creationId="{3D1C30F5-4A95-89A4-71EA-27EF0E956EEA}"/>
          </ac:spMkLst>
        </pc:spChg>
        <pc:picChg chg="add mod">
          <ac:chgData name="Alexis Pallain" userId="c36ed1c7-ded9-4db6-a024-7557c6c16aab" providerId="ADAL" clId="{D70F164C-4110-4B99-8562-95268C4129AE}" dt="2023-03-30T15:46:22.061" v="770" actId="14100"/>
          <ac:picMkLst>
            <pc:docMk/>
            <pc:sldMk cId="417650236" sldId="2147379071"/>
            <ac:picMk id="5" creationId="{D4D1F083-75B6-D948-72A6-7755BC199E9B}"/>
          </ac:picMkLst>
        </pc:picChg>
      </pc:sldChg>
      <pc:sldChg chg="addSp modSp new mod">
        <pc:chgData name="Alexis Pallain" userId="c36ed1c7-ded9-4db6-a024-7557c6c16aab" providerId="ADAL" clId="{D70F164C-4110-4B99-8562-95268C4129AE}" dt="2023-03-28T09:29:42.487" v="675"/>
        <pc:sldMkLst>
          <pc:docMk/>
          <pc:sldMk cId="2508766539" sldId="2147379072"/>
        </pc:sldMkLst>
        <pc:spChg chg="mod">
          <ac:chgData name="Alexis Pallain" userId="c36ed1c7-ded9-4db6-a024-7557c6c16aab" providerId="ADAL" clId="{D70F164C-4110-4B99-8562-95268C4129AE}" dt="2023-03-28T09:29:34.031" v="674" actId="20577"/>
          <ac:spMkLst>
            <pc:docMk/>
            <pc:sldMk cId="2508766539" sldId="2147379072"/>
            <ac:spMk id="4" creationId="{5525F33B-9B49-8A41-D752-60539FF97AAA}"/>
          </ac:spMkLst>
        </pc:spChg>
        <pc:picChg chg="add mod">
          <ac:chgData name="Alexis Pallain" userId="c36ed1c7-ded9-4db6-a024-7557c6c16aab" providerId="ADAL" clId="{D70F164C-4110-4B99-8562-95268C4129AE}" dt="2023-03-28T09:29:42.487" v="675"/>
          <ac:picMkLst>
            <pc:docMk/>
            <pc:sldMk cId="2508766539" sldId="2147379072"/>
            <ac:picMk id="5" creationId="{9A4C1137-65CA-E401-3DA0-99B99C4151F9}"/>
          </ac:picMkLst>
        </pc:picChg>
        <pc:picChg chg="add mod">
          <ac:chgData name="Alexis Pallain" userId="c36ed1c7-ded9-4db6-a024-7557c6c16aab" providerId="ADAL" clId="{D70F164C-4110-4B99-8562-95268C4129AE}" dt="2023-03-28T09:29:42.487" v="675"/>
          <ac:picMkLst>
            <pc:docMk/>
            <pc:sldMk cId="2508766539" sldId="2147379072"/>
            <ac:picMk id="6" creationId="{68468213-AFB6-49F9-617E-ABD45B4A3790}"/>
          </ac:picMkLst>
        </pc:picChg>
        <pc:cxnChg chg="add mod">
          <ac:chgData name="Alexis Pallain" userId="c36ed1c7-ded9-4db6-a024-7557c6c16aab" providerId="ADAL" clId="{D70F164C-4110-4B99-8562-95268C4129AE}" dt="2023-03-28T09:29:42.487" v="675"/>
          <ac:cxnSpMkLst>
            <pc:docMk/>
            <pc:sldMk cId="2508766539" sldId="2147379072"/>
            <ac:cxnSpMk id="7" creationId="{FE6F9A92-382A-BA7D-57DD-14F54E1FA6EF}"/>
          </ac:cxnSpMkLst>
        </pc:cxnChg>
      </pc:sldChg>
      <pc:sldChg chg="delSp modSp add mod">
        <pc:chgData name="Alexis Pallain" userId="c36ed1c7-ded9-4db6-a024-7557c6c16aab" providerId="ADAL" clId="{D70F164C-4110-4B99-8562-95268C4129AE}" dt="2023-04-05T07:19:22.010" v="977" actId="20577"/>
        <pc:sldMkLst>
          <pc:docMk/>
          <pc:sldMk cId="773061102" sldId="2147379073"/>
        </pc:sldMkLst>
        <pc:spChg chg="mod">
          <ac:chgData name="Alexis Pallain" userId="c36ed1c7-ded9-4db6-a024-7557c6c16aab" providerId="ADAL" clId="{D70F164C-4110-4B99-8562-95268C4129AE}" dt="2023-04-05T07:19:22.010" v="977" actId="20577"/>
          <ac:spMkLst>
            <pc:docMk/>
            <pc:sldMk cId="773061102" sldId="2147379073"/>
            <ac:spMk id="2" creationId="{00000000-0000-0000-0000-000000000000}"/>
          </ac:spMkLst>
        </pc:spChg>
        <pc:spChg chg="del">
          <ac:chgData name="Alexis Pallain" userId="c36ed1c7-ded9-4db6-a024-7557c6c16aab" providerId="ADAL" clId="{D70F164C-4110-4B99-8562-95268C4129AE}" dt="2023-04-05T07:19:15.589" v="959" actId="478"/>
          <ac:spMkLst>
            <pc:docMk/>
            <pc:sldMk cId="773061102" sldId="2147379073"/>
            <ac:spMk id="6" creationId="{4A46C37D-4637-46E0-99BE-2B6B42CE6ED0}"/>
          </ac:spMkLst>
        </pc:spChg>
      </pc:sldChg>
      <pc:sldChg chg="add del">
        <pc:chgData name="Alexis Pallain" userId="c36ed1c7-ded9-4db6-a024-7557c6c16aab" providerId="ADAL" clId="{D70F164C-4110-4B99-8562-95268C4129AE}" dt="2023-04-05T07:19:13.050" v="957"/>
        <pc:sldMkLst>
          <pc:docMk/>
          <pc:sldMk cId="4091941853" sldId="2147379073"/>
        </pc:sldMkLst>
      </pc:sldChg>
      <pc:sldChg chg="modSp add mod">
        <pc:chgData name="Alexis Pallain" userId="c36ed1c7-ded9-4db6-a024-7557c6c16aab" providerId="ADAL" clId="{D70F164C-4110-4B99-8562-95268C4129AE}" dt="2023-04-05T07:19:44.264" v="985" actId="20577"/>
        <pc:sldMkLst>
          <pc:docMk/>
          <pc:sldMk cId="2743320368" sldId="2147379074"/>
        </pc:sldMkLst>
        <pc:spChg chg="mod">
          <ac:chgData name="Alexis Pallain" userId="c36ed1c7-ded9-4db6-a024-7557c6c16aab" providerId="ADAL" clId="{D70F164C-4110-4B99-8562-95268C4129AE}" dt="2023-04-05T07:19:44.264" v="985" actId="20577"/>
          <ac:spMkLst>
            <pc:docMk/>
            <pc:sldMk cId="2743320368" sldId="2147379074"/>
            <ac:spMk id="2" creationId="{00000000-0000-0000-0000-000000000000}"/>
          </ac:spMkLst>
        </pc:spChg>
      </pc:sldChg>
      <pc:sldChg chg="modSp add mod">
        <pc:chgData name="Alexis Pallain" userId="c36ed1c7-ded9-4db6-a024-7557c6c16aab" providerId="ADAL" clId="{D70F164C-4110-4B99-8562-95268C4129AE}" dt="2023-04-05T07:19:55.471" v="996" actId="20577"/>
        <pc:sldMkLst>
          <pc:docMk/>
          <pc:sldMk cId="2317070314" sldId="2147379075"/>
        </pc:sldMkLst>
        <pc:spChg chg="mod">
          <ac:chgData name="Alexis Pallain" userId="c36ed1c7-ded9-4db6-a024-7557c6c16aab" providerId="ADAL" clId="{D70F164C-4110-4B99-8562-95268C4129AE}" dt="2023-04-05T07:19:55.471" v="996" actId="20577"/>
          <ac:spMkLst>
            <pc:docMk/>
            <pc:sldMk cId="2317070314" sldId="2147379075"/>
            <ac:spMk id="2" creationId="{00000000-0000-0000-0000-000000000000}"/>
          </ac:spMkLst>
        </pc:spChg>
      </pc:sldChg>
      <pc:sldChg chg="addSp delSp modSp add del mod">
        <pc:chgData name="Alexis Pallain" userId="c36ed1c7-ded9-4db6-a024-7557c6c16aab" providerId="ADAL" clId="{D70F164C-4110-4B99-8562-95268C4129AE}" dt="2023-04-06T15:35:41.880" v="1785" actId="47"/>
        <pc:sldMkLst>
          <pc:docMk/>
          <pc:sldMk cId="912914344" sldId="2147379076"/>
        </pc:sldMkLst>
        <pc:spChg chg="mod">
          <ac:chgData name="Alexis Pallain" userId="c36ed1c7-ded9-4db6-a024-7557c6c16aab" providerId="ADAL" clId="{D70F164C-4110-4B99-8562-95268C4129AE}" dt="2023-04-06T09:37:47.933" v="1228" actId="20577"/>
          <ac:spMkLst>
            <pc:docMk/>
            <pc:sldMk cId="912914344" sldId="2147379076"/>
            <ac:spMk id="2" creationId="{00000000-0000-0000-0000-000000000000}"/>
          </ac:spMkLst>
        </pc:spChg>
        <pc:spChg chg="del">
          <ac:chgData name="Alexis Pallain" userId="c36ed1c7-ded9-4db6-a024-7557c6c16aab" providerId="ADAL" clId="{D70F164C-4110-4B99-8562-95268C4129AE}" dt="2023-04-06T09:37:02.684" v="1205" actId="478"/>
          <ac:spMkLst>
            <pc:docMk/>
            <pc:sldMk cId="912914344" sldId="2147379076"/>
            <ac:spMk id="6" creationId="{4A46C37D-4637-46E0-99BE-2B6B42CE6ED0}"/>
          </ac:spMkLst>
        </pc:spChg>
        <pc:graphicFrameChg chg="add del mod modGraphic">
          <ac:chgData name="Alexis Pallain" userId="c36ed1c7-ded9-4db6-a024-7557c6c16aab" providerId="ADAL" clId="{D70F164C-4110-4B99-8562-95268C4129AE}" dt="2023-04-06T09:38:08.415" v="1231" actId="108"/>
          <ac:graphicFrameMkLst>
            <pc:docMk/>
            <pc:sldMk cId="912914344" sldId="2147379076"/>
            <ac:graphicFrameMk id="3" creationId="{23A747DC-4527-D505-529B-2CCC468D0E25}"/>
          </ac:graphicFrameMkLst>
        </pc:graphicFrameChg>
      </pc:sldChg>
      <pc:sldChg chg="add del">
        <pc:chgData name="Alexis Pallain" userId="c36ed1c7-ded9-4db6-a024-7557c6c16aab" providerId="ADAL" clId="{D70F164C-4110-4B99-8562-95268C4129AE}" dt="2023-04-06T09:36:32.687" v="1203"/>
        <pc:sldMkLst>
          <pc:docMk/>
          <pc:sldMk cId="3279910049" sldId="2147379076"/>
        </pc:sldMkLst>
      </pc:sldChg>
      <pc:sldChg chg="addSp delSp modSp add mod">
        <pc:chgData name="Alexis Pallain" userId="c36ed1c7-ded9-4db6-a024-7557c6c16aab" providerId="ADAL" clId="{D70F164C-4110-4B99-8562-95268C4129AE}" dt="2023-04-07T08:18:07.153" v="2043" actId="20577"/>
        <pc:sldMkLst>
          <pc:docMk/>
          <pc:sldMk cId="2578169365" sldId="2147379077"/>
        </pc:sldMkLst>
        <pc:spChg chg="mod">
          <ac:chgData name="Alexis Pallain" userId="c36ed1c7-ded9-4db6-a024-7557c6c16aab" providerId="ADAL" clId="{D70F164C-4110-4B99-8562-95268C4129AE}" dt="2023-04-06T15:40:48.111" v="1918" actId="6549"/>
          <ac:spMkLst>
            <pc:docMk/>
            <pc:sldMk cId="2578169365" sldId="2147379077"/>
            <ac:spMk id="2" creationId="{00000000-0000-0000-0000-000000000000}"/>
          </ac:spMkLst>
        </pc:spChg>
        <pc:graphicFrameChg chg="del">
          <ac:chgData name="Alexis Pallain" userId="c36ed1c7-ded9-4db6-a024-7557c6c16aab" providerId="ADAL" clId="{D70F164C-4110-4B99-8562-95268C4129AE}" dt="2023-04-06T09:38:18.395" v="1233" actId="478"/>
          <ac:graphicFrameMkLst>
            <pc:docMk/>
            <pc:sldMk cId="2578169365" sldId="2147379077"/>
            <ac:graphicFrameMk id="3" creationId="{23A747DC-4527-D505-529B-2CCC468D0E25}"/>
          </ac:graphicFrameMkLst>
        </pc:graphicFrameChg>
        <pc:graphicFrameChg chg="add del">
          <ac:chgData name="Alexis Pallain" userId="c36ed1c7-ded9-4db6-a024-7557c6c16aab" providerId="ADAL" clId="{D70F164C-4110-4B99-8562-95268C4129AE}" dt="2023-04-06T09:38:30.244" v="1235" actId="3680"/>
          <ac:graphicFrameMkLst>
            <pc:docMk/>
            <pc:sldMk cId="2578169365" sldId="2147379077"/>
            <ac:graphicFrameMk id="6" creationId="{05E049D6-0A55-C3B3-6987-58BDD0D65B10}"/>
          </ac:graphicFrameMkLst>
        </pc:graphicFrameChg>
        <pc:graphicFrameChg chg="add mod modGraphic">
          <ac:chgData name="Alexis Pallain" userId="c36ed1c7-ded9-4db6-a024-7557c6c16aab" providerId="ADAL" clId="{D70F164C-4110-4B99-8562-95268C4129AE}" dt="2023-04-07T08:18:07.153" v="2043" actId="20577"/>
          <ac:graphicFrameMkLst>
            <pc:docMk/>
            <pc:sldMk cId="2578169365" sldId="2147379077"/>
            <ac:graphicFrameMk id="7" creationId="{52A8B437-7D95-E9DB-4376-C581A3F9D629}"/>
          </ac:graphicFrameMkLst>
        </pc:graphicFrameChg>
      </pc:sldChg>
      <pc:sldChg chg="addSp modSp add mod modAnim">
        <pc:chgData name="Alexis Pallain" userId="c36ed1c7-ded9-4db6-a024-7557c6c16aab" providerId="ADAL" clId="{D70F164C-4110-4B99-8562-95268C4129AE}" dt="2023-04-06T15:50:42.132" v="2021" actId="113"/>
        <pc:sldMkLst>
          <pc:docMk/>
          <pc:sldMk cId="3298908155" sldId="2147379078"/>
        </pc:sldMkLst>
        <pc:spChg chg="mod">
          <ac:chgData name="Alexis Pallain" userId="c36ed1c7-ded9-4db6-a024-7557c6c16aab" providerId="ADAL" clId="{D70F164C-4110-4B99-8562-95268C4129AE}" dt="2023-04-06T14:07:11.677" v="1459" actId="20577"/>
          <ac:spMkLst>
            <pc:docMk/>
            <pc:sldMk cId="3298908155" sldId="2147379078"/>
            <ac:spMk id="5" creationId="{A5AA973F-E48C-D839-23E9-DCF9CE8FB5C2}"/>
          </ac:spMkLst>
        </pc:spChg>
        <pc:spChg chg="add mod">
          <ac:chgData name="Alexis Pallain" userId="c36ed1c7-ded9-4db6-a024-7557c6c16aab" providerId="ADAL" clId="{D70F164C-4110-4B99-8562-95268C4129AE}" dt="2023-04-06T15:50:42.132" v="2021" actId="113"/>
          <ac:spMkLst>
            <pc:docMk/>
            <pc:sldMk cId="3298908155" sldId="2147379078"/>
            <ac:spMk id="7" creationId="{F5BB8641-EC25-CABD-DA7D-1C46052B34CF}"/>
          </ac:spMkLst>
        </pc:spChg>
        <pc:spChg chg="mod">
          <ac:chgData name="Alexis Pallain" userId="c36ed1c7-ded9-4db6-a024-7557c6c16aab" providerId="ADAL" clId="{D70F164C-4110-4B99-8562-95268C4129AE}" dt="2023-04-06T15:50:16.376" v="2020"/>
          <ac:spMkLst>
            <pc:docMk/>
            <pc:sldMk cId="3298908155" sldId="2147379078"/>
            <ac:spMk id="10" creationId="{C4658417-847A-A218-ABAD-65A622980F72}"/>
          </ac:spMkLst>
        </pc:spChg>
        <pc:spChg chg="mod">
          <ac:chgData name="Alexis Pallain" userId="c36ed1c7-ded9-4db6-a024-7557c6c16aab" providerId="ADAL" clId="{D70F164C-4110-4B99-8562-95268C4129AE}" dt="2023-04-06T15:50:16.376" v="2020"/>
          <ac:spMkLst>
            <pc:docMk/>
            <pc:sldMk cId="3298908155" sldId="2147379078"/>
            <ac:spMk id="13" creationId="{A3FFE79F-4EE9-361A-324E-B4E47047B18A}"/>
          </ac:spMkLst>
        </pc:spChg>
        <pc:spChg chg="mod">
          <ac:chgData name="Alexis Pallain" userId="c36ed1c7-ded9-4db6-a024-7557c6c16aab" providerId="ADAL" clId="{D70F164C-4110-4B99-8562-95268C4129AE}" dt="2023-04-06T15:50:16.376" v="2020"/>
          <ac:spMkLst>
            <pc:docMk/>
            <pc:sldMk cId="3298908155" sldId="2147379078"/>
            <ac:spMk id="16" creationId="{CD2EC44E-E35C-10D3-08BF-F680F95390F8}"/>
          </ac:spMkLst>
        </pc:spChg>
        <pc:spChg chg="mod">
          <ac:chgData name="Alexis Pallain" userId="c36ed1c7-ded9-4db6-a024-7557c6c16aab" providerId="ADAL" clId="{D70F164C-4110-4B99-8562-95268C4129AE}" dt="2023-04-06T15:50:16.376" v="2020"/>
          <ac:spMkLst>
            <pc:docMk/>
            <pc:sldMk cId="3298908155" sldId="2147379078"/>
            <ac:spMk id="19" creationId="{9337524F-56C0-F212-3467-C6A30F1309FA}"/>
          </ac:spMkLst>
        </pc:spChg>
        <pc:grpChg chg="add mod">
          <ac:chgData name="Alexis Pallain" userId="c36ed1c7-ded9-4db6-a024-7557c6c16aab" providerId="ADAL" clId="{D70F164C-4110-4B99-8562-95268C4129AE}" dt="2023-04-06T15:50:16.376" v="2020"/>
          <ac:grpSpMkLst>
            <pc:docMk/>
            <pc:sldMk cId="3298908155" sldId="2147379078"/>
            <ac:grpSpMk id="8" creationId="{FEFF69B3-AB9D-F070-F391-11587D17A69B}"/>
          </ac:grpSpMkLst>
        </pc:grpChg>
        <pc:grpChg chg="add mod">
          <ac:chgData name="Alexis Pallain" userId="c36ed1c7-ded9-4db6-a024-7557c6c16aab" providerId="ADAL" clId="{D70F164C-4110-4B99-8562-95268C4129AE}" dt="2023-04-06T15:50:16.376" v="2020"/>
          <ac:grpSpMkLst>
            <pc:docMk/>
            <pc:sldMk cId="3298908155" sldId="2147379078"/>
            <ac:grpSpMk id="15" creationId="{97D50365-3321-9C62-BE85-558E77CF3FB8}"/>
          </ac:grpSpMkLst>
        </pc:grpChg>
        <pc:grpChg chg="add mod">
          <ac:chgData name="Alexis Pallain" userId="c36ed1c7-ded9-4db6-a024-7557c6c16aab" providerId="ADAL" clId="{D70F164C-4110-4B99-8562-95268C4129AE}" dt="2023-04-06T15:50:16.376" v="2020"/>
          <ac:grpSpMkLst>
            <pc:docMk/>
            <pc:sldMk cId="3298908155" sldId="2147379078"/>
            <ac:grpSpMk id="18" creationId="{8513D079-9F23-D358-78C7-93785D090F32}"/>
          </ac:grpSpMkLst>
        </pc:grpChg>
        <pc:graphicFrameChg chg="mod modGraphic">
          <ac:chgData name="Alexis Pallain" userId="c36ed1c7-ded9-4db6-a024-7557c6c16aab" providerId="ADAL" clId="{D70F164C-4110-4B99-8562-95268C4129AE}" dt="2023-04-06T15:49:40.042" v="2019" actId="14734"/>
          <ac:graphicFrameMkLst>
            <pc:docMk/>
            <pc:sldMk cId="3298908155" sldId="2147379078"/>
            <ac:graphicFrameMk id="4" creationId="{2743016F-07B1-B536-D98F-B6339E029F70}"/>
          </ac:graphicFrameMkLst>
        </pc:graphicFrameChg>
        <pc:picChg chg="add mod">
          <ac:chgData name="Alexis Pallain" userId="c36ed1c7-ded9-4db6-a024-7557c6c16aab" providerId="ADAL" clId="{D70F164C-4110-4B99-8562-95268C4129AE}" dt="2023-04-06T15:50:16.376" v="2020"/>
          <ac:picMkLst>
            <pc:docMk/>
            <pc:sldMk cId="3298908155" sldId="2147379078"/>
            <ac:picMk id="6" creationId="{87B2385E-A9A7-8788-743C-85F5AB1DBCCB}"/>
          </ac:picMkLst>
        </pc:picChg>
        <pc:picChg chg="mod">
          <ac:chgData name="Alexis Pallain" userId="c36ed1c7-ded9-4db6-a024-7557c6c16aab" providerId="ADAL" clId="{D70F164C-4110-4B99-8562-95268C4129AE}" dt="2023-04-06T15:50:16.376" v="2020"/>
          <ac:picMkLst>
            <pc:docMk/>
            <pc:sldMk cId="3298908155" sldId="2147379078"/>
            <ac:picMk id="9" creationId="{C28DDC15-318C-998B-3436-911E0C05AD66}"/>
          </ac:picMkLst>
        </pc:picChg>
        <pc:cxnChg chg="mod">
          <ac:chgData name="Alexis Pallain" userId="c36ed1c7-ded9-4db6-a024-7557c6c16aab" providerId="ADAL" clId="{D70F164C-4110-4B99-8562-95268C4129AE}" dt="2023-04-06T15:50:16.376" v="2020"/>
          <ac:cxnSpMkLst>
            <pc:docMk/>
            <pc:sldMk cId="3298908155" sldId="2147379078"/>
            <ac:cxnSpMk id="11" creationId="{0407CC8D-8521-4246-97CF-1E60F393E0D0}"/>
          </ac:cxnSpMkLst>
        </pc:cxnChg>
        <pc:cxnChg chg="mod">
          <ac:chgData name="Alexis Pallain" userId="c36ed1c7-ded9-4db6-a024-7557c6c16aab" providerId="ADAL" clId="{D70F164C-4110-4B99-8562-95268C4129AE}" dt="2023-04-06T15:50:16.376" v="2020"/>
          <ac:cxnSpMkLst>
            <pc:docMk/>
            <pc:sldMk cId="3298908155" sldId="2147379078"/>
            <ac:cxnSpMk id="12" creationId="{75EFAF52-47EE-EF55-7440-C140A653BFB4}"/>
          </ac:cxnSpMkLst>
        </pc:cxnChg>
        <pc:cxnChg chg="add mod">
          <ac:chgData name="Alexis Pallain" userId="c36ed1c7-ded9-4db6-a024-7557c6c16aab" providerId="ADAL" clId="{D70F164C-4110-4B99-8562-95268C4129AE}" dt="2023-04-06T15:50:16.376" v="2020"/>
          <ac:cxnSpMkLst>
            <pc:docMk/>
            <pc:sldMk cId="3298908155" sldId="2147379078"/>
            <ac:cxnSpMk id="14" creationId="{0D448779-31BE-D226-E528-CE026616E8B1}"/>
          </ac:cxnSpMkLst>
        </pc:cxnChg>
        <pc:cxnChg chg="mod">
          <ac:chgData name="Alexis Pallain" userId="c36ed1c7-ded9-4db6-a024-7557c6c16aab" providerId="ADAL" clId="{D70F164C-4110-4B99-8562-95268C4129AE}" dt="2023-04-06T15:50:16.376" v="2020"/>
          <ac:cxnSpMkLst>
            <pc:docMk/>
            <pc:sldMk cId="3298908155" sldId="2147379078"/>
            <ac:cxnSpMk id="17" creationId="{C4D25502-B941-D9BF-3EAA-C50941A6E77E}"/>
          </ac:cxnSpMkLst>
        </pc:cxnChg>
        <pc:cxnChg chg="mod">
          <ac:chgData name="Alexis Pallain" userId="c36ed1c7-ded9-4db6-a024-7557c6c16aab" providerId="ADAL" clId="{D70F164C-4110-4B99-8562-95268C4129AE}" dt="2023-04-06T15:50:16.376" v="2020"/>
          <ac:cxnSpMkLst>
            <pc:docMk/>
            <pc:sldMk cId="3298908155" sldId="2147379078"/>
            <ac:cxnSpMk id="20" creationId="{189DCF7A-5490-1F54-55A1-632FFF0219A3}"/>
          </ac:cxnSpMkLst>
        </pc:cxnChg>
      </pc:sldChg>
    </pc:docChg>
  </pc:docChgLst>
  <pc:docChgLst>
    <pc:chgData name="Marie-Laure Mauborgne" userId="717f1e20-c968-4716-94d0-7143ffa6b39a" providerId="ADAL" clId="{214BC7DA-616F-4A60-8FB7-72C0D436928B}"/>
    <pc:docChg chg="undo custSel addSld delSld modSld">
      <pc:chgData name="Marie-Laure Mauborgne" userId="717f1e20-c968-4716-94d0-7143ffa6b39a" providerId="ADAL" clId="{214BC7DA-616F-4A60-8FB7-72C0D436928B}" dt="2023-08-07T08:23:27.948" v="1199" actId="47"/>
      <pc:docMkLst>
        <pc:docMk/>
      </pc:docMkLst>
      <pc:sldChg chg="modSp modAnim modNotesTx">
        <pc:chgData name="Marie-Laure Mauborgne" userId="717f1e20-c968-4716-94d0-7143ffa6b39a" providerId="ADAL" clId="{214BC7DA-616F-4A60-8FB7-72C0D436928B}" dt="2023-07-17T09:13:37.829" v="1197"/>
        <pc:sldMkLst>
          <pc:docMk/>
          <pc:sldMk cId="1482057927" sldId="283"/>
        </pc:sldMkLst>
        <pc:spChg chg="mod">
          <ac:chgData name="Marie-Laure Mauborgne" userId="717f1e20-c968-4716-94d0-7143ffa6b39a" providerId="ADAL" clId="{214BC7DA-616F-4A60-8FB7-72C0D436928B}" dt="2023-06-30T11:12:13.363" v="1062" actId="20577"/>
          <ac:spMkLst>
            <pc:docMk/>
            <pc:sldMk cId="1482057927" sldId="283"/>
            <ac:spMk id="30" creationId="{8E84A927-ABEF-08F0-EEFC-86725AEFA885}"/>
          </ac:spMkLst>
        </pc:spChg>
      </pc:sldChg>
      <pc:sldChg chg="addSp delSp modSp mod delAnim modAnim">
        <pc:chgData name="Marie-Laure Mauborgne" userId="717f1e20-c968-4716-94d0-7143ffa6b39a" providerId="ADAL" clId="{214BC7DA-616F-4A60-8FB7-72C0D436928B}" dt="2023-07-17T08:04:03.212" v="1153"/>
        <pc:sldMkLst>
          <pc:docMk/>
          <pc:sldMk cId="1724460987" sldId="296"/>
        </pc:sldMkLst>
        <pc:spChg chg="mod">
          <ac:chgData name="Marie-Laure Mauborgne" userId="717f1e20-c968-4716-94d0-7143ffa6b39a" providerId="ADAL" clId="{214BC7DA-616F-4A60-8FB7-72C0D436928B}" dt="2023-06-30T11:19:32.312" v="1131" actId="20577"/>
          <ac:spMkLst>
            <pc:docMk/>
            <pc:sldMk cId="1724460987" sldId="296"/>
            <ac:spMk id="2" creationId="{00000000-0000-0000-0000-000000000000}"/>
          </ac:spMkLst>
        </pc:spChg>
        <pc:picChg chg="del">
          <ac:chgData name="Marie-Laure Mauborgne" userId="717f1e20-c968-4716-94d0-7143ffa6b39a" providerId="ADAL" clId="{214BC7DA-616F-4A60-8FB7-72C0D436928B}" dt="2023-06-21T16:14:42.848" v="791" actId="478"/>
          <ac:picMkLst>
            <pc:docMk/>
            <pc:sldMk cId="1724460987" sldId="296"/>
            <ac:picMk id="4" creationId="{00000000-0000-0000-0000-000000000000}"/>
          </ac:picMkLst>
        </pc:picChg>
        <pc:picChg chg="mod">
          <ac:chgData name="Marie-Laure Mauborgne" userId="717f1e20-c968-4716-94d0-7143ffa6b39a" providerId="ADAL" clId="{214BC7DA-616F-4A60-8FB7-72C0D436928B}" dt="2023-06-21T16:14:53.413" v="802" actId="1035"/>
          <ac:picMkLst>
            <pc:docMk/>
            <pc:sldMk cId="1724460987" sldId="296"/>
            <ac:picMk id="5" creationId="{BDDBF8E3-E162-3F47-5B83-53C983F0C6E7}"/>
          </ac:picMkLst>
        </pc:picChg>
        <pc:picChg chg="add mod ord">
          <ac:chgData name="Marie-Laure Mauborgne" userId="717f1e20-c968-4716-94d0-7143ffa6b39a" providerId="ADAL" clId="{214BC7DA-616F-4A60-8FB7-72C0D436928B}" dt="2023-06-21T16:14:58.164" v="803" actId="14100"/>
          <ac:picMkLst>
            <pc:docMk/>
            <pc:sldMk cId="1724460987" sldId="296"/>
            <ac:picMk id="7" creationId="{39057A1A-4280-372D-F162-97D2715C3AED}"/>
          </ac:picMkLst>
        </pc:picChg>
        <pc:picChg chg="mod">
          <ac:chgData name="Marie-Laure Mauborgne" userId="717f1e20-c968-4716-94d0-7143ffa6b39a" providerId="ADAL" clId="{214BC7DA-616F-4A60-8FB7-72C0D436928B}" dt="2023-06-21T16:14:53.413" v="802" actId="1035"/>
          <ac:picMkLst>
            <pc:docMk/>
            <pc:sldMk cId="1724460987" sldId="296"/>
            <ac:picMk id="11" creationId="{00000000-0000-0000-0000-000000000000}"/>
          </ac:picMkLst>
        </pc:picChg>
        <pc:picChg chg="mod">
          <ac:chgData name="Marie-Laure Mauborgne" userId="717f1e20-c968-4716-94d0-7143ffa6b39a" providerId="ADAL" clId="{214BC7DA-616F-4A60-8FB7-72C0D436928B}" dt="2023-06-21T16:14:53.413" v="802" actId="1035"/>
          <ac:picMkLst>
            <pc:docMk/>
            <pc:sldMk cId="1724460987" sldId="296"/>
            <ac:picMk id="12" creationId="{00000000-0000-0000-0000-000000000000}"/>
          </ac:picMkLst>
        </pc:picChg>
      </pc:sldChg>
      <pc:sldChg chg="modSp mod">
        <pc:chgData name="Marie-Laure Mauborgne" userId="717f1e20-c968-4716-94d0-7143ffa6b39a" providerId="ADAL" clId="{214BC7DA-616F-4A60-8FB7-72C0D436928B}" dt="2023-06-21T08:28:47.225" v="15" actId="14100"/>
        <pc:sldMkLst>
          <pc:docMk/>
          <pc:sldMk cId="138295197" sldId="297"/>
        </pc:sldMkLst>
        <pc:spChg chg="mod">
          <ac:chgData name="Marie-Laure Mauborgne" userId="717f1e20-c968-4716-94d0-7143ffa6b39a" providerId="ADAL" clId="{214BC7DA-616F-4A60-8FB7-72C0D436928B}" dt="2023-06-21T08:28:47.225" v="15" actId="14100"/>
          <ac:spMkLst>
            <pc:docMk/>
            <pc:sldMk cId="138295197" sldId="297"/>
            <ac:spMk id="2" creationId="{CA63F486-CB9B-4043-AED7-E6D480405688}"/>
          </ac:spMkLst>
        </pc:spChg>
        <pc:spChg chg="mod">
          <ac:chgData name="Marie-Laure Mauborgne" userId="717f1e20-c968-4716-94d0-7143ffa6b39a" providerId="ADAL" clId="{214BC7DA-616F-4A60-8FB7-72C0D436928B}" dt="2023-06-21T08:28:42.560" v="14" actId="20577"/>
          <ac:spMkLst>
            <pc:docMk/>
            <pc:sldMk cId="138295197" sldId="297"/>
            <ac:spMk id="3" creationId="{C8706331-217C-493D-B778-7AF140D3F7D5}"/>
          </ac:spMkLst>
        </pc:spChg>
      </pc:sldChg>
      <pc:sldChg chg="addSp delSp modSp mod modAnim">
        <pc:chgData name="Marie-Laure Mauborgne" userId="717f1e20-c968-4716-94d0-7143ffa6b39a" providerId="ADAL" clId="{214BC7DA-616F-4A60-8FB7-72C0D436928B}" dt="2023-07-17T08:11:31.905" v="1176"/>
        <pc:sldMkLst>
          <pc:docMk/>
          <pc:sldMk cId="2034020126" sldId="303"/>
        </pc:sldMkLst>
        <pc:spChg chg="mod">
          <ac:chgData name="Marie-Laure Mauborgne" userId="717f1e20-c968-4716-94d0-7143ffa6b39a" providerId="ADAL" clId="{214BC7DA-616F-4A60-8FB7-72C0D436928B}" dt="2023-06-21T09:14:59.161" v="515" actId="20577"/>
          <ac:spMkLst>
            <pc:docMk/>
            <pc:sldMk cId="2034020126" sldId="303"/>
            <ac:spMk id="2" creationId="{27DE043A-0EF7-45D2-B6DD-80428D6907A0}"/>
          </ac:spMkLst>
        </pc:spChg>
        <pc:spChg chg="mod">
          <ac:chgData name="Marie-Laure Mauborgne" userId="717f1e20-c968-4716-94d0-7143ffa6b39a" providerId="ADAL" clId="{214BC7DA-616F-4A60-8FB7-72C0D436928B}" dt="2023-06-21T09:14:57.399" v="514" actId="14100"/>
          <ac:spMkLst>
            <pc:docMk/>
            <pc:sldMk cId="2034020126" sldId="303"/>
            <ac:spMk id="3" creationId="{2BAA6B30-5672-46AC-86D1-7B5EC26A4200}"/>
          </ac:spMkLst>
        </pc:spChg>
        <pc:spChg chg="del ord">
          <ac:chgData name="Marie-Laure Mauborgne" userId="717f1e20-c968-4716-94d0-7143ffa6b39a" providerId="ADAL" clId="{214BC7DA-616F-4A60-8FB7-72C0D436928B}" dt="2023-06-21T09:10:47.182" v="494"/>
          <ac:spMkLst>
            <pc:docMk/>
            <pc:sldMk cId="2034020126" sldId="303"/>
            <ac:spMk id="4" creationId="{A4745B81-ECA8-F7C6-0DED-708816D722E6}"/>
          </ac:spMkLst>
        </pc:spChg>
        <pc:spChg chg="mod topLvl">
          <ac:chgData name="Marie-Laure Mauborgne" userId="717f1e20-c968-4716-94d0-7143ffa6b39a" providerId="ADAL" clId="{214BC7DA-616F-4A60-8FB7-72C0D436928B}" dt="2023-06-21T09:11:59.681" v="505" actId="165"/>
          <ac:spMkLst>
            <pc:docMk/>
            <pc:sldMk cId="2034020126" sldId="303"/>
            <ac:spMk id="12" creationId="{C585AF5F-F4CD-421F-B50C-2BC5A86CED62}"/>
          </ac:spMkLst>
        </pc:spChg>
        <pc:spChg chg="add del mod">
          <ac:chgData name="Marie-Laure Mauborgne" userId="717f1e20-c968-4716-94d0-7143ffa6b39a" providerId="ADAL" clId="{214BC7DA-616F-4A60-8FB7-72C0D436928B}" dt="2023-06-21T09:10:47.182" v="494"/>
          <ac:spMkLst>
            <pc:docMk/>
            <pc:sldMk cId="2034020126" sldId="303"/>
            <ac:spMk id="20" creationId="{677BF0C8-0F7A-CFC9-A387-E3376DF3EACD}"/>
          </ac:spMkLst>
        </pc:spChg>
        <pc:spChg chg="add del mod">
          <ac:chgData name="Marie-Laure Mauborgne" userId="717f1e20-c968-4716-94d0-7143ffa6b39a" providerId="ADAL" clId="{214BC7DA-616F-4A60-8FB7-72C0D436928B}" dt="2023-06-21T09:10:47.182" v="494"/>
          <ac:spMkLst>
            <pc:docMk/>
            <pc:sldMk cId="2034020126" sldId="303"/>
            <ac:spMk id="21" creationId="{58CF6C0C-E1B1-E78B-F560-FD15CB1E4B7A}"/>
          </ac:spMkLst>
        </pc:spChg>
        <pc:spChg chg="add mod">
          <ac:chgData name="Marie-Laure Mauborgne" userId="717f1e20-c968-4716-94d0-7143ffa6b39a" providerId="ADAL" clId="{214BC7DA-616F-4A60-8FB7-72C0D436928B}" dt="2023-06-21T09:10:47.182" v="494"/>
          <ac:spMkLst>
            <pc:docMk/>
            <pc:sldMk cId="2034020126" sldId="303"/>
            <ac:spMk id="22" creationId="{8071A753-A5A7-E83D-4EE7-F5A1F9C4CA2D}"/>
          </ac:spMkLst>
        </pc:spChg>
        <pc:grpChg chg="del mod">
          <ac:chgData name="Marie-Laure Mauborgne" userId="717f1e20-c968-4716-94d0-7143ffa6b39a" providerId="ADAL" clId="{214BC7DA-616F-4A60-8FB7-72C0D436928B}" dt="2023-06-21T09:11:59.681" v="505" actId="165"/>
          <ac:grpSpMkLst>
            <pc:docMk/>
            <pc:sldMk cId="2034020126" sldId="303"/>
            <ac:grpSpMk id="10" creationId="{99674D83-6D84-5AA9-A09C-6136A8503129}"/>
          </ac:grpSpMkLst>
        </pc:grpChg>
        <pc:picChg chg="mod ord modCrop">
          <ac:chgData name="Marie-Laure Mauborgne" userId="717f1e20-c968-4716-94d0-7143ffa6b39a" providerId="ADAL" clId="{214BC7DA-616F-4A60-8FB7-72C0D436928B}" dt="2023-06-21T09:02:27.630" v="429" actId="692"/>
          <ac:picMkLst>
            <pc:docMk/>
            <pc:sldMk cId="2034020126" sldId="303"/>
            <ac:picMk id="6" creationId="{46B0A371-E9EC-4357-AF4A-C201DA88E5B2}"/>
          </ac:picMkLst>
        </pc:picChg>
        <pc:picChg chg="mod topLvl">
          <ac:chgData name="Marie-Laure Mauborgne" userId="717f1e20-c968-4716-94d0-7143ffa6b39a" providerId="ADAL" clId="{214BC7DA-616F-4A60-8FB7-72C0D436928B}" dt="2023-06-21T09:11:59.681" v="505" actId="165"/>
          <ac:picMkLst>
            <pc:docMk/>
            <pc:sldMk cId="2034020126" sldId="303"/>
            <ac:picMk id="11" creationId="{C5E58A12-484B-4459-8C1B-744A2CFBDFCA}"/>
          </ac:picMkLst>
        </pc:picChg>
        <pc:picChg chg="mod topLvl">
          <ac:chgData name="Marie-Laure Mauborgne" userId="717f1e20-c968-4716-94d0-7143ffa6b39a" providerId="ADAL" clId="{214BC7DA-616F-4A60-8FB7-72C0D436928B}" dt="2023-06-21T09:11:59.681" v="505" actId="165"/>
          <ac:picMkLst>
            <pc:docMk/>
            <pc:sldMk cId="2034020126" sldId="303"/>
            <ac:picMk id="15" creationId="{396D0A4D-AFE5-44C0-BAC8-F561433E640E}"/>
          </ac:picMkLst>
        </pc:picChg>
        <pc:picChg chg="add del mod">
          <ac:chgData name="Marie-Laure Mauborgne" userId="717f1e20-c968-4716-94d0-7143ffa6b39a" providerId="ADAL" clId="{214BC7DA-616F-4A60-8FB7-72C0D436928B}" dt="2023-06-21T08:41:55.410" v="237"/>
          <ac:picMkLst>
            <pc:docMk/>
            <pc:sldMk cId="2034020126" sldId="303"/>
            <ac:picMk id="19" creationId="{2561CB19-67AC-2ED5-AF8C-8D1D6C8D9963}"/>
          </ac:picMkLst>
        </pc:picChg>
        <pc:picChg chg="mod topLvl">
          <ac:chgData name="Marie-Laure Mauborgne" userId="717f1e20-c968-4716-94d0-7143ffa6b39a" providerId="ADAL" clId="{214BC7DA-616F-4A60-8FB7-72C0D436928B}" dt="2023-06-21T09:11:59.681" v="505" actId="165"/>
          <ac:picMkLst>
            <pc:docMk/>
            <pc:sldMk cId="2034020126" sldId="303"/>
            <ac:picMk id="3073" creationId="{A34EFFCA-5956-4F5B-8C4B-0986FA37AEA3}"/>
          </ac:picMkLst>
        </pc:picChg>
        <pc:cxnChg chg="add del mod">
          <ac:chgData name="Marie-Laure Mauborgne" userId="717f1e20-c968-4716-94d0-7143ffa6b39a" providerId="ADAL" clId="{214BC7DA-616F-4A60-8FB7-72C0D436928B}" dt="2023-06-21T08:41:26.705" v="231" actId="478"/>
          <ac:cxnSpMkLst>
            <pc:docMk/>
            <pc:sldMk cId="2034020126" sldId="303"/>
            <ac:cxnSpMk id="7" creationId="{55C0D8C6-8454-0216-0AE7-FFC5CD6E088E}"/>
          </ac:cxnSpMkLst>
        </pc:cxnChg>
        <pc:cxnChg chg="add del mod">
          <ac:chgData name="Marie-Laure Mauborgne" userId="717f1e20-c968-4716-94d0-7143ffa6b39a" providerId="ADAL" clId="{214BC7DA-616F-4A60-8FB7-72C0D436928B}" dt="2023-06-21T08:41:28.856" v="232" actId="478"/>
          <ac:cxnSpMkLst>
            <pc:docMk/>
            <pc:sldMk cId="2034020126" sldId="303"/>
            <ac:cxnSpMk id="8" creationId="{0FB1138E-9494-F78C-1F28-901E9D06871D}"/>
          </ac:cxnSpMkLst>
        </pc:cxnChg>
        <pc:cxnChg chg="add del mod">
          <ac:chgData name="Marie-Laure Mauborgne" userId="717f1e20-c968-4716-94d0-7143ffa6b39a" providerId="ADAL" clId="{214BC7DA-616F-4A60-8FB7-72C0D436928B}" dt="2023-06-21T08:41:36.253" v="235" actId="478"/>
          <ac:cxnSpMkLst>
            <pc:docMk/>
            <pc:sldMk cId="2034020126" sldId="303"/>
            <ac:cxnSpMk id="9" creationId="{CA0D9CB0-9299-90E9-291A-DA913278E4CC}"/>
          </ac:cxnSpMkLst>
        </pc:cxnChg>
        <pc:cxnChg chg="mod topLvl">
          <ac:chgData name="Marie-Laure Mauborgne" userId="717f1e20-c968-4716-94d0-7143ffa6b39a" providerId="ADAL" clId="{214BC7DA-616F-4A60-8FB7-72C0D436928B}" dt="2023-06-21T09:11:59.681" v="505" actId="165"/>
          <ac:cxnSpMkLst>
            <pc:docMk/>
            <pc:sldMk cId="2034020126" sldId="303"/>
            <ac:cxnSpMk id="14" creationId="{BAFFD4E9-BA1B-45AC-A824-F967FA08E1EE}"/>
          </ac:cxnSpMkLst>
        </pc:cxnChg>
        <pc:cxnChg chg="add del mod">
          <ac:chgData name="Marie-Laure Mauborgne" userId="717f1e20-c968-4716-94d0-7143ffa6b39a" providerId="ADAL" clId="{214BC7DA-616F-4A60-8FB7-72C0D436928B}" dt="2023-06-21T08:41:30.554" v="233" actId="478"/>
          <ac:cxnSpMkLst>
            <pc:docMk/>
            <pc:sldMk cId="2034020126" sldId="303"/>
            <ac:cxnSpMk id="17" creationId="{E2CC5883-44EF-D3C2-7884-778DD01D3BA2}"/>
          </ac:cxnSpMkLst>
        </pc:cxnChg>
        <pc:cxnChg chg="add del mod">
          <ac:chgData name="Marie-Laure Mauborgne" userId="717f1e20-c968-4716-94d0-7143ffa6b39a" providerId="ADAL" clId="{214BC7DA-616F-4A60-8FB7-72C0D436928B}" dt="2023-06-21T08:41:34.039" v="234" actId="478"/>
          <ac:cxnSpMkLst>
            <pc:docMk/>
            <pc:sldMk cId="2034020126" sldId="303"/>
            <ac:cxnSpMk id="18" creationId="{615E64B2-D26E-F9C8-53AC-C0B274E0F73D}"/>
          </ac:cxnSpMkLst>
        </pc:cxnChg>
        <pc:cxnChg chg="mod topLvl">
          <ac:chgData name="Marie-Laure Mauborgne" userId="717f1e20-c968-4716-94d0-7143ffa6b39a" providerId="ADAL" clId="{214BC7DA-616F-4A60-8FB7-72C0D436928B}" dt="2023-06-21T09:11:59.681" v="505" actId="165"/>
          <ac:cxnSpMkLst>
            <pc:docMk/>
            <pc:sldMk cId="2034020126" sldId="303"/>
            <ac:cxnSpMk id="23" creationId="{168C3A0F-0FB9-4B5E-82EE-DDDC3C99BF00}"/>
          </ac:cxnSpMkLst>
        </pc:cxnChg>
      </pc:sldChg>
      <pc:sldChg chg="addSp delSp modSp add mod modClrScheme modAnim chgLayout">
        <pc:chgData name="Marie-Laure Mauborgne" userId="717f1e20-c968-4716-94d0-7143ffa6b39a" providerId="ADAL" clId="{214BC7DA-616F-4A60-8FB7-72C0D436928B}" dt="2023-06-21T09:11:18.765" v="504" actId="1076"/>
        <pc:sldMkLst>
          <pc:docMk/>
          <pc:sldMk cId="923721790" sldId="305"/>
        </pc:sldMkLst>
        <pc:spChg chg="mod ord">
          <ac:chgData name="Marie-Laure Mauborgne" userId="717f1e20-c968-4716-94d0-7143ffa6b39a" providerId="ADAL" clId="{214BC7DA-616F-4A60-8FB7-72C0D436928B}" dt="2023-06-21T09:11:11.262" v="502"/>
          <ac:spMkLst>
            <pc:docMk/>
            <pc:sldMk cId="923721790" sldId="305"/>
            <ac:spMk id="2" creationId="{41C27EB7-41FE-4CE5-B760-279348679FA8}"/>
          </ac:spMkLst>
        </pc:spChg>
        <pc:spChg chg="mod ord">
          <ac:chgData name="Marie-Laure Mauborgne" userId="717f1e20-c968-4716-94d0-7143ffa6b39a" providerId="ADAL" clId="{214BC7DA-616F-4A60-8FB7-72C0D436928B}" dt="2023-06-21T09:11:15.875" v="503" actId="14100"/>
          <ac:spMkLst>
            <pc:docMk/>
            <pc:sldMk cId="923721790" sldId="305"/>
            <ac:spMk id="3" creationId="{4910ADBA-D083-4F0B-B0EA-55831226B26D}"/>
          </ac:spMkLst>
        </pc:spChg>
        <pc:spChg chg="add del mod ord">
          <ac:chgData name="Marie-Laure Mauborgne" userId="717f1e20-c968-4716-94d0-7143ffa6b39a" providerId="ADAL" clId="{214BC7DA-616F-4A60-8FB7-72C0D436928B}" dt="2023-06-21T09:11:11.262" v="502"/>
          <ac:spMkLst>
            <pc:docMk/>
            <pc:sldMk cId="923721790" sldId="305"/>
            <ac:spMk id="4" creationId="{F651B6AB-D130-91A9-DA1E-675F5358D8DC}"/>
          </ac:spMkLst>
        </pc:spChg>
        <pc:spChg chg="add mod">
          <ac:chgData name="Marie-Laure Mauborgne" userId="717f1e20-c968-4716-94d0-7143ffa6b39a" providerId="ADAL" clId="{214BC7DA-616F-4A60-8FB7-72C0D436928B}" dt="2023-06-21T08:43:48.694" v="259"/>
          <ac:spMkLst>
            <pc:docMk/>
            <pc:sldMk cId="923721790" sldId="305"/>
            <ac:spMk id="15" creationId="{7BAF98D0-E856-7B86-7FE7-7608FAA0FB6C}"/>
          </ac:spMkLst>
        </pc:spChg>
        <pc:spChg chg="add del mod">
          <ac:chgData name="Marie-Laure Mauborgne" userId="717f1e20-c968-4716-94d0-7143ffa6b39a" providerId="ADAL" clId="{214BC7DA-616F-4A60-8FB7-72C0D436928B}" dt="2023-06-21T09:11:11.262" v="502"/>
          <ac:spMkLst>
            <pc:docMk/>
            <pc:sldMk cId="923721790" sldId="305"/>
            <ac:spMk id="16" creationId="{FE10BEC7-4E5F-8D24-8DB1-AFD4BC04C17A}"/>
          </ac:spMkLst>
        </pc:spChg>
        <pc:spChg chg="add del mod">
          <ac:chgData name="Marie-Laure Mauborgne" userId="717f1e20-c968-4716-94d0-7143ffa6b39a" providerId="ADAL" clId="{214BC7DA-616F-4A60-8FB7-72C0D436928B}" dt="2023-06-21T09:11:11.262" v="502"/>
          <ac:spMkLst>
            <pc:docMk/>
            <pc:sldMk cId="923721790" sldId="305"/>
            <ac:spMk id="17" creationId="{3C891C98-1A96-50F9-92A8-9F0B7BE169DC}"/>
          </ac:spMkLst>
        </pc:spChg>
        <pc:spChg chg="add mod">
          <ac:chgData name="Marie-Laure Mauborgne" userId="717f1e20-c968-4716-94d0-7143ffa6b39a" providerId="ADAL" clId="{214BC7DA-616F-4A60-8FB7-72C0D436928B}" dt="2023-06-21T09:11:11.262" v="502"/>
          <ac:spMkLst>
            <pc:docMk/>
            <pc:sldMk cId="923721790" sldId="305"/>
            <ac:spMk id="18" creationId="{805124C8-4B0F-A2B1-C7AB-66F6DAE42710}"/>
          </ac:spMkLst>
        </pc:spChg>
        <pc:picChg chg="del">
          <ac:chgData name="Marie-Laure Mauborgne" userId="717f1e20-c968-4716-94d0-7143ffa6b39a" providerId="ADAL" clId="{214BC7DA-616F-4A60-8FB7-72C0D436928B}" dt="2023-06-21T09:05:28.907" v="454" actId="478"/>
          <ac:picMkLst>
            <pc:docMk/>
            <pc:sldMk cId="923721790" sldId="305"/>
            <ac:picMk id="5" creationId="{96EF58CF-2138-4504-88EF-7CC0EDCA2900}"/>
          </ac:picMkLst>
        </pc:picChg>
        <pc:picChg chg="del mod">
          <ac:chgData name="Marie-Laure Mauborgne" userId="717f1e20-c968-4716-94d0-7143ffa6b39a" providerId="ADAL" clId="{214BC7DA-616F-4A60-8FB7-72C0D436928B}" dt="2023-06-21T08:46:17.997" v="284" actId="478"/>
          <ac:picMkLst>
            <pc:docMk/>
            <pc:sldMk cId="923721790" sldId="305"/>
            <ac:picMk id="9" creationId="{85F1FA0B-0CA4-4D9A-BEFC-ED70C93BFB17}"/>
          </ac:picMkLst>
        </pc:picChg>
        <pc:picChg chg="del mod">
          <ac:chgData name="Marie-Laure Mauborgne" userId="717f1e20-c968-4716-94d0-7143ffa6b39a" providerId="ADAL" clId="{214BC7DA-616F-4A60-8FB7-72C0D436928B}" dt="2023-06-21T08:46:21.178" v="285" actId="478"/>
          <ac:picMkLst>
            <pc:docMk/>
            <pc:sldMk cId="923721790" sldId="305"/>
            <ac:picMk id="10" creationId="{2C87A3A0-939E-4784-A5A0-01C732BC3848}"/>
          </ac:picMkLst>
        </pc:picChg>
        <pc:picChg chg="mod">
          <ac:chgData name="Marie-Laure Mauborgne" userId="717f1e20-c968-4716-94d0-7143ffa6b39a" providerId="ADAL" clId="{214BC7DA-616F-4A60-8FB7-72C0D436928B}" dt="2023-06-21T08:45:46.660" v="280" actId="1037"/>
          <ac:picMkLst>
            <pc:docMk/>
            <pc:sldMk cId="923721790" sldId="305"/>
            <ac:picMk id="12" creationId="{1A985D6C-0588-448A-9253-1AFFA591CED4}"/>
          </ac:picMkLst>
        </pc:picChg>
        <pc:picChg chg="add del mod">
          <ac:chgData name="Marie-Laure Mauborgne" userId="717f1e20-c968-4716-94d0-7143ffa6b39a" providerId="ADAL" clId="{214BC7DA-616F-4A60-8FB7-72C0D436928B}" dt="2023-06-21T08:38:01.321" v="124"/>
          <ac:picMkLst>
            <pc:docMk/>
            <pc:sldMk cId="923721790" sldId="305"/>
            <ac:picMk id="14" creationId="{AD15672D-A6C8-5DC3-36E4-DB3A48F16DC7}"/>
          </ac:picMkLst>
        </pc:picChg>
        <pc:picChg chg="del">
          <ac:chgData name="Marie-Laure Mauborgne" userId="717f1e20-c968-4716-94d0-7143ffa6b39a" providerId="ADAL" clId="{214BC7DA-616F-4A60-8FB7-72C0D436928B}" dt="2023-06-21T09:05:27.919" v="453" actId="478"/>
          <ac:picMkLst>
            <pc:docMk/>
            <pc:sldMk cId="923721790" sldId="305"/>
            <ac:picMk id="2049" creationId="{9FE49BFA-6E0F-4D54-90FB-5A0D24C99680}"/>
          </ac:picMkLst>
        </pc:picChg>
        <pc:picChg chg="del">
          <ac:chgData name="Marie-Laure Mauborgne" userId="717f1e20-c968-4716-94d0-7143ffa6b39a" providerId="ADAL" clId="{214BC7DA-616F-4A60-8FB7-72C0D436928B}" dt="2023-06-21T09:05:39.051" v="457" actId="478"/>
          <ac:picMkLst>
            <pc:docMk/>
            <pc:sldMk cId="923721790" sldId="305"/>
            <ac:picMk id="2050" creationId="{2D417012-7447-45A0-86DD-FBA575B1786B}"/>
          </ac:picMkLst>
        </pc:picChg>
        <pc:picChg chg="mod">
          <ac:chgData name="Marie-Laure Mauborgne" userId="717f1e20-c968-4716-94d0-7143ffa6b39a" providerId="ADAL" clId="{214BC7DA-616F-4A60-8FB7-72C0D436928B}" dt="2023-06-21T09:11:18.765" v="504" actId="1076"/>
          <ac:picMkLst>
            <pc:docMk/>
            <pc:sldMk cId="923721790" sldId="305"/>
            <ac:picMk id="5121" creationId="{4B20442B-7056-42BC-9F3B-4B11B2235CAB}"/>
          </ac:picMkLst>
        </pc:picChg>
        <pc:picChg chg="mod">
          <ac:chgData name="Marie-Laure Mauborgne" userId="717f1e20-c968-4716-94d0-7143ffa6b39a" providerId="ADAL" clId="{214BC7DA-616F-4A60-8FB7-72C0D436928B}" dt="2023-06-21T09:09:51.519" v="487" actId="208"/>
          <ac:picMkLst>
            <pc:docMk/>
            <pc:sldMk cId="923721790" sldId="305"/>
            <ac:picMk id="5122" creationId="{FDE966DE-5E82-4C30-9658-9A270695057B}"/>
          </ac:picMkLst>
        </pc:picChg>
        <pc:cxnChg chg="add del mod">
          <ac:chgData name="Marie-Laure Mauborgne" userId="717f1e20-c968-4716-94d0-7143ffa6b39a" providerId="ADAL" clId="{214BC7DA-616F-4A60-8FB7-72C0D436928B}" dt="2023-06-21T08:43:33.819" v="254" actId="478"/>
          <ac:cxnSpMkLst>
            <pc:docMk/>
            <pc:sldMk cId="923721790" sldId="305"/>
            <ac:cxnSpMk id="6" creationId="{F7DE4D0A-E64B-A5CE-87FF-28806F998CD4}"/>
          </ac:cxnSpMkLst>
        </pc:cxnChg>
        <pc:cxnChg chg="add del mod">
          <ac:chgData name="Marie-Laure Mauborgne" userId="717f1e20-c968-4716-94d0-7143ffa6b39a" providerId="ADAL" clId="{214BC7DA-616F-4A60-8FB7-72C0D436928B}" dt="2023-06-21T08:43:35.822" v="255" actId="478"/>
          <ac:cxnSpMkLst>
            <pc:docMk/>
            <pc:sldMk cId="923721790" sldId="305"/>
            <ac:cxnSpMk id="7" creationId="{F46E93FB-47BE-6ECF-3002-E94AAA204668}"/>
          </ac:cxnSpMkLst>
        </pc:cxnChg>
        <pc:cxnChg chg="add del mod">
          <ac:chgData name="Marie-Laure Mauborgne" userId="717f1e20-c968-4716-94d0-7143ffa6b39a" providerId="ADAL" clId="{214BC7DA-616F-4A60-8FB7-72C0D436928B}" dt="2023-06-21T08:43:43.783" v="258" actId="478"/>
          <ac:cxnSpMkLst>
            <pc:docMk/>
            <pc:sldMk cId="923721790" sldId="305"/>
            <ac:cxnSpMk id="8" creationId="{DE9DF4A9-F39A-D1A2-DB19-0810A85194FB}"/>
          </ac:cxnSpMkLst>
        </pc:cxnChg>
        <pc:cxnChg chg="add del mod">
          <ac:chgData name="Marie-Laure Mauborgne" userId="717f1e20-c968-4716-94d0-7143ffa6b39a" providerId="ADAL" clId="{214BC7DA-616F-4A60-8FB7-72C0D436928B}" dt="2023-06-21T08:43:37.437" v="256" actId="478"/>
          <ac:cxnSpMkLst>
            <pc:docMk/>
            <pc:sldMk cId="923721790" sldId="305"/>
            <ac:cxnSpMk id="11" creationId="{A3A54263-9CBD-9EEE-3C31-C7D60F820142}"/>
          </ac:cxnSpMkLst>
        </pc:cxnChg>
        <pc:cxnChg chg="add del mod">
          <ac:chgData name="Marie-Laure Mauborgne" userId="717f1e20-c968-4716-94d0-7143ffa6b39a" providerId="ADAL" clId="{214BC7DA-616F-4A60-8FB7-72C0D436928B}" dt="2023-06-21T08:43:39.522" v="257" actId="478"/>
          <ac:cxnSpMkLst>
            <pc:docMk/>
            <pc:sldMk cId="923721790" sldId="305"/>
            <ac:cxnSpMk id="13" creationId="{5B2B6E97-1293-80B7-C9CE-37C457779F80}"/>
          </ac:cxnSpMkLst>
        </pc:cxnChg>
      </pc:sldChg>
      <pc:sldChg chg="addSp delSp modSp del mod modShow">
        <pc:chgData name="Marie-Laure Mauborgne" userId="717f1e20-c968-4716-94d0-7143ffa6b39a" providerId="ADAL" clId="{214BC7DA-616F-4A60-8FB7-72C0D436928B}" dt="2023-08-07T08:23:27.948" v="1199" actId="47"/>
        <pc:sldMkLst>
          <pc:docMk/>
          <pc:sldMk cId="3259513119" sldId="306"/>
        </pc:sldMkLst>
        <pc:spChg chg="mod">
          <ac:chgData name="Marie-Laure Mauborgne" userId="717f1e20-c968-4716-94d0-7143ffa6b39a" providerId="ADAL" clId="{214BC7DA-616F-4A60-8FB7-72C0D436928B}" dt="2023-06-21T09:14:29.386" v="511" actId="20577"/>
          <ac:spMkLst>
            <pc:docMk/>
            <pc:sldMk cId="3259513119" sldId="306"/>
            <ac:spMk id="2" creationId="{41C27EB7-41FE-4CE5-B760-279348679FA8}"/>
          </ac:spMkLst>
        </pc:spChg>
        <pc:spChg chg="mod">
          <ac:chgData name="Marie-Laure Mauborgne" userId="717f1e20-c968-4716-94d0-7143ffa6b39a" providerId="ADAL" clId="{214BC7DA-616F-4A60-8FB7-72C0D436928B}" dt="2023-06-21T09:11:06.728" v="500" actId="14100"/>
          <ac:spMkLst>
            <pc:docMk/>
            <pc:sldMk cId="3259513119" sldId="306"/>
            <ac:spMk id="3" creationId="{4910ADBA-D083-4F0B-B0EA-55831226B26D}"/>
          </ac:spMkLst>
        </pc:spChg>
        <pc:spChg chg="del">
          <ac:chgData name="Marie-Laure Mauborgne" userId="717f1e20-c968-4716-94d0-7143ffa6b39a" providerId="ADAL" clId="{214BC7DA-616F-4A60-8FB7-72C0D436928B}" dt="2023-06-21T09:11:02.332" v="499"/>
          <ac:spMkLst>
            <pc:docMk/>
            <pc:sldMk cId="3259513119" sldId="306"/>
            <ac:spMk id="4" creationId="{854106BE-5AC9-9E8E-F238-1A26109714D8}"/>
          </ac:spMkLst>
        </pc:spChg>
        <pc:spChg chg="add del mod">
          <ac:chgData name="Marie-Laure Mauborgne" userId="717f1e20-c968-4716-94d0-7143ffa6b39a" providerId="ADAL" clId="{214BC7DA-616F-4A60-8FB7-72C0D436928B}" dt="2023-06-21T09:11:02.332" v="499"/>
          <ac:spMkLst>
            <pc:docMk/>
            <pc:sldMk cId="3259513119" sldId="306"/>
            <ac:spMk id="12" creationId="{51DD0C2D-338D-C8F4-7B89-A04894F502C5}"/>
          </ac:spMkLst>
        </pc:spChg>
        <pc:spChg chg="add del mod">
          <ac:chgData name="Marie-Laure Mauborgne" userId="717f1e20-c968-4716-94d0-7143ffa6b39a" providerId="ADAL" clId="{214BC7DA-616F-4A60-8FB7-72C0D436928B}" dt="2023-06-21T09:11:02.332" v="499"/>
          <ac:spMkLst>
            <pc:docMk/>
            <pc:sldMk cId="3259513119" sldId="306"/>
            <ac:spMk id="13" creationId="{E4210234-9791-C6BC-AA69-0329A8310BF5}"/>
          </ac:spMkLst>
        </pc:spChg>
        <pc:spChg chg="add mod">
          <ac:chgData name="Marie-Laure Mauborgne" userId="717f1e20-c968-4716-94d0-7143ffa6b39a" providerId="ADAL" clId="{214BC7DA-616F-4A60-8FB7-72C0D436928B}" dt="2023-06-21T09:11:02.332" v="499"/>
          <ac:spMkLst>
            <pc:docMk/>
            <pc:sldMk cId="3259513119" sldId="306"/>
            <ac:spMk id="14" creationId="{4BC46751-4AE6-6F32-6D8E-7B5E8B41A5A5}"/>
          </ac:spMkLst>
        </pc:spChg>
        <pc:picChg chg="mod">
          <ac:chgData name="Marie-Laure Mauborgne" userId="717f1e20-c968-4716-94d0-7143ffa6b39a" providerId="ADAL" clId="{214BC7DA-616F-4A60-8FB7-72C0D436928B}" dt="2023-06-21T09:07:48.804" v="467" actId="208"/>
          <ac:picMkLst>
            <pc:docMk/>
            <pc:sldMk cId="3259513119" sldId="306"/>
            <ac:picMk id="6" creationId="{17DA2E13-2EC8-4709-8F8D-04D618DE99A1}"/>
          </ac:picMkLst>
        </pc:picChg>
        <pc:picChg chg="mod">
          <ac:chgData name="Marie-Laure Mauborgne" userId="717f1e20-c968-4716-94d0-7143ffa6b39a" providerId="ADAL" clId="{214BC7DA-616F-4A60-8FB7-72C0D436928B}" dt="2023-06-21T09:11:08.750" v="501" actId="1076"/>
          <ac:picMkLst>
            <pc:docMk/>
            <pc:sldMk cId="3259513119" sldId="306"/>
            <ac:picMk id="8193" creationId="{5609CF22-CDDF-458F-A20A-AF55C9835D1B}"/>
          </ac:picMkLst>
        </pc:picChg>
        <pc:cxnChg chg="add del mod">
          <ac:chgData name="Marie-Laure Mauborgne" userId="717f1e20-c968-4716-94d0-7143ffa6b39a" providerId="ADAL" clId="{214BC7DA-616F-4A60-8FB7-72C0D436928B}" dt="2023-06-21T08:42:56.382" v="244" actId="478"/>
          <ac:cxnSpMkLst>
            <pc:docMk/>
            <pc:sldMk cId="3259513119" sldId="306"/>
            <ac:cxnSpMk id="7" creationId="{E10D9410-2E47-6EBB-8A86-48E3EDFBA5E9}"/>
          </ac:cxnSpMkLst>
        </pc:cxnChg>
        <pc:cxnChg chg="add del mod">
          <ac:chgData name="Marie-Laure Mauborgne" userId="717f1e20-c968-4716-94d0-7143ffa6b39a" providerId="ADAL" clId="{214BC7DA-616F-4A60-8FB7-72C0D436928B}" dt="2023-06-21T08:42:58.453" v="245" actId="478"/>
          <ac:cxnSpMkLst>
            <pc:docMk/>
            <pc:sldMk cId="3259513119" sldId="306"/>
            <ac:cxnSpMk id="8" creationId="{F8BBFE3C-286C-D513-69B0-D275784B8DE7}"/>
          </ac:cxnSpMkLst>
        </pc:cxnChg>
        <pc:cxnChg chg="add del mod">
          <ac:chgData name="Marie-Laure Mauborgne" userId="717f1e20-c968-4716-94d0-7143ffa6b39a" providerId="ADAL" clId="{214BC7DA-616F-4A60-8FB7-72C0D436928B}" dt="2023-06-21T08:43:04.225" v="248" actId="478"/>
          <ac:cxnSpMkLst>
            <pc:docMk/>
            <pc:sldMk cId="3259513119" sldId="306"/>
            <ac:cxnSpMk id="9" creationId="{05C84951-EA7F-8476-F367-181F4F549C3D}"/>
          </ac:cxnSpMkLst>
        </pc:cxnChg>
        <pc:cxnChg chg="add del mod">
          <ac:chgData name="Marie-Laure Mauborgne" userId="717f1e20-c968-4716-94d0-7143ffa6b39a" providerId="ADAL" clId="{214BC7DA-616F-4A60-8FB7-72C0D436928B}" dt="2023-06-21T08:43:00.163" v="246" actId="478"/>
          <ac:cxnSpMkLst>
            <pc:docMk/>
            <pc:sldMk cId="3259513119" sldId="306"/>
            <ac:cxnSpMk id="10" creationId="{8FEDBA11-C454-9482-11D9-A99AEAF61548}"/>
          </ac:cxnSpMkLst>
        </pc:cxnChg>
        <pc:cxnChg chg="add del mod">
          <ac:chgData name="Marie-Laure Mauborgne" userId="717f1e20-c968-4716-94d0-7143ffa6b39a" providerId="ADAL" clId="{214BC7DA-616F-4A60-8FB7-72C0D436928B}" dt="2023-06-21T08:43:02.215" v="247" actId="478"/>
          <ac:cxnSpMkLst>
            <pc:docMk/>
            <pc:sldMk cId="3259513119" sldId="306"/>
            <ac:cxnSpMk id="11" creationId="{72B4C164-A5D8-0A59-BBA4-135D2B8409D9}"/>
          </ac:cxnSpMkLst>
        </pc:cxnChg>
      </pc:sldChg>
      <pc:sldChg chg="modSp mod">
        <pc:chgData name="Marie-Laure Mauborgne" userId="717f1e20-c968-4716-94d0-7143ffa6b39a" providerId="ADAL" clId="{214BC7DA-616F-4A60-8FB7-72C0D436928B}" dt="2023-06-27T08:19:25.581" v="942" actId="20577"/>
        <pc:sldMkLst>
          <pc:docMk/>
          <pc:sldMk cId="3067429597" sldId="308"/>
        </pc:sldMkLst>
        <pc:spChg chg="mod">
          <ac:chgData name="Marie-Laure Mauborgne" userId="717f1e20-c968-4716-94d0-7143ffa6b39a" providerId="ADAL" clId="{214BC7DA-616F-4A60-8FB7-72C0D436928B}" dt="2023-06-27T08:19:25.581" v="942" actId="20577"/>
          <ac:spMkLst>
            <pc:docMk/>
            <pc:sldMk cId="3067429597" sldId="308"/>
            <ac:spMk id="2" creationId="{3504A788-E1DD-43F6-82DD-1E586F3748FC}"/>
          </ac:spMkLst>
        </pc:spChg>
      </pc:sldChg>
      <pc:sldChg chg="modSp mod modNotesTx">
        <pc:chgData name="Marie-Laure Mauborgne" userId="717f1e20-c968-4716-94d0-7143ffa6b39a" providerId="ADAL" clId="{214BC7DA-616F-4A60-8FB7-72C0D436928B}" dt="2023-06-30T11:03:50.330" v="945" actId="20577"/>
        <pc:sldMkLst>
          <pc:docMk/>
          <pc:sldMk cId="2574155310" sldId="314"/>
        </pc:sldMkLst>
        <pc:spChg chg="mod">
          <ac:chgData name="Marie-Laure Mauborgne" userId="717f1e20-c968-4716-94d0-7143ffa6b39a" providerId="ADAL" clId="{214BC7DA-616F-4A60-8FB7-72C0D436928B}" dt="2023-06-30T11:03:17.718" v="943" actId="20577"/>
          <ac:spMkLst>
            <pc:docMk/>
            <pc:sldMk cId="2574155310" sldId="314"/>
            <ac:spMk id="3" creationId="{00000000-0000-0000-0000-000000000000}"/>
          </ac:spMkLst>
        </pc:spChg>
      </pc:sldChg>
      <pc:sldChg chg="modSp modAnim modNotesTx">
        <pc:chgData name="Marie-Laure Mauborgne" userId="717f1e20-c968-4716-94d0-7143ffa6b39a" providerId="ADAL" clId="{214BC7DA-616F-4A60-8FB7-72C0D436928B}" dt="2023-06-30T11:06:55.331" v="1016" actId="20577"/>
        <pc:sldMkLst>
          <pc:docMk/>
          <pc:sldMk cId="4144103639" sldId="315"/>
        </pc:sldMkLst>
        <pc:spChg chg="mod">
          <ac:chgData name="Marie-Laure Mauborgne" userId="717f1e20-c968-4716-94d0-7143ffa6b39a" providerId="ADAL" clId="{214BC7DA-616F-4A60-8FB7-72C0D436928B}" dt="2023-06-30T11:06:55.331" v="1016" actId="20577"/>
          <ac:spMkLst>
            <pc:docMk/>
            <pc:sldMk cId="4144103639" sldId="315"/>
            <ac:spMk id="3" creationId="{00000000-0000-0000-0000-000000000000}"/>
          </ac:spMkLst>
        </pc:spChg>
      </pc:sldChg>
      <pc:sldChg chg="modNotesTx">
        <pc:chgData name="Marie-Laure Mauborgne" userId="717f1e20-c968-4716-94d0-7143ffa6b39a" providerId="ADAL" clId="{214BC7DA-616F-4A60-8FB7-72C0D436928B}" dt="2023-07-17T08:16:56.014" v="1177" actId="6549"/>
        <pc:sldMkLst>
          <pc:docMk/>
          <pc:sldMk cId="2733036679" sldId="316"/>
        </pc:sldMkLst>
      </pc:sldChg>
      <pc:sldChg chg="modSp mod">
        <pc:chgData name="Marie-Laure Mauborgne" userId="717f1e20-c968-4716-94d0-7143ffa6b39a" providerId="ADAL" clId="{214BC7DA-616F-4A60-8FB7-72C0D436928B}" dt="2023-07-17T09:06:23.344" v="1186" actId="20577"/>
        <pc:sldMkLst>
          <pc:docMk/>
          <pc:sldMk cId="2723531423" sldId="317"/>
        </pc:sldMkLst>
        <pc:spChg chg="mod">
          <ac:chgData name="Marie-Laure Mauborgne" userId="717f1e20-c968-4716-94d0-7143ffa6b39a" providerId="ADAL" clId="{214BC7DA-616F-4A60-8FB7-72C0D436928B}" dt="2023-07-17T09:06:23.344" v="1186" actId="20577"/>
          <ac:spMkLst>
            <pc:docMk/>
            <pc:sldMk cId="2723531423" sldId="317"/>
            <ac:spMk id="4098" creationId="{00000000-0000-0000-0000-000000000000}"/>
          </ac:spMkLst>
        </pc:spChg>
      </pc:sldChg>
      <pc:sldChg chg="addSp delSp modSp add mod modClrScheme chgLayout">
        <pc:chgData name="Marie-Laure Mauborgne" userId="717f1e20-c968-4716-94d0-7143ffa6b39a" providerId="ADAL" clId="{214BC7DA-616F-4A60-8FB7-72C0D436928B}" dt="2023-06-21T09:19:07.839" v="552" actId="20577"/>
        <pc:sldMkLst>
          <pc:docMk/>
          <pc:sldMk cId="1827154006" sldId="320"/>
        </pc:sldMkLst>
        <pc:spChg chg="mod ord">
          <ac:chgData name="Marie-Laure Mauborgne" userId="717f1e20-c968-4716-94d0-7143ffa6b39a" providerId="ADAL" clId="{214BC7DA-616F-4A60-8FB7-72C0D436928B}" dt="2023-06-21T09:19:07.839" v="552" actId="20577"/>
          <ac:spMkLst>
            <pc:docMk/>
            <pc:sldMk cId="1827154006" sldId="320"/>
            <ac:spMk id="2" creationId="{1DF3E9B6-17DE-4994-B013-903342FF6514}"/>
          </ac:spMkLst>
        </pc:spChg>
        <pc:spChg chg="mod ord">
          <ac:chgData name="Marie-Laure Mauborgne" userId="717f1e20-c968-4716-94d0-7143ffa6b39a" providerId="ADAL" clId="{214BC7DA-616F-4A60-8FB7-72C0D436928B}" dt="2023-06-21T09:18:52.107" v="527" actId="14100"/>
          <ac:spMkLst>
            <pc:docMk/>
            <pc:sldMk cId="1827154006" sldId="320"/>
            <ac:spMk id="3" creationId="{4D00BA98-0FB2-4CF8-8070-D9169211DFD7}"/>
          </ac:spMkLst>
        </pc:spChg>
        <pc:spChg chg="add mod ord">
          <ac:chgData name="Marie-Laure Mauborgne" userId="717f1e20-c968-4716-94d0-7143ffa6b39a" providerId="ADAL" clId="{214BC7DA-616F-4A60-8FB7-72C0D436928B}" dt="2023-06-21T09:13:45.204" v="508" actId="167"/>
          <ac:spMkLst>
            <pc:docMk/>
            <pc:sldMk cId="1827154006" sldId="320"/>
            <ac:spMk id="5" creationId="{87979755-EC80-50DF-8D5E-A3824F7AA98B}"/>
          </ac:spMkLst>
        </pc:spChg>
        <pc:spChg chg="add mod">
          <ac:chgData name="Marie-Laure Mauborgne" userId="717f1e20-c968-4716-94d0-7143ffa6b39a" providerId="ADAL" clId="{214BC7DA-616F-4A60-8FB7-72C0D436928B}" dt="2023-06-21T08:43:50.732" v="260"/>
          <ac:spMkLst>
            <pc:docMk/>
            <pc:sldMk cId="1827154006" sldId="320"/>
            <ac:spMk id="13" creationId="{488B00ED-1099-BFFD-0D05-18EC98B56784}"/>
          </ac:spMkLst>
        </pc:spChg>
        <pc:picChg chg="mod modCrop">
          <ac:chgData name="Marie-Laure Mauborgne" userId="717f1e20-c968-4716-94d0-7143ffa6b39a" providerId="ADAL" clId="{214BC7DA-616F-4A60-8FB7-72C0D436928B}" dt="2023-06-21T09:12:36.743" v="506" actId="208"/>
          <ac:picMkLst>
            <pc:docMk/>
            <pc:sldMk cId="1827154006" sldId="320"/>
            <ac:picMk id="4" creationId="{7817D4E1-7E60-46B1-B964-DD952929F55C}"/>
          </ac:picMkLst>
        </pc:picChg>
        <pc:picChg chg="add del mod">
          <ac:chgData name="Marie-Laure Mauborgne" userId="717f1e20-c968-4716-94d0-7143ffa6b39a" providerId="ADAL" clId="{214BC7DA-616F-4A60-8FB7-72C0D436928B}" dt="2023-06-21T08:38:05.050" v="126"/>
          <ac:picMkLst>
            <pc:docMk/>
            <pc:sldMk cId="1827154006" sldId="320"/>
            <ac:picMk id="6" creationId="{A7391219-F4B0-626D-EBE9-41177C663E0B}"/>
          </ac:picMkLst>
        </pc:picChg>
        <pc:picChg chg="mod ord modCrop">
          <ac:chgData name="Marie-Laure Mauborgne" userId="717f1e20-c968-4716-94d0-7143ffa6b39a" providerId="ADAL" clId="{214BC7DA-616F-4A60-8FB7-72C0D436928B}" dt="2023-06-21T09:13:38.004" v="507" actId="167"/>
          <ac:picMkLst>
            <pc:docMk/>
            <pc:sldMk cId="1827154006" sldId="320"/>
            <ac:picMk id="12" creationId="{690FFB6C-8906-4D8D-B7EB-29E25EC2DD32}"/>
          </ac:picMkLst>
        </pc:picChg>
        <pc:cxnChg chg="add del mod">
          <ac:chgData name="Marie-Laure Mauborgne" userId="717f1e20-c968-4716-94d0-7143ffa6b39a" providerId="ADAL" clId="{214BC7DA-616F-4A60-8FB7-72C0D436928B}" dt="2023-06-21T08:44:00.467" v="265" actId="478"/>
          <ac:cxnSpMkLst>
            <pc:docMk/>
            <pc:sldMk cId="1827154006" sldId="320"/>
            <ac:cxnSpMk id="7" creationId="{A0205972-A11C-6E63-97B5-9E150D8BCFCB}"/>
          </ac:cxnSpMkLst>
        </pc:cxnChg>
        <pc:cxnChg chg="add del mod">
          <ac:chgData name="Marie-Laure Mauborgne" userId="717f1e20-c968-4716-94d0-7143ffa6b39a" providerId="ADAL" clId="{214BC7DA-616F-4A60-8FB7-72C0D436928B}" dt="2023-06-21T08:43:56.491" v="263" actId="478"/>
          <ac:cxnSpMkLst>
            <pc:docMk/>
            <pc:sldMk cId="1827154006" sldId="320"/>
            <ac:cxnSpMk id="8" creationId="{1990A2EC-EA9D-A0FD-C6E4-72277375BCC7}"/>
          </ac:cxnSpMkLst>
        </pc:cxnChg>
        <pc:cxnChg chg="add del mod">
          <ac:chgData name="Marie-Laure Mauborgne" userId="717f1e20-c968-4716-94d0-7143ffa6b39a" providerId="ADAL" clId="{214BC7DA-616F-4A60-8FB7-72C0D436928B}" dt="2023-06-21T08:43:53.102" v="261" actId="478"/>
          <ac:cxnSpMkLst>
            <pc:docMk/>
            <pc:sldMk cId="1827154006" sldId="320"/>
            <ac:cxnSpMk id="9" creationId="{1F751456-D45E-293F-B3BE-6C68E7D0E286}"/>
          </ac:cxnSpMkLst>
        </pc:cxnChg>
        <pc:cxnChg chg="add del mod">
          <ac:chgData name="Marie-Laure Mauborgne" userId="717f1e20-c968-4716-94d0-7143ffa6b39a" providerId="ADAL" clId="{214BC7DA-616F-4A60-8FB7-72C0D436928B}" dt="2023-06-21T08:43:58.264" v="264" actId="478"/>
          <ac:cxnSpMkLst>
            <pc:docMk/>
            <pc:sldMk cId="1827154006" sldId="320"/>
            <ac:cxnSpMk id="10" creationId="{D607B4EA-0459-E2CB-37F6-8D352DE3629C}"/>
          </ac:cxnSpMkLst>
        </pc:cxnChg>
        <pc:cxnChg chg="add del mod">
          <ac:chgData name="Marie-Laure Mauborgne" userId="717f1e20-c968-4716-94d0-7143ffa6b39a" providerId="ADAL" clId="{214BC7DA-616F-4A60-8FB7-72C0D436928B}" dt="2023-06-21T08:43:54.726" v="262" actId="478"/>
          <ac:cxnSpMkLst>
            <pc:docMk/>
            <pc:sldMk cId="1827154006" sldId="320"/>
            <ac:cxnSpMk id="11" creationId="{D69124F7-2DB7-BCAC-76A0-37A29FB1B9BD}"/>
          </ac:cxnSpMkLst>
        </pc:cxnChg>
      </pc:sldChg>
      <pc:sldChg chg="addSp delSp modSp mod modAnim">
        <pc:chgData name="Marie-Laure Mauborgne" userId="717f1e20-c968-4716-94d0-7143ffa6b39a" providerId="ADAL" clId="{214BC7DA-616F-4A60-8FB7-72C0D436928B}" dt="2023-07-17T08:10:37.828" v="1170"/>
        <pc:sldMkLst>
          <pc:docMk/>
          <pc:sldMk cId="796390412" sldId="324"/>
        </pc:sldMkLst>
        <pc:spChg chg="mod">
          <ac:chgData name="Marie-Laure Mauborgne" userId="717f1e20-c968-4716-94d0-7143ffa6b39a" providerId="ADAL" clId="{214BC7DA-616F-4A60-8FB7-72C0D436928B}" dt="2023-06-21T09:10:56.698" v="497"/>
          <ac:spMkLst>
            <pc:docMk/>
            <pc:sldMk cId="796390412" sldId="324"/>
            <ac:spMk id="2" creationId="{DF6C655C-44E5-4D59-BDAA-79195BDD732B}"/>
          </ac:spMkLst>
        </pc:spChg>
        <pc:spChg chg="mod">
          <ac:chgData name="Marie-Laure Mauborgne" userId="717f1e20-c968-4716-94d0-7143ffa6b39a" providerId="ADAL" clId="{214BC7DA-616F-4A60-8FB7-72C0D436928B}" dt="2023-06-21T09:10:59.667" v="498" actId="14100"/>
          <ac:spMkLst>
            <pc:docMk/>
            <pc:sldMk cId="796390412" sldId="324"/>
            <ac:spMk id="3" creationId="{6D912CDB-41F9-4C7B-A8DF-9B14A6EE4F08}"/>
          </ac:spMkLst>
        </pc:spChg>
        <pc:spChg chg="del">
          <ac:chgData name="Marie-Laure Mauborgne" userId="717f1e20-c968-4716-94d0-7143ffa6b39a" providerId="ADAL" clId="{214BC7DA-616F-4A60-8FB7-72C0D436928B}" dt="2023-06-21T08:35:29.352" v="79"/>
          <ac:spMkLst>
            <pc:docMk/>
            <pc:sldMk cId="796390412" sldId="324"/>
            <ac:spMk id="4" creationId="{FC23E1B4-3533-B28C-D0B2-7BA4D1E16363}"/>
          </ac:spMkLst>
        </pc:spChg>
        <pc:spChg chg="add del mod">
          <ac:chgData name="Marie-Laure Mauborgne" userId="717f1e20-c968-4716-94d0-7143ffa6b39a" providerId="ADAL" clId="{214BC7DA-616F-4A60-8FB7-72C0D436928B}" dt="2023-06-21T08:35:29.352" v="79"/>
          <ac:spMkLst>
            <pc:docMk/>
            <pc:sldMk cId="796390412" sldId="324"/>
            <ac:spMk id="6" creationId="{FCC27D2D-DD19-E69E-BBEF-ADC33DBB4679}"/>
          </ac:spMkLst>
        </pc:spChg>
        <pc:spChg chg="add del mod">
          <ac:chgData name="Marie-Laure Mauborgne" userId="717f1e20-c968-4716-94d0-7143ffa6b39a" providerId="ADAL" clId="{214BC7DA-616F-4A60-8FB7-72C0D436928B}" dt="2023-06-21T08:35:29.352" v="79"/>
          <ac:spMkLst>
            <pc:docMk/>
            <pc:sldMk cId="796390412" sldId="324"/>
            <ac:spMk id="7" creationId="{8423A339-FC1A-20F7-7A59-4BEDFB33229A}"/>
          </ac:spMkLst>
        </pc:spChg>
        <pc:spChg chg="add del mod">
          <ac:chgData name="Marie-Laure Mauborgne" userId="717f1e20-c968-4716-94d0-7143ffa6b39a" providerId="ADAL" clId="{214BC7DA-616F-4A60-8FB7-72C0D436928B}" dt="2023-06-21T09:10:56.698" v="497"/>
          <ac:spMkLst>
            <pc:docMk/>
            <pc:sldMk cId="796390412" sldId="324"/>
            <ac:spMk id="10" creationId="{1D5CE677-1946-70C3-6949-602E2157873D}"/>
          </ac:spMkLst>
        </pc:spChg>
        <pc:spChg chg="add mod">
          <ac:chgData name="Marie-Laure Mauborgne" userId="717f1e20-c968-4716-94d0-7143ffa6b39a" providerId="ADAL" clId="{214BC7DA-616F-4A60-8FB7-72C0D436928B}" dt="2023-06-21T08:36:16.415" v="87" actId="1582"/>
          <ac:spMkLst>
            <pc:docMk/>
            <pc:sldMk cId="796390412" sldId="324"/>
            <ac:spMk id="11" creationId="{47930BBE-3F8A-F58E-6C67-B7A51FC00A12}"/>
          </ac:spMkLst>
        </pc:spChg>
        <pc:spChg chg="add mod">
          <ac:chgData name="Marie-Laure Mauborgne" userId="717f1e20-c968-4716-94d0-7143ffa6b39a" providerId="ADAL" clId="{214BC7DA-616F-4A60-8FB7-72C0D436928B}" dt="2023-06-21T08:36:16.415" v="87" actId="1582"/>
          <ac:spMkLst>
            <pc:docMk/>
            <pc:sldMk cId="796390412" sldId="324"/>
            <ac:spMk id="12" creationId="{942BB1E5-80D3-688A-CA25-890EB145723B}"/>
          </ac:spMkLst>
        </pc:spChg>
        <pc:spChg chg="add del mod">
          <ac:chgData name="Marie-Laure Mauborgne" userId="717f1e20-c968-4716-94d0-7143ffa6b39a" providerId="ADAL" clId="{214BC7DA-616F-4A60-8FB7-72C0D436928B}" dt="2023-06-21T09:10:56.698" v="497"/>
          <ac:spMkLst>
            <pc:docMk/>
            <pc:sldMk cId="796390412" sldId="324"/>
            <ac:spMk id="13" creationId="{C63D218A-539A-5D02-F615-EADABE1CB185}"/>
          </ac:spMkLst>
        </pc:spChg>
        <pc:spChg chg="add del mod">
          <ac:chgData name="Marie-Laure Mauborgne" userId="717f1e20-c968-4716-94d0-7143ffa6b39a" providerId="ADAL" clId="{214BC7DA-616F-4A60-8FB7-72C0D436928B}" dt="2023-06-21T09:10:56.698" v="497"/>
          <ac:spMkLst>
            <pc:docMk/>
            <pc:sldMk cId="796390412" sldId="324"/>
            <ac:spMk id="14" creationId="{7D6C4256-15A5-B5A3-B309-1D9BD660186D}"/>
          </ac:spMkLst>
        </pc:spChg>
        <pc:spChg chg="add mod">
          <ac:chgData name="Marie-Laure Mauborgne" userId="717f1e20-c968-4716-94d0-7143ffa6b39a" providerId="ADAL" clId="{214BC7DA-616F-4A60-8FB7-72C0D436928B}" dt="2023-06-21T09:10:56.698" v="497"/>
          <ac:spMkLst>
            <pc:docMk/>
            <pc:sldMk cId="796390412" sldId="324"/>
            <ac:spMk id="15" creationId="{5FF38C79-CF6A-46D4-8297-C9C5D3F2FB0E}"/>
          </ac:spMkLst>
        </pc:spChg>
        <pc:picChg chg="mod">
          <ac:chgData name="Marie-Laure Mauborgne" userId="717f1e20-c968-4716-94d0-7143ffa6b39a" providerId="ADAL" clId="{214BC7DA-616F-4A60-8FB7-72C0D436928B}" dt="2023-06-21T09:04:10.879" v="441" actId="1440"/>
          <ac:picMkLst>
            <pc:docMk/>
            <pc:sldMk cId="796390412" sldId="324"/>
            <ac:picMk id="8" creationId="{89E2DBDD-7CA6-4DD2-9704-444E8D0F67E9}"/>
          </ac:picMkLst>
        </pc:picChg>
        <pc:picChg chg="mod modCrop">
          <ac:chgData name="Marie-Laure Mauborgne" userId="717f1e20-c968-4716-94d0-7143ffa6b39a" providerId="ADAL" clId="{214BC7DA-616F-4A60-8FB7-72C0D436928B}" dt="2023-06-21T09:10:28.448" v="492" actId="1076"/>
          <ac:picMkLst>
            <pc:docMk/>
            <pc:sldMk cId="796390412" sldId="324"/>
            <ac:picMk id="9" creationId="{6C564BE7-9AD5-404F-B810-4FF364C527F4}"/>
          </ac:picMkLst>
        </pc:picChg>
      </pc:sldChg>
      <pc:sldChg chg="addSp delSp modSp del mod modShow">
        <pc:chgData name="Marie-Laure Mauborgne" userId="717f1e20-c968-4716-94d0-7143ffa6b39a" providerId="ADAL" clId="{214BC7DA-616F-4A60-8FB7-72C0D436928B}" dt="2023-08-07T08:23:08.698" v="1198" actId="47"/>
        <pc:sldMkLst>
          <pc:docMk/>
          <pc:sldMk cId="1892993835" sldId="2147378815"/>
        </pc:sldMkLst>
        <pc:spChg chg="mod">
          <ac:chgData name="Marie-Laure Mauborgne" userId="717f1e20-c968-4716-94d0-7143ffa6b39a" providerId="ADAL" clId="{214BC7DA-616F-4A60-8FB7-72C0D436928B}" dt="2023-06-27T08:17:01.785" v="809" actId="20577"/>
          <ac:spMkLst>
            <pc:docMk/>
            <pc:sldMk cId="1892993835" sldId="2147378815"/>
            <ac:spMk id="3" creationId="{3B4BFFA1-20D2-B215-34F7-024ED083F067}"/>
          </ac:spMkLst>
        </pc:spChg>
        <pc:grpChg chg="del">
          <ac:chgData name="Marie-Laure Mauborgne" userId="717f1e20-c968-4716-94d0-7143ffa6b39a" providerId="ADAL" clId="{214BC7DA-616F-4A60-8FB7-72C0D436928B}" dt="2023-06-21T15:18:48.382" v="767" actId="478"/>
          <ac:grpSpMkLst>
            <pc:docMk/>
            <pc:sldMk cId="1892993835" sldId="2147378815"/>
            <ac:grpSpMk id="27" creationId="{9BA42CFA-2DF4-B8EA-AC54-401E69468448}"/>
          </ac:grpSpMkLst>
        </pc:grpChg>
        <pc:picChg chg="add mod">
          <ac:chgData name="Marie-Laure Mauborgne" userId="717f1e20-c968-4716-94d0-7143ffa6b39a" providerId="ADAL" clId="{214BC7DA-616F-4A60-8FB7-72C0D436928B}" dt="2023-06-21T15:30:17.128" v="784" actId="208"/>
          <ac:picMkLst>
            <pc:docMk/>
            <pc:sldMk cId="1892993835" sldId="2147378815"/>
            <ac:picMk id="4" creationId="{42FC6367-64DC-603D-A21A-C463B8F04B19}"/>
          </ac:picMkLst>
        </pc:picChg>
        <pc:picChg chg="mod">
          <ac:chgData name="Marie-Laure Mauborgne" userId="717f1e20-c968-4716-94d0-7143ffa6b39a" providerId="ADAL" clId="{214BC7DA-616F-4A60-8FB7-72C0D436928B}" dt="2023-06-21T15:29:42.916" v="774" actId="1076"/>
          <ac:picMkLst>
            <pc:docMk/>
            <pc:sldMk cId="1892993835" sldId="2147378815"/>
            <ac:picMk id="25" creationId="{0D351AEE-1C74-91D0-865E-C278263346E5}"/>
          </ac:picMkLst>
        </pc:picChg>
      </pc:sldChg>
      <pc:sldChg chg="modSp mod modAnim modNotesTx">
        <pc:chgData name="Marie-Laure Mauborgne" userId="717f1e20-c968-4716-94d0-7143ffa6b39a" providerId="ADAL" clId="{214BC7DA-616F-4A60-8FB7-72C0D436928B}" dt="2023-07-17T08:05:10.421" v="1158"/>
        <pc:sldMkLst>
          <pc:docMk/>
          <pc:sldMk cId="3995666413" sldId="2147378817"/>
        </pc:sldMkLst>
        <pc:spChg chg="mod">
          <ac:chgData name="Marie-Laure Mauborgne" userId="717f1e20-c968-4716-94d0-7143ffa6b39a" providerId="ADAL" clId="{214BC7DA-616F-4A60-8FB7-72C0D436928B}" dt="2023-06-30T11:08:18.133" v="1053" actId="20577"/>
          <ac:spMkLst>
            <pc:docMk/>
            <pc:sldMk cId="3995666413" sldId="2147378817"/>
            <ac:spMk id="2" creationId="{00000000-0000-0000-0000-000000000000}"/>
          </ac:spMkLst>
        </pc:spChg>
        <pc:spChg chg="mod">
          <ac:chgData name="Marie-Laure Mauborgne" userId="717f1e20-c968-4716-94d0-7143ffa6b39a" providerId="ADAL" clId="{214BC7DA-616F-4A60-8FB7-72C0D436928B}" dt="2023-06-30T11:08:29.311" v="1060" actId="20577"/>
          <ac:spMkLst>
            <pc:docMk/>
            <pc:sldMk cId="3995666413" sldId="2147378817"/>
            <ac:spMk id="3" creationId="{00000000-0000-0000-0000-000000000000}"/>
          </ac:spMkLst>
        </pc:spChg>
      </pc:sldChg>
      <pc:sldChg chg="modSp mod">
        <pc:chgData name="Marie-Laure Mauborgne" userId="717f1e20-c968-4716-94d0-7143ffa6b39a" providerId="ADAL" clId="{214BC7DA-616F-4A60-8FB7-72C0D436928B}" dt="2023-06-30T11:14:22.784" v="1068" actId="20577"/>
        <pc:sldMkLst>
          <pc:docMk/>
          <pc:sldMk cId="1194558004" sldId="2147379079"/>
        </pc:sldMkLst>
        <pc:spChg chg="mod">
          <ac:chgData name="Marie-Laure Mauborgne" userId="717f1e20-c968-4716-94d0-7143ffa6b39a" providerId="ADAL" clId="{214BC7DA-616F-4A60-8FB7-72C0D436928B}" dt="2023-06-30T11:14:22.784" v="1068" actId="20577"/>
          <ac:spMkLst>
            <pc:docMk/>
            <pc:sldMk cId="1194558004" sldId="2147379079"/>
            <ac:spMk id="2" creationId="{21847626-C86D-E2C3-0A06-0E59A000E5FA}"/>
          </ac:spMkLst>
        </pc:spChg>
      </pc:sldChg>
      <pc:sldChg chg="modSp mod">
        <pc:chgData name="Marie-Laure Mauborgne" userId="717f1e20-c968-4716-94d0-7143ffa6b39a" providerId="ADAL" clId="{214BC7DA-616F-4A60-8FB7-72C0D436928B}" dt="2023-06-30T11:17:34.197" v="1116" actId="20577"/>
        <pc:sldMkLst>
          <pc:docMk/>
          <pc:sldMk cId="2014131993" sldId="2147379080"/>
        </pc:sldMkLst>
        <pc:spChg chg="mod">
          <ac:chgData name="Marie-Laure Mauborgne" userId="717f1e20-c968-4716-94d0-7143ffa6b39a" providerId="ADAL" clId="{214BC7DA-616F-4A60-8FB7-72C0D436928B}" dt="2023-06-30T11:14:32.674" v="1074" actId="20577"/>
          <ac:spMkLst>
            <pc:docMk/>
            <pc:sldMk cId="2014131993" sldId="2147379080"/>
            <ac:spMk id="2" creationId="{21847626-C86D-E2C3-0A06-0E59A000E5FA}"/>
          </ac:spMkLst>
        </pc:spChg>
        <pc:spChg chg="mod">
          <ac:chgData name="Marie-Laure Mauborgne" userId="717f1e20-c968-4716-94d0-7143ffa6b39a" providerId="ADAL" clId="{214BC7DA-616F-4A60-8FB7-72C0D436928B}" dt="2023-06-30T11:17:34.197" v="1116" actId="20577"/>
          <ac:spMkLst>
            <pc:docMk/>
            <pc:sldMk cId="2014131993" sldId="2147379080"/>
            <ac:spMk id="15" creationId="{445E6131-83FD-EA0A-27F2-ABA8063ADABD}"/>
          </ac:spMkLst>
        </pc:spChg>
      </pc:sldChg>
      <pc:sldChg chg="modSp new mod">
        <pc:chgData name="Marie-Laure Mauborgne" userId="717f1e20-c968-4716-94d0-7143ffa6b39a" providerId="ADAL" clId="{214BC7DA-616F-4A60-8FB7-72C0D436928B}" dt="2023-06-30T11:22:07.018" v="1149" actId="108"/>
        <pc:sldMkLst>
          <pc:docMk/>
          <pc:sldMk cId="3581533231" sldId="2147379081"/>
        </pc:sldMkLst>
        <pc:spChg chg="mod">
          <ac:chgData name="Marie-Laure Mauborgne" userId="717f1e20-c968-4716-94d0-7143ffa6b39a" providerId="ADAL" clId="{214BC7DA-616F-4A60-8FB7-72C0D436928B}" dt="2023-06-21T09:35:27.218" v="573" actId="20577"/>
          <ac:spMkLst>
            <pc:docMk/>
            <pc:sldMk cId="3581533231" sldId="2147379081"/>
            <ac:spMk id="2" creationId="{313964AE-1863-81AE-D7FC-52BA1A12D635}"/>
          </ac:spMkLst>
        </pc:spChg>
        <pc:spChg chg="mod">
          <ac:chgData name="Marie-Laure Mauborgne" userId="717f1e20-c968-4716-94d0-7143ffa6b39a" providerId="ADAL" clId="{214BC7DA-616F-4A60-8FB7-72C0D436928B}" dt="2023-06-30T11:22:07.018" v="1149" actId="108"/>
          <ac:spMkLst>
            <pc:docMk/>
            <pc:sldMk cId="3581533231" sldId="2147379081"/>
            <ac:spMk id="3" creationId="{4F25170D-0DF7-8F73-052C-4FDCD60B0DAF}"/>
          </ac:spMkLst>
        </pc:spChg>
      </pc:sldChg>
      <pc:sldChg chg="modSp new del mod">
        <pc:chgData name="Marie-Laure Mauborgne" userId="717f1e20-c968-4716-94d0-7143ffa6b39a" providerId="ADAL" clId="{214BC7DA-616F-4A60-8FB7-72C0D436928B}" dt="2023-06-30T11:22:23.571" v="1150" actId="47"/>
        <pc:sldMkLst>
          <pc:docMk/>
          <pc:sldMk cId="1015544697" sldId="2147379082"/>
        </pc:sldMkLst>
        <pc:spChg chg="mod">
          <ac:chgData name="Marie-Laure Mauborgne" userId="717f1e20-c968-4716-94d0-7143ffa6b39a" providerId="ADAL" clId="{214BC7DA-616F-4A60-8FB7-72C0D436928B}" dt="2023-06-30T11:20:58.588" v="1140" actId="20577"/>
          <ac:spMkLst>
            <pc:docMk/>
            <pc:sldMk cId="1015544697" sldId="2147379082"/>
            <ac:spMk id="3" creationId="{C35BC154-98D6-405F-6C78-14FB776BC294}"/>
          </ac:spMkLst>
        </pc:spChg>
      </pc:sldChg>
    </pc:docChg>
  </pc:docChgLst>
  <pc:docChgLst>
    <pc:chgData name="Guillaume Revellat" userId="845aade5-292d-406c-ab54-74f87d7f719b" providerId="ADAL" clId="{23883596-0570-40A4-ADC9-D083B848FAA2}"/>
    <pc:docChg chg="modSld">
      <pc:chgData name="Guillaume Revellat" userId="845aade5-292d-406c-ab54-74f87d7f719b" providerId="ADAL" clId="{23883596-0570-40A4-ADC9-D083B848FAA2}" dt="2023-04-05T12:15:15.625" v="1" actId="729"/>
      <pc:docMkLst>
        <pc:docMk/>
      </pc:docMkLst>
      <pc:sldChg chg="mod modShow">
        <pc:chgData name="Guillaume Revellat" userId="845aade5-292d-406c-ab54-74f87d7f719b" providerId="ADAL" clId="{23883596-0570-40A4-ADC9-D083B848FAA2}" dt="2023-04-05T12:15:11.953" v="0" actId="729"/>
        <pc:sldMkLst>
          <pc:docMk/>
          <pc:sldMk cId="1550801614" sldId="361"/>
        </pc:sldMkLst>
      </pc:sldChg>
      <pc:sldChg chg="mod modShow">
        <pc:chgData name="Guillaume Revellat" userId="845aade5-292d-406c-ab54-74f87d7f719b" providerId="ADAL" clId="{23883596-0570-40A4-ADC9-D083B848FAA2}" dt="2023-04-05T12:15:15.625" v="1" actId="729"/>
        <pc:sldMkLst>
          <pc:docMk/>
          <pc:sldMk cId="1395785707" sldId="2134804513"/>
        </pc:sldMkLst>
      </pc:sldChg>
    </pc:docChg>
  </pc:docChgLst>
  <pc:docChgLst>
    <pc:chgData name="Alexis Pallain" userId="c36ed1c7-ded9-4db6-a024-7557c6c16aab" providerId="ADAL" clId="{850367E2-D1DC-4F4F-AB68-F97A22BA04E8}"/>
    <pc:docChg chg="undo redo custSel addSld delSld modSld sldOrd">
      <pc:chgData name="Alexis Pallain" userId="c36ed1c7-ded9-4db6-a024-7557c6c16aab" providerId="ADAL" clId="{850367E2-D1DC-4F4F-AB68-F97A22BA04E8}" dt="2023-03-23T15:10:22.359" v="1438" actId="1076"/>
      <pc:docMkLst>
        <pc:docMk/>
      </pc:docMkLst>
      <pc:sldChg chg="modSp add del mod">
        <pc:chgData name="Alexis Pallain" userId="c36ed1c7-ded9-4db6-a024-7557c6c16aab" providerId="ADAL" clId="{850367E2-D1DC-4F4F-AB68-F97A22BA04E8}" dt="2023-03-08T14:04:24.274" v="1248" actId="113"/>
        <pc:sldMkLst>
          <pc:docMk/>
          <pc:sldMk cId="2854351964" sldId="257"/>
        </pc:sldMkLst>
        <pc:spChg chg="mod">
          <ac:chgData name="Alexis Pallain" userId="c36ed1c7-ded9-4db6-a024-7557c6c16aab" providerId="ADAL" clId="{850367E2-D1DC-4F4F-AB68-F97A22BA04E8}" dt="2023-03-08T14:04:24.274" v="1248" actId="113"/>
          <ac:spMkLst>
            <pc:docMk/>
            <pc:sldMk cId="2854351964" sldId="257"/>
            <ac:spMk id="2" creationId="{2A778D6C-3E06-1584-C6DB-CF71E41389B2}"/>
          </ac:spMkLst>
        </pc:spChg>
        <pc:spChg chg="mod">
          <ac:chgData name="Alexis Pallain" userId="c36ed1c7-ded9-4db6-a024-7557c6c16aab" providerId="ADAL" clId="{850367E2-D1DC-4F4F-AB68-F97A22BA04E8}" dt="2023-03-08T08:49:12.899" v="727" actId="20577"/>
          <ac:spMkLst>
            <pc:docMk/>
            <pc:sldMk cId="2854351964" sldId="257"/>
            <ac:spMk id="7" creationId="{CDFE6908-2B53-A8B8-14DF-0F78031824FB}"/>
          </ac:spMkLst>
        </pc:spChg>
      </pc:sldChg>
      <pc:sldChg chg="del">
        <pc:chgData name="Alexis Pallain" userId="c36ed1c7-ded9-4db6-a024-7557c6c16aab" providerId="ADAL" clId="{850367E2-D1DC-4F4F-AB68-F97A22BA04E8}" dt="2023-03-08T09:00:01.642" v="783" actId="47"/>
        <pc:sldMkLst>
          <pc:docMk/>
          <pc:sldMk cId="2420150595" sldId="258"/>
        </pc:sldMkLst>
      </pc:sldChg>
      <pc:sldChg chg="modSp del mod">
        <pc:chgData name="Alexis Pallain" userId="c36ed1c7-ded9-4db6-a024-7557c6c16aab" providerId="ADAL" clId="{850367E2-D1DC-4F4F-AB68-F97A22BA04E8}" dt="2023-03-08T08:48:07.191" v="693" actId="47"/>
        <pc:sldMkLst>
          <pc:docMk/>
          <pc:sldMk cId="2219754914" sldId="318"/>
        </pc:sldMkLst>
        <pc:spChg chg="mod">
          <ac:chgData name="Alexis Pallain" userId="c36ed1c7-ded9-4db6-a024-7557c6c16aab" providerId="ADAL" clId="{850367E2-D1DC-4F4F-AB68-F97A22BA04E8}" dt="2023-03-08T08:47:57.417" v="692" actId="14100"/>
          <ac:spMkLst>
            <pc:docMk/>
            <pc:sldMk cId="2219754914" sldId="318"/>
            <ac:spMk id="2" creationId="{2A778D6C-3E06-1584-C6DB-CF71E41389B2}"/>
          </ac:spMkLst>
        </pc:spChg>
        <pc:spChg chg="mod">
          <ac:chgData name="Alexis Pallain" userId="c36ed1c7-ded9-4db6-a024-7557c6c16aab" providerId="ADAL" clId="{850367E2-D1DC-4F4F-AB68-F97A22BA04E8}" dt="2023-03-08T08:47:50.834" v="691" actId="1076"/>
          <ac:spMkLst>
            <pc:docMk/>
            <pc:sldMk cId="2219754914" sldId="318"/>
            <ac:spMk id="4" creationId="{F91FC9D5-8DC1-A1BF-3C9F-539D33CBAD38}"/>
          </ac:spMkLst>
        </pc:spChg>
      </pc:sldChg>
      <pc:sldChg chg="mod modShow">
        <pc:chgData name="Alexis Pallain" userId="c36ed1c7-ded9-4db6-a024-7557c6c16aab" providerId="ADAL" clId="{850367E2-D1DC-4F4F-AB68-F97A22BA04E8}" dt="2023-03-08T09:18:21.183" v="869" actId="729"/>
        <pc:sldMkLst>
          <pc:docMk/>
          <pc:sldMk cId="4197892329" sldId="321"/>
        </pc:sldMkLst>
      </pc:sldChg>
      <pc:sldChg chg="add del ord">
        <pc:chgData name="Alexis Pallain" userId="c36ed1c7-ded9-4db6-a024-7557c6c16aab" providerId="ADAL" clId="{850367E2-D1DC-4F4F-AB68-F97A22BA04E8}" dt="2023-03-08T08:28:40.020" v="618"/>
        <pc:sldMkLst>
          <pc:docMk/>
          <pc:sldMk cId="1408238407" sldId="354"/>
        </pc:sldMkLst>
      </pc:sldChg>
      <pc:sldChg chg="add del">
        <pc:chgData name="Alexis Pallain" userId="c36ed1c7-ded9-4db6-a024-7557c6c16aab" providerId="ADAL" clId="{850367E2-D1DC-4F4F-AB68-F97A22BA04E8}" dt="2023-03-08T08:57:38.658" v="777"/>
        <pc:sldMkLst>
          <pc:docMk/>
          <pc:sldMk cId="352217459" sldId="372"/>
        </pc:sldMkLst>
      </pc:sldChg>
      <pc:sldChg chg="add del ord">
        <pc:chgData name="Alexis Pallain" userId="c36ed1c7-ded9-4db6-a024-7557c6c16aab" providerId="ADAL" clId="{850367E2-D1DC-4F4F-AB68-F97A22BA04E8}" dt="2023-03-08T08:28:40.020" v="618"/>
        <pc:sldMkLst>
          <pc:docMk/>
          <pc:sldMk cId="2901120980" sldId="376"/>
        </pc:sldMkLst>
      </pc:sldChg>
      <pc:sldChg chg="modSp add del mod ord">
        <pc:chgData name="Alexis Pallain" userId="c36ed1c7-ded9-4db6-a024-7557c6c16aab" providerId="ADAL" clId="{850367E2-D1DC-4F4F-AB68-F97A22BA04E8}" dt="2023-03-08T14:19:46.028" v="1356"/>
        <pc:sldMkLst>
          <pc:docMk/>
          <pc:sldMk cId="500936331" sldId="377"/>
        </pc:sldMkLst>
        <pc:graphicFrameChg chg="modGraphic">
          <ac:chgData name="Alexis Pallain" userId="c36ed1c7-ded9-4db6-a024-7557c6c16aab" providerId="ADAL" clId="{850367E2-D1DC-4F4F-AB68-F97A22BA04E8}" dt="2023-03-08T14:19:26.644" v="1354" actId="13926"/>
          <ac:graphicFrameMkLst>
            <pc:docMk/>
            <pc:sldMk cId="500936331" sldId="377"/>
            <ac:graphicFrameMk id="4" creationId="{0AD34314-0767-6612-96E9-6D68FBCC62A9}"/>
          </ac:graphicFrameMkLst>
        </pc:graphicFrameChg>
      </pc:sldChg>
      <pc:sldChg chg="modSp add del mod modShow">
        <pc:chgData name="Alexis Pallain" userId="c36ed1c7-ded9-4db6-a024-7557c6c16aab" providerId="ADAL" clId="{850367E2-D1DC-4F4F-AB68-F97A22BA04E8}" dt="2023-03-08T14:22:00.081" v="1366" actId="20577"/>
        <pc:sldMkLst>
          <pc:docMk/>
          <pc:sldMk cId="2306752089" sldId="434"/>
        </pc:sldMkLst>
        <pc:spChg chg="mod">
          <ac:chgData name="Alexis Pallain" userId="c36ed1c7-ded9-4db6-a024-7557c6c16aab" providerId="ADAL" clId="{850367E2-D1DC-4F4F-AB68-F97A22BA04E8}" dt="2023-03-08T14:22:00.081" v="1366" actId="20577"/>
          <ac:spMkLst>
            <pc:docMk/>
            <pc:sldMk cId="2306752089" sldId="434"/>
            <ac:spMk id="4" creationId="{DB02601F-93DE-1423-FE1A-B6538186265D}"/>
          </ac:spMkLst>
        </pc:spChg>
      </pc:sldChg>
      <pc:sldChg chg="del">
        <pc:chgData name="Alexis Pallain" userId="c36ed1c7-ded9-4db6-a024-7557c6c16aab" providerId="ADAL" clId="{850367E2-D1DC-4F4F-AB68-F97A22BA04E8}" dt="2023-03-07T17:29:08.551" v="614" actId="47"/>
        <pc:sldMkLst>
          <pc:docMk/>
          <pc:sldMk cId="1534441720" sldId="648"/>
        </pc:sldMkLst>
      </pc:sldChg>
      <pc:sldChg chg="del">
        <pc:chgData name="Alexis Pallain" userId="c36ed1c7-ded9-4db6-a024-7557c6c16aab" providerId="ADAL" clId="{850367E2-D1DC-4F4F-AB68-F97A22BA04E8}" dt="2023-03-07T17:29:08.551" v="614" actId="47"/>
        <pc:sldMkLst>
          <pc:docMk/>
          <pc:sldMk cId="3461826666" sldId="651"/>
        </pc:sldMkLst>
      </pc:sldChg>
      <pc:sldChg chg="del">
        <pc:chgData name="Alexis Pallain" userId="c36ed1c7-ded9-4db6-a024-7557c6c16aab" providerId="ADAL" clId="{850367E2-D1DC-4F4F-AB68-F97A22BA04E8}" dt="2023-03-07T17:29:24.119" v="615" actId="47"/>
        <pc:sldMkLst>
          <pc:docMk/>
          <pc:sldMk cId="1573426813" sldId="662"/>
        </pc:sldMkLst>
      </pc:sldChg>
      <pc:sldChg chg="add del">
        <pc:chgData name="Alexis Pallain" userId="c36ed1c7-ded9-4db6-a024-7557c6c16aab" providerId="ADAL" clId="{850367E2-D1DC-4F4F-AB68-F97A22BA04E8}" dt="2023-03-08T08:57:41.304" v="778" actId="47"/>
        <pc:sldMkLst>
          <pc:docMk/>
          <pc:sldMk cId="921590808" sldId="664"/>
        </pc:sldMkLst>
      </pc:sldChg>
      <pc:sldChg chg="add del mod modShow">
        <pc:chgData name="Alexis Pallain" userId="c36ed1c7-ded9-4db6-a024-7557c6c16aab" providerId="ADAL" clId="{850367E2-D1DC-4F4F-AB68-F97A22BA04E8}" dt="2023-03-08T14:21:40.902" v="1360" actId="729"/>
        <pc:sldMkLst>
          <pc:docMk/>
          <pc:sldMk cId="3919984126" sldId="666"/>
        </pc:sldMkLst>
      </pc:sldChg>
      <pc:sldChg chg="add del mod modShow">
        <pc:chgData name="Alexis Pallain" userId="c36ed1c7-ded9-4db6-a024-7557c6c16aab" providerId="ADAL" clId="{850367E2-D1DC-4F4F-AB68-F97A22BA04E8}" dt="2023-03-08T14:21:40.902" v="1360" actId="729"/>
        <pc:sldMkLst>
          <pc:docMk/>
          <pc:sldMk cId="3156044333" sldId="667"/>
        </pc:sldMkLst>
      </pc:sldChg>
      <pc:sldChg chg="add del">
        <pc:chgData name="Alexis Pallain" userId="c36ed1c7-ded9-4db6-a024-7557c6c16aab" providerId="ADAL" clId="{850367E2-D1DC-4F4F-AB68-F97A22BA04E8}" dt="2023-03-08T08:58:44.446" v="780" actId="47"/>
        <pc:sldMkLst>
          <pc:docMk/>
          <pc:sldMk cId="263347481" sldId="670"/>
        </pc:sldMkLst>
      </pc:sldChg>
      <pc:sldChg chg="add del mod ord modShow">
        <pc:chgData name="Alexis Pallain" userId="c36ed1c7-ded9-4db6-a024-7557c6c16aab" providerId="ADAL" clId="{850367E2-D1DC-4F4F-AB68-F97A22BA04E8}" dt="2023-03-08T14:15:20.876" v="1317"/>
        <pc:sldMkLst>
          <pc:docMk/>
          <pc:sldMk cId="1568999786" sldId="674"/>
        </pc:sldMkLst>
      </pc:sldChg>
      <pc:sldChg chg="modSp add del mod">
        <pc:chgData name="Alexis Pallain" userId="c36ed1c7-ded9-4db6-a024-7557c6c16aab" providerId="ADAL" clId="{850367E2-D1DC-4F4F-AB68-F97A22BA04E8}" dt="2023-03-07T17:21:16.617" v="590" actId="20577"/>
        <pc:sldMkLst>
          <pc:docMk/>
          <pc:sldMk cId="2988685174" sldId="681"/>
        </pc:sldMkLst>
        <pc:spChg chg="mod">
          <ac:chgData name="Alexis Pallain" userId="c36ed1c7-ded9-4db6-a024-7557c6c16aab" providerId="ADAL" clId="{850367E2-D1DC-4F4F-AB68-F97A22BA04E8}" dt="2023-03-07T17:21:16.617" v="590" actId="20577"/>
          <ac:spMkLst>
            <pc:docMk/>
            <pc:sldMk cId="2988685174" sldId="681"/>
            <ac:spMk id="2" creationId="{250DEFBF-5A46-8516-D1A3-314C0B98DA8C}"/>
          </ac:spMkLst>
        </pc:spChg>
      </pc:sldChg>
      <pc:sldChg chg="add del">
        <pc:chgData name="Alexis Pallain" userId="c36ed1c7-ded9-4db6-a024-7557c6c16aab" providerId="ADAL" clId="{850367E2-D1DC-4F4F-AB68-F97A22BA04E8}" dt="2023-03-08T08:58:44.446" v="780" actId="47"/>
        <pc:sldMkLst>
          <pc:docMk/>
          <pc:sldMk cId="1160698084" sldId="682"/>
        </pc:sldMkLst>
      </pc:sldChg>
      <pc:sldChg chg="add del">
        <pc:chgData name="Alexis Pallain" userId="c36ed1c7-ded9-4db6-a024-7557c6c16aab" providerId="ADAL" clId="{850367E2-D1DC-4F4F-AB68-F97A22BA04E8}" dt="2023-03-08T08:58:44.446" v="780" actId="47"/>
        <pc:sldMkLst>
          <pc:docMk/>
          <pc:sldMk cId="2155701121" sldId="683"/>
        </pc:sldMkLst>
      </pc:sldChg>
      <pc:sldChg chg="add del">
        <pc:chgData name="Alexis Pallain" userId="c36ed1c7-ded9-4db6-a024-7557c6c16aab" providerId="ADAL" clId="{850367E2-D1DC-4F4F-AB68-F97A22BA04E8}" dt="2023-03-08T08:58:44.446" v="780" actId="47"/>
        <pc:sldMkLst>
          <pc:docMk/>
          <pc:sldMk cId="2537473705" sldId="684"/>
        </pc:sldMkLst>
      </pc:sldChg>
      <pc:sldChg chg="add del mod modShow">
        <pc:chgData name="Alexis Pallain" userId="c36ed1c7-ded9-4db6-a024-7557c6c16aab" providerId="ADAL" clId="{850367E2-D1DC-4F4F-AB68-F97A22BA04E8}" dt="2023-03-07T17:22:21.922" v="594" actId="729"/>
        <pc:sldMkLst>
          <pc:docMk/>
          <pc:sldMk cId="790279500" sldId="685"/>
        </pc:sldMkLst>
      </pc:sldChg>
      <pc:sldChg chg="modSp add del mod">
        <pc:chgData name="Alexis Pallain" userId="c36ed1c7-ded9-4db6-a024-7557c6c16aab" providerId="ADAL" clId="{850367E2-D1DC-4F4F-AB68-F97A22BA04E8}" dt="2023-03-08T14:32:52.530" v="1401" actId="20577"/>
        <pc:sldMkLst>
          <pc:docMk/>
          <pc:sldMk cId="954897603" sldId="2134804504"/>
        </pc:sldMkLst>
        <pc:spChg chg="mod">
          <ac:chgData name="Alexis Pallain" userId="c36ed1c7-ded9-4db6-a024-7557c6c16aab" providerId="ADAL" clId="{850367E2-D1DC-4F4F-AB68-F97A22BA04E8}" dt="2023-03-08T14:32:17.662" v="1388" actId="6549"/>
          <ac:spMkLst>
            <pc:docMk/>
            <pc:sldMk cId="954897603" sldId="2134804504"/>
            <ac:spMk id="5" creationId="{A5AA973F-E48C-D839-23E9-DCF9CE8FB5C2}"/>
          </ac:spMkLst>
        </pc:spChg>
        <pc:graphicFrameChg chg="mod modGraphic">
          <ac:chgData name="Alexis Pallain" userId="c36ed1c7-ded9-4db6-a024-7557c6c16aab" providerId="ADAL" clId="{850367E2-D1DC-4F4F-AB68-F97A22BA04E8}" dt="2023-03-08T14:32:52.530" v="1401" actId="20577"/>
          <ac:graphicFrameMkLst>
            <pc:docMk/>
            <pc:sldMk cId="954897603" sldId="2134804504"/>
            <ac:graphicFrameMk id="4" creationId="{2743016F-07B1-B536-D98F-B6339E029F70}"/>
          </ac:graphicFrameMkLst>
        </pc:graphicFrameChg>
      </pc:sldChg>
      <pc:sldChg chg="modSp add mod">
        <pc:chgData name="Alexis Pallain" userId="c36ed1c7-ded9-4db6-a024-7557c6c16aab" providerId="ADAL" clId="{850367E2-D1DC-4F4F-AB68-F97A22BA04E8}" dt="2023-03-08T14:24:00.709" v="1379" actId="20577"/>
        <pc:sldMkLst>
          <pc:docMk/>
          <pc:sldMk cId="1736574082" sldId="2134804508"/>
        </pc:sldMkLst>
        <pc:spChg chg="mod">
          <ac:chgData name="Alexis Pallain" userId="c36ed1c7-ded9-4db6-a024-7557c6c16aab" providerId="ADAL" clId="{850367E2-D1DC-4F4F-AB68-F97A22BA04E8}" dt="2023-03-08T09:00:51.378" v="789" actId="20577"/>
          <ac:spMkLst>
            <pc:docMk/>
            <pc:sldMk cId="1736574082" sldId="2134804508"/>
            <ac:spMk id="5" creationId="{A5AA973F-E48C-D839-23E9-DCF9CE8FB5C2}"/>
          </ac:spMkLst>
        </pc:spChg>
        <pc:spChg chg="mod">
          <ac:chgData name="Alexis Pallain" userId="c36ed1c7-ded9-4db6-a024-7557c6c16aab" providerId="ADAL" clId="{850367E2-D1DC-4F4F-AB68-F97A22BA04E8}" dt="2023-03-08T14:24:00.709" v="1379" actId="20577"/>
          <ac:spMkLst>
            <pc:docMk/>
            <pc:sldMk cId="1736574082" sldId="2134804508"/>
            <ac:spMk id="7" creationId="{2D7EFEB5-E0F1-FAC8-9899-9C74B495810D}"/>
          </ac:spMkLst>
        </pc:spChg>
      </pc:sldChg>
      <pc:sldChg chg="add">
        <pc:chgData name="Alexis Pallain" userId="c36ed1c7-ded9-4db6-a024-7557c6c16aab" providerId="ADAL" clId="{850367E2-D1DC-4F4F-AB68-F97A22BA04E8}" dt="2023-03-07T17:26:16.737" v="609"/>
        <pc:sldMkLst>
          <pc:docMk/>
          <pc:sldMk cId="3726248283" sldId="2134804516"/>
        </pc:sldMkLst>
      </pc:sldChg>
      <pc:sldChg chg="add">
        <pc:chgData name="Alexis Pallain" userId="c36ed1c7-ded9-4db6-a024-7557c6c16aab" providerId="ADAL" clId="{850367E2-D1DC-4F4F-AB68-F97A22BA04E8}" dt="2023-03-08T08:58:26.707" v="779"/>
        <pc:sldMkLst>
          <pc:docMk/>
          <pc:sldMk cId="415415669" sldId="2134804517"/>
        </pc:sldMkLst>
      </pc:sldChg>
      <pc:sldChg chg="addSp delSp modSp add del mod ord">
        <pc:chgData name="Alexis Pallain" userId="c36ed1c7-ded9-4db6-a024-7557c6c16aab" providerId="ADAL" clId="{850367E2-D1DC-4F4F-AB68-F97A22BA04E8}" dt="2023-03-23T15:04:01.680" v="1437"/>
        <pc:sldMkLst>
          <pc:docMk/>
          <pc:sldMk cId="2653008997" sldId="2134804521"/>
        </pc:sldMkLst>
        <pc:spChg chg="add del mod">
          <ac:chgData name="Alexis Pallain" userId="c36ed1c7-ded9-4db6-a024-7557c6c16aab" providerId="ADAL" clId="{850367E2-D1DC-4F4F-AB68-F97A22BA04E8}" dt="2023-03-23T15:03:39.407" v="1433"/>
          <ac:spMkLst>
            <pc:docMk/>
            <pc:sldMk cId="2653008997" sldId="2134804521"/>
            <ac:spMk id="2" creationId="{A69CA2B4-D2AA-D7D4-6006-0D350ADCBC88}"/>
          </ac:spMkLst>
        </pc:spChg>
        <pc:spChg chg="add del mod">
          <ac:chgData name="Alexis Pallain" userId="c36ed1c7-ded9-4db6-a024-7557c6c16aab" providerId="ADAL" clId="{850367E2-D1DC-4F4F-AB68-F97A22BA04E8}" dt="2023-03-23T15:03:39.407" v="1433"/>
          <ac:spMkLst>
            <pc:docMk/>
            <pc:sldMk cId="2653008997" sldId="2134804521"/>
            <ac:spMk id="3" creationId="{D4D28F1B-B5D2-233D-16FF-9894B18218AB}"/>
          </ac:spMkLst>
        </pc:spChg>
        <pc:spChg chg="add del mod">
          <ac:chgData name="Alexis Pallain" userId="c36ed1c7-ded9-4db6-a024-7557c6c16aab" providerId="ADAL" clId="{850367E2-D1DC-4F4F-AB68-F97A22BA04E8}" dt="2023-03-23T15:03:39.407" v="1433"/>
          <ac:spMkLst>
            <pc:docMk/>
            <pc:sldMk cId="2653008997" sldId="2134804521"/>
            <ac:spMk id="6" creationId="{1E274A83-259B-706E-29A3-B854EF11F6ED}"/>
          </ac:spMkLst>
        </pc:spChg>
        <pc:spChg chg="add del mod">
          <ac:chgData name="Alexis Pallain" userId="c36ed1c7-ded9-4db6-a024-7557c6c16aab" providerId="ADAL" clId="{850367E2-D1DC-4F4F-AB68-F97A22BA04E8}" dt="2023-03-23T15:03:39.407" v="1433"/>
          <ac:spMkLst>
            <pc:docMk/>
            <pc:sldMk cId="2653008997" sldId="2134804521"/>
            <ac:spMk id="12" creationId="{B8E3C3A5-6BF9-2323-456B-A2AF8FEF4E62}"/>
          </ac:spMkLst>
        </pc:spChg>
        <pc:spChg chg="add del mod">
          <ac:chgData name="Alexis Pallain" userId="c36ed1c7-ded9-4db6-a024-7557c6c16aab" providerId="ADAL" clId="{850367E2-D1DC-4F4F-AB68-F97A22BA04E8}" dt="2023-03-23T15:03:39.407" v="1433"/>
          <ac:spMkLst>
            <pc:docMk/>
            <pc:sldMk cId="2653008997" sldId="2134804521"/>
            <ac:spMk id="18" creationId="{4384DA72-E4C3-798C-4F1A-0C194CD1CEAC}"/>
          </ac:spMkLst>
        </pc:spChg>
        <pc:spChg chg="add del mod">
          <ac:chgData name="Alexis Pallain" userId="c36ed1c7-ded9-4db6-a024-7557c6c16aab" providerId="ADAL" clId="{850367E2-D1DC-4F4F-AB68-F97A22BA04E8}" dt="2023-03-23T15:03:39.407" v="1433"/>
          <ac:spMkLst>
            <pc:docMk/>
            <pc:sldMk cId="2653008997" sldId="2134804521"/>
            <ac:spMk id="19" creationId="{21E1BAEB-E63A-BD23-DDED-F6DA0340DDC0}"/>
          </ac:spMkLst>
        </pc:spChg>
        <pc:spChg chg="add del mod">
          <ac:chgData name="Alexis Pallain" userId="c36ed1c7-ded9-4db6-a024-7557c6c16aab" providerId="ADAL" clId="{850367E2-D1DC-4F4F-AB68-F97A22BA04E8}" dt="2023-03-23T15:04:01.680" v="1437"/>
          <ac:spMkLst>
            <pc:docMk/>
            <pc:sldMk cId="2653008997" sldId="2134804521"/>
            <ac:spMk id="20" creationId="{8741EB83-CA25-005E-E04F-B74B3B0B5126}"/>
          </ac:spMkLst>
        </pc:spChg>
        <pc:spChg chg="add del mod">
          <ac:chgData name="Alexis Pallain" userId="c36ed1c7-ded9-4db6-a024-7557c6c16aab" providerId="ADAL" clId="{850367E2-D1DC-4F4F-AB68-F97A22BA04E8}" dt="2023-03-23T15:04:01.680" v="1437"/>
          <ac:spMkLst>
            <pc:docMk/>
            <pc:sldMk cId="2653008997" sldId="2134804521"/>
            <ac:spMk id="23" creationId="{4E4F80D9-FD8E-000B-76E8-E60C3455514E}"/>
          </ac:spMkLst>
        </pc:spChg>
        <pc:spChg chg="add del mod">
          <ac:chgData name="Alexis Pallain" userId="c36ed1c7-ded9-4db6-a024-7557c6c16aab" providerId="ADAL" clId="{850367E2-D1DC-4F4F-AB68-F97A22BA04E8}" dt="2023-03-23T15:04:01.680" v="1437"/>
          <ac:spMkLst>
            <pc:docMk/>
            <pc:sldMk cId="2653008997" sldId="2134804521"/>
            <ac:spMk id="25" creationId="{C2D98755-C22A-6D89-8FAE-D86F8B3B4172}"/>
          </ac:spMkLst>
        </pc:spChg>
        <pc:spChg chg="add del mod">
          <ac:chgData name="Alexis Pallain" userId="c36ed1c7-ded9-4db6-a024-7557c6c16aab" providerId="ADAL" clId="{850367E2-D1DC-4F4F-AB68-F97A22BA04E8}" dt="2023-03-23T15:04:01.680" v="1437"/>
          <ac:spMkLst>
            <pc:docMk/>
            <pc:sldMk cId="2653008997" sldId="2134804521"/>
            <ac:spMk id="26" creationId="{8EB1BB0D-8CA6-DBFC-2E47-FD7DC9F1014C}"/>
          </ac:spMkLst>
        </pc:spChg>
        <pc:spChg chg="add del mod">
          <ac:chgData name="Alexis Pallain" userId="c36ed1c7-ded9-4db6-a024-7557c6c16aab" providerId="ADAL" clId="{850367E2-D1DC-4F4F-AB68-F97A22BA04E8}" dt="2023-03-23T15:04:01.680" v="1437"/>
          <ac:spMkLst>
            <pc:docMk/>
            <pc:sldMk cId="2653008997" sldId="2134804521"/>
            <ac:spMk id="27" creationId="{CD572285-FE79-7657-88CE-439C31F2C739}"/>
          </ac:spMkLst>
        </pc:spChg>
        <pc:spChg chg="add del mod">
          <ac:chgData name="Alexis Pallain" userId="c36ed1c7-ded9-4db6-a024-7557c6c16aab" providerId="ADAL" clId="{850367E2-D1DC-4F4F-AB68-F97A22BA04E8}" dt="2023-03-23T15:04:01.680" v="1437"/>
          <ac:spMkLst>
            <pc:docMk/>
            <pc:sldMk cId="2653008997" sldId="2134804521"/>
            <ac:spMk id="28" creationId="{6221042A-7A21-4E6B-078B-A68AA1444C75}"/>
          </ac:spMkLst>
        </pc:spChg>
        <pc:spChg chg="mod">
          <ac:chgData name="Alexis Pallain" userId="c36ed1c7-ded9-4db6-a024-7557c6c16aab" providerId="ADAL" clId="{850367E2-D1DC-4F4F-AB68-F97A22BA04E8}" dt="2023-03-08T13:56:05.314" v="1209" actId="20577"/>
          <ac:spMkLst>
            <pc:docMk/>
            <pc:sldMk cId="2653008997" sldId="2134804521"/>
            <ac:spMk id="29" creationId="{D94D551C-8BEC-0F0D-DF59-8B144760F0CF}"/>
          </ac:spMkLst>
        </pc:spChg>
      </pc:sldChg>
      <pc:sldChg chg="addSp delSp modSp add mod ord delAnim">
        <pc:chgData name="Alexis Pallain" userId="c36ed1c7-ded9-4db6-a024-7557c6c16aab" providerId="ADAL" clId="{850367E2-D1DC-4F4F-AB68-F97A22BA04E8}" dt="2023-03-08T08:47:00.997" v="689" actId="167"/>
        <pc:sldMkLst>
          <pc:docMk/>
          <pc:sldMk cId="1617946034" sldId="2134804522"/>
        </pc:sldMkLst>
        <pc:spChg chg="add mod">
          <ac:chgData name="Alexis Pallain" userId="c36ed1c7-ded9-4db6-a024-7557c6c16aab" providerId="ADAL" clId="{850367E2-D1DC-4F4F-AB68-F97A22BA04E8}" dt="2023-03-08T08:31:18.074" v="643" actId="207"/>
          <ac:spMkLst>
            <pc:docMk/>
            <pc:sldMk cId="1617946034" sldId="2134804522"/>
            <ac:spMk id="2" creationId="{F60EE347-BF40-56A8-BEBC-1CFA6C3B57D4}"/>
          </ac:spMkLst>
        </pc:spChg>
        <pc:spChg chg="mod">
          <ac:chgData name="Alexis Pallain" userId="c36ed1c7-ded9-4db6-a024-7557c6c16aab" providerId="ADAL" clId="{850367E2-D1DC-4F4F-AB68-F97A22BA04E8}" dt="2023-03-08T08:46:49.394" v="687" actId="14100"/>
          <ac:spMkLst>
            <pc:docMk/>
            <pc:sldMk cId="1617946034" sldId="2134804522"/>
            <ac:spMk id="4" creationId="{B180EFE7-5C20-95BF-843E-5D527EB07D46}"/>
          </ac:spMkLst>
        </pc:spChg>
        <pc:spChg chg="mod">
          <ac:chgData name="Alexis Pallain" userId="c36ed1c7-ded9-4db6-a024-7557c6c16aab" providerId="ADAL" clId="{850367E2-D1DC-4F4F-AB68-F97A22BA04E8}" dt="2023-03-08T08:46:20.782" v="667" actId="20577"/>
          <ac:spMkLst>
            <pc:docMk/>
            <pc:sldMk cId="1617946034" sldId="2134804522"/>
            <ac:spMk id="6" creationId="{CE0E7405-D9BB-AB31-D1C6-ECD19516FFB1}"/>
          </ac:spMkLst>
        </pc:spChg>
        <pc:spChg chg="add mod">
          <ac:chgData name="Alexis Pallain" userId="c36ed1c7-ded9-4db6-a024-7557c6c16aab" providerId="ADAL" clId="{850367E2-D1DC-4F4F-AB68-F97A22BA04E8}" dt="2023-03-08T08:31:39.619" v="645" actId="1076"/>
          <ac:spMkLst>
            <pc:docMk/>
            <pc:sldMk cId="1617946034" sldId="2134804522"/>
            <ac:spMk id="7" creationId="{709F2ACF-28E8-0389-F6DF-D7F72447FA2E}"/>
          </ac:spMkLst>
        </pc:spChg>
        <pc:spChg chg="mod">
          <ac:chgData name="Alexis Pallain" userId="c36ed1c7-ded9-4db6-a024-7557c6c16aab" providerId="ADAL" clId="{850367E2-D1DC-4F4F-AB68-F97A22BA04E8}" dt="2023-03-08T08:46:53.146" v="688" actId="14100"/>
          <ac:spMkLst>
            <pc:docMk/>
            <pc:sldMk cId="1617946034" sldId="2134804522"/>
            <ac:spMk id="9" creationId="{CE28FF44-9244-B466-1DCF-DDB1FE8172F6}"/>
          </ac:spMkLst>
        </pc:spChg>
        <pc:spChg chg="add mod">
          <ac:chgData name="Alexis Pallain" userId="c36ed1c7-ded9-4db6-a024-7557c6c16aab" providerId="ADAL" clId="{850367E2-D1DC-4F4F-AB68-F97A22BA04E8}" dt="2023-03-08T08:45:46.122" v="658" actId="1076"/>
          <ac:spMkLst>
            <pc:docMk/>
            <pc:sldMk cId="1617946034" sldId="2134804522"/>
            <ac:spMk id="10" creationId="{E6A408BC-274A-6671-E1B0-C7DC847B400F}"/>
          </ac:spMkLst>
        </pc:spChg>
        <pc:spChg chg="add mod">
          <ac:chgData name="Alexis Pallain" userId="c36ed1c7-ded9-4db6-a024-7557c6c16aab" providerId="ADAL" clId="{850367E2-D1DC-4F4F-AB68-F97A22BA04E8}" dt="2023-03-08T08:45:31.121" v="655" actId="20577"/>
          <ac:spMkLst>
            <pc:docMk/>
            <pc:sldMk cId="1617946034" sldId="2134804522"/>
            <ac:spMk id="11" creationId="{4A52C09B-D99B-51CE-4960-4FB0C8C6D6DE}"/>
          </ac:spMkLst>
        </pc:spChg>
        <pc:spChg chg="add mod">
          <ac:chgData name="Alexis Pallain" userId="c36ed1c7-ded9-4db6-a024-7557c6c16aab" providerId="ADAL" clId="{850367E2-D1DC-4F4F-AB68-F97A22BA04E8}" dt="2023-03-08T08:45:41.386" v="657" actId="1076"/>
          <ac:spMkLst>
            <pc:docMk/>
            <pc:sldMk cId="1617946034" sldId="2134804522"/>
            <ac:spMk id="12" creationId="{45A78D5E-FC20-E8B6-FCB6-4B2BFF7A46FE}"/>
          </ac:spMkLst>
        </pc:spChg>
        <pc:spChg chg="mod">
          <ac:chgData name="Alexis Pallain" userId="c36ed1c7-ded9-4db6-a024-7557c6c16aab" providerId="ADAL" clId="{850367E2-D1DC-4F4F-AB68-F97A22BA04E8}" dt="2023-03-08T08:30:38.076" v="622" actId="1076"/>
          <ac:spMkLst>
            <pc:docMk/>
            <pc:sldMk cId="1617946034" sldId="2134804522"/>
            <ac:spMk id="14" creationId="{5118A9D1-EC17-EF26-9087-F2E9C17240D1}"/>
          </ac:spMkLst>
        </pc:spChg>
        <pc:spChg chg="mod">
          <ac:chgData name="Alexis Pallain" userId="c36ed1c7-ded9-4db6-a024-7557c6c16aab" providerId="ADAL" clId="{850367E2-D1DC-4F4F-AB68-F97A22BA04E8}" dt="2023-03-08T08:46:35.130" v="685" actId="20577"/>
          <ac:spMkLst>
            <pc:docMk/>
            <pc:sldMk cId="1617946034" sldId="2134804522"/>
            <ac:spMk id="15" creationId="{50E88437-9BFC-AA72-3568-F53C51ECF082}"/>
          </ac:spMkLst>
        </pc:spChg>
        <pc:spChg chg="mod">
          <ac:chgData name="Alexis Pallain" userId="c36ed1c7-ded9-4db6-a024-7557c6c16aab" providerId="ADAL" clId="{850367E2-D1DC-4F4F-AB68-F97A22BA04E8}" dt="2023-03-08T08:46:44.057" v="686" actId="14100"/>
          <ac:spMkLst>
            <pc:docMk/>
            <pc:sldMk cId="1617946034" sldId="2134804522"/>
            <ac:spMk id="16" creationId="{6784977C-9A3F-6DA6-8139-23439978800F}"/>
          </ac:spMkLst>
        </pc:spChg>
        <pc:spChg chg="mod">
          <ac:chgData name="Alexis Pallain" userId="c36ed1c7-ded9-4db6-a024-7557c6c16aab" providerId="ADAL" clId="{850367E2-D1DC-4F4F-AB68-F97A22BA04E8}" dt="2023-03-08T08:30:38.076" v="622" actId="1076"/>
          <ac:spMkLst>
            <pc:docMk/>
            <pc:sldMk cId="1617946034" sldId="2134804522"/>
            <ac:spMk id="17" creationId="{E46923AE-02DD-8813-F430-EFE411DF116D}"/>
          </ac:spMkLst>
        </pc:spChg>
        <pc:spChg chg="mod">
          <ac:chgData name="Alexis Pallain" userId="c36ed1c7-ded9-4db6-a024-7557c6c16aab" providerId="ADAL" clId="{850367E2-D1DC-4F4F-AB68-F97A22BA04E8}" dt="2023-03-08T08:30:38.076" v="622" actId="1076"/>
          <ac:spMkLst>
            <pc:docMk/>
            <pc:sldMk cId="1617946034" sldId="2134804522"/>
            <ac:spMk id="18" creationId="{705C11A5-481C-9630-88FC-C1D7C835722D}"/>
          </ac:spMkLst>
        </pc:spChg>
        <pc:spChg chg="mod">
          <ac:chgData name="Alexis Pallain" userId="c36ed1c7-ded9-4db6-a024-7557c6c16aab" providerId="ADAL" clId="{850367E2-D1DC-4F4F-AB68-F97A22BA04E8}" dt="2023-03-08T08:30:38.076" v="622" actId="1076"/>
          <ac:spMkLst>
            <pc:docMk/>
            <pc:sldMk cId="1617946034" sldId="2134804522"/>
            <ac:spMk id="19" creationId="{C88BC604-58D7-59F1-FA33-BB94CF61AB55}"/>
          </ac:spMkLst>
        </pc:spChg>
        <pc:spChg chg="mod">
          <ac:chgData name="Alexis Pallain" userId="c36ed1c7-ded9-4db6-a024-7557c6c16aab" providerId="ADAL" clId="{850367E2-D1DC-4F4F-AB68-F97A22BA04E8}" dt="2023-03-08T08:30:38.076" v="622" actId="1076"/>
          <ac:spMkLst>
            <pc:docMk/>
            <pc:sldMk cId="1617946034" sldId="2134804522"/>
            <ac:spMk id="20" creationId="{E9D5EC9A-B740-A646-6269-F11DBA169316}"/>
          </ac:spMkLst>
        </pc:spChg>
        <pc:spChg chg="mod">
          <ac:chgData name="Alexis Pallain" userId="c36ed1c7-ded9-4db6-a024-7557c6c16aab" providerId="ADAL" clId="{850367E2-D1DC-4F4F-AB68-F97A22BA04E8}" dt="2023-03-08T08:30:38.076" v="622" actId="1076"/>
          <ac:spMkLst>
            <pc:docMk/>
            <pc:sldMk cId="1617946034" sldId="2134804522"/>
            <ac:spMk id="21" creationId="{A8E99B32-E46A-8C2D-4FE5-EC6FF5D46B0F}"/>
          </ac:spMkLst>
        </pc:spChg>
        <pc:spChg chg="mod">
          <ac:chgData name="Alexis Pallain" userId="c36ed1c7-ded9-4db6-a024-7557c6c16aab" providerId="ADAL" clId="{850367E2-D1DC-4F4F-AB68-F97A22BA04E8}" dt="2023-03-08T08:30:38.076" v="622" actId="1076"/>
          <ac:spMkLst>
            <pc:docMk/>
            <pc:sldMk cId="1617946034" sldId="2134804522"/>
            <ac:spMk id="22" creationId="{E40A5652-7C90-7CF4-64C6-54D1460FFAB1}"/>
          </ac:spMkLst>
        </pc:spChg>
        <pc:spChg chg="mod">
          <ac:chgData name="Alexis Pallain" userId="c36ed1c7-ded9-4db6-a024-7557c6c16aab" providerId="ADAL" clId="{850367E2-D1DC-4F4F-AB68-F97A22BA04E8}" dt="2023-03-08T08:30:38.076" v="622" actId="1076"/>
          <ac:spMkLst>
            <pc:docMk/>
            <pc:sldMk cId="1617946034" sldId="2134804522"/>
            <ac:spMk id="23" creationId="{50A2BBC1-6801-0B24-8ABF-FCC19C4157B1}"/>
          </ac:spMkLst>
        </pc:spChg>
        <pc:spChg chg="mod">
          <ac:chgData name="Alexis Pallain" userId="c36ed1c7-ded9-4db6-a024-7557c6c16aab" providerId="ADAL" clId="{850367E2-D1DC-4F4F-AB68-F97A22BA04E8}" dt="2023-03-08T08:30:38.076" v="622" actId="1076"/>
          <ac:spMkLst>
            <pc:docMk/>
            <pc:sldMk cId="1617946034" sldId="2134804522"/>
            <ac:spMk id="24" creationId="{A8866418-A261-F92A-D66E-707FD2FC88F2}"/>
          </ac:spMkLst>
        </pc:spChg>
        <pc:spChg chg="mod">
          <ac:chgData name="Alexis Pallain" userId="c36ed1c7-ded9-4db6-a024-7557c6c16aab" providerId="ADAL" clId="{850367E2-D1DC-4F4F-AB68-F97A22BA04E8}" dt="2023-03-08T08:30:38.076" v="622" actId="1076"/>
          <ac:spMkLst>
            <pc:docMk/>
            <pc:sldMk cId="1617946034" sldId="2134804522"/>
            <ac:spMk id="25" creationId="{2A80CD16-6DEE-8F1E-3C7D-A96180B68975}"/>
          </ac:spMkLst>
        </pc:spChg>
        <pc:spChg chg="mod">
          <ac:chgData name="Alexis Pallain" userId="c36ed1c7-ded9-4db6-a024-7557c6c16aab" providerId="ADAL" clId="{850367E2-D1DC-4F4F-AB68-F97A22BA04E8}" dt="2023-03-08T08:30:38.076" v="622" actId="1076"/>
          <ac:spMkLst>
            <pc:docMk/>
            <pc:sldMk cId="1617946034" sldId="2134804522"/>
            <ac:spMk id="26" creationId="{32A7A652-ECA3-103D-8968-B5B1F145DA1A}"/>
          </ac:spMkLst>
        </pc:spChg>
        <pc:spChg chg="mod">
          <ac:chgData name="Alexis Pallain" userId="c36ed1c7-ded9-4db6-a024-7557c6c16aab" providerId="ADAL" clId="{850367E2-D1DC-4F4F-AB68-F97A22BA04E8}" dt="2023-03-08T08:30:38.076" v="622" actId="1076"/>
          <ac:spMkLst>
            <pc:docMk/>
            <pc:sldMk cId="1617946034" sldId="2134804522"/>
            <ac:spMk id="27" creationId="{E7D6269F-0A8B-BAEA-F582-8A31611D5730}"/>
          </ac:spMkLst>
        </pc:spChg>
        <pc:spChg chg="mod">
          <ac:chgData name="Alexis Pallain" userId="c36ed1c7-ded9-4db6-a024-7557c6c16aab" providerId="ADAL" clId="{850367E2-D1DC-4F4F-AB68-F97A22BA04E8}" dt="2023-03-08T08:30:38.076" v="622" actId="1076"/>
          <ac:spMkLst>
            <pc:docMk/>
            <pc:sldMk cId="1617946034" sldId="2134804522"/>
            <ac:spMk id="33" creationId="{D0AB5460-4A51-5B1F-5907-CC9FEC10768C}"/>
          </ac:spMkLst>
        </pc:spChg>
        <pc:spChg chg="mod">
          <ac:chgData name="Alexis Pallain" userId="c36ed1c7-ded9-4db6-a024-7557c6c16aab" providerId="ADAL" clId="{850367E2-D1DC-4F4F-AB68-F97A22BA04E8}" dt="2023-03-08T08:30:38.076" v="622" actId="1076"/>
          <ac:spMkLst>
            <pc:docMk/>
            <pc:sldMk cId="1617946034" sldId="2134804522"/>
            <ac:spMk id="34" creationId="{014BDAC6-3C81-5B8B-8CAA-6EEB5FA68EEB}"/>
          </ac:spMkLst>
        </pc:spChg>
        <pc:spChg chg="mod">
          <ac:chgData name="Alexis Pallain" userId="c36ed1c7-ded9-4db6-a024-7557c6c16aab" providerId="ADAL" clId="{850367E2-D1DC-4F4F-AB68-F97A22BA04E8}" dt="2023-03-08T08:30:38.076" v="622" actId="1076"/>
          <ac:spMkLst>
            <pc:docMk/>
            <pc:sldMk cId="1617946034" sldId="2134804522"/>
            <ac:spMk id="35" creationId="{C0AF8D3F-03A4-C31A-2130-CC2C87BE146E}"/>
          </ac:spMkLst>
        </pc:spChg>
        <pc:spChg chg="mod">
          <ac:chgData name="Alexis Pallain" userId="c36ed1c7-ded9-4db6-a024-7557c6c16aab" providerId="ADAL" clId="{850367E2-D1DC-4F4F-AB68-F97A22BA04E8}" dt="2023-03-08T08:30:38.076" v="622" actId="1076"/>
          <ac:spMkLst>
            <pc:docMk/>
            <pc:sldMk cId="1617946034" sldId="2134804522"/>
            <ac:spMk id="36" creationId="{08F70404-9D2A-CA63-0B4B-CE475FD04D90}"/>
          </ac:spMkLst>
        </pc:spChg>
        <pc:spChg chg="del">
          <ac:chgData name="Alexis Pallain" userId="c36ed1c7-ded9-4db6-a024-7557c6c16aab" providerId="ADAL" clId="{850367E2-D1DC-4F4F-AB68-F97A22BA04E8}" dt="2023-03-08T08:30:22.769" v="620" actId="478"/>
          <ac:spMkLst>
            <pc:docMk/>
            <pc:sldMk cId="1617946034" sldId="2134804522"/>
            <ac:spMk id="37" creationId="{6289ED44-1E1E-AE34-EC7F-1CA5F03089DF}"/>
          </ac:spMkLst>
        </pc:spChg>
        <pc:spChg chg="del">
          <ac:chgData name="Alexis Pallain" userId="c36ed1c7-ded9-4db6-a024-7557c6c16aab" providerId="ADAL" clId="{850367E2-D1DC-4F4F-AB68-F97A22BA04E8}" dt="2023-03-08T08:30:22.769" v="620" actId="478"/>
          <ac:spMkLst>
            <pc:docMk/>
            <pc:sldMk cId="1617946034" sldId="2134804522"/>
            <ac:spMk id="38" creationId="{10C349BB-5664-B350-7633-FD276E5AE4ED}"/>
          </ac:spMkLst>
        </pc:spChg>
        <pc:spChg chg="del">
          <ac:chgData name="Alexis Pallain" userId="c36ed1c7-ded9-4db6-a024-7557c6c16aab" providerId="ADAL" clId="{850367E2-D1DC-4F4F-AB68-F97A22BA04E8}" dt="2023-03-08T08:30:22.769" v="620" actId="478"/>
          <ac:spMkLst>
            <pc:docMk/>
            <pc:sldMk cId="1617946034" sldId="2134804522"/>
            <ac:spMk id="39" creationId="{B6F6C93C-6181-F985-27FC-E91AD4F74C3F}"/>
          </ac:spMkLst>
        </pc:spChg>
        <pc:spChg chg="mod">
          <ac:chgData name="Alexis Pallain" userId="c36ed1c7-ded9-4db6-a024-7557c6c16aab" providerId="ADAL" clId="{850367E2-D1DC-4F4F-AB68-F97A22BA04E8}" dt="2023-03-08T08:30:38.076" v="622" actId="1076"/>
          <ac:spMkLst>
            <pc:docMk/>
            <pc:sldMk cId="1617946034" sldId="2134804522"/>
            <ac:spMk id="40" creationId="{9FA8B47F-79A2-9687-02CF-8CAD073E1F06}"/>
          </ac:spMkLst>
        </pc:spChg>
        <pc:spChg chg="mod">
          <ac:chgData name="Alexis Pallain" userId="c36ed1c7-ded9-4db6-a024-7557c6c16aab" providerId="ADAL" clId="{850367E2-D1DC-4F4F-AB68-F97A22BA04E8}" dt="2023-03-08T08:30:38.076" v="622" actId="1076"/>
          <ac:spMkLst>
            <pc:docMk/>
            <pc:sldMk cId="1617946034" sldId="2134804522"/>
            <ac:spMk id="58" creationId="{219A5510-6FA0-5EE7-BAC4-B0CEB823308E}"/>
          </ac:spMkLst>
        </pc:spChg>
        <pc:graphicFrameChg chg="mod">
          <ac:chgData name="Alexis Pallain" userId="c36ed1c7-ded9-4db6-a024-7557c6c16aab" providerId="ADAL" clId="{850367E2-D1DC-4F4F-AB68-F97A22BA04E8}" dt="2023-03-08T08:47:00.997" v="689" actId="167"/>
          <ac:graphicFrameMkLst>
            <pc:docMk/>
            <pc:sldMk cId="1617946034" sldId="2134804522"/>
            <ac:graphicFrameMk id="8" creationId="{B999CBD0-19D0-3658-28E2-BBA06D8F8BD6}"/>
          </ac:graphicFrameMkLst>
        </pc:graphicFrameChg>
      </pc:sldChg>
      <pc:sldChg chg="add mod modShow">
        <pc:chgData name="Alexis Pallain" userId="c36ed1c7-ded9-4db6-a024-7557c6c16aab" providerId="ADAL" clId="{850367E2-D1DC-4F4F-AB68-F97A22BA04E8}" dt="2023-03-08T14:19:01.599" v="1353" actId="729"/>
        <pc:sldMkLst>
          <pc:docMk/>
          <pc:sldMk cId="2419785585" sldId="2134804524"/>
        </pc:sldMkLst>
      </pc:sldChg>
      <pc:sldChg chg="del">
        <pc:chgData name="Alexis Pallain" userId="c36ed1c7-ded9-4db6-a024-7557c6c16aab" providerId="ADAL" clId="{850367E2-D1DC-4F4F-AB68-F97A22BA04E8}" dt="2023-03-07T16:03:56.368" v="66" actId="47"/>
        <pc:sldMkLst>
          <pc:docMk/>
          <pc:sldMk cId="3244775396" sldId="2142535161"/>
        </pc:sldMkLst>
      </pc:sldChg>
      <pc:sldChg chg="del">
        <pc:chgData name="Alexis Pallain" userId="c36ed1c7-ded9-4db6-a024-7557c6c16aab" providerId="ADAL" clId="{850367E2-D1DC-4F4F-AB68-F97A22BA04E8}" dt="2023-03-08T09:00:01.642" v="783" actId="47"/>
        <pc:sldMkLst>
          <pc:docMk/>
          <pc:sldMk cId="297293272" sldId="2142535330"/>
        </pc:sldMkLst>
      </pc:sldChg>
      <pc:sldChg chg="modSp mod">
        <pc:chgData name="Alexis Pallain" userId="c36ed1c7-ded9-4db6-a024-7557c6c16aab" providerId="ADAL" clId="{850367E2-D1DC-4F4F-AB68-F97A22BA04E8}" dt="2023-03-08T09:35:34.639" v="1201" actId="20577"/>
        <pc:sldMkLst>
          <pc:docMk/>
          <pc:sldMk cId="3599469885" sldId="2142535332"/>
        </pc:sldMkLst>
        <pc:spChg chg="mod">
          <ac:chgData name="Alexis Pallain" userId="c36ed1c7-ded9-4db6-a024-7557c6c16aab" providerId="ADAL" clId="{850367E2-D1DC-4F4F-AB68-F97A22BA04E8}" dt="2023-03-08T09:35:34.639" v="1201" actId="20577"/>
          <ac:spMkLst>
            <pc:docMk/>
            <pc:sldMk cId="3599469885" sldId="2142535332"/>
            <ac:spMk id="9" creationId="{4A46C37D-4637-46E0-99BE-2B6B42CE6ED0}"/>
          </ac:spMkLst>
        </pc:spChg>
      </pc:sldChg>
      <pc:sldChg chg="del">
        <pc:chgData name="Alexis Pallain" userId="c36ed1c7-ded9-4db6-a024-7557c6c16aab" providerId="ADAL" clId="{850367E2-D1DC-4F4F-AB68-F97A22BA04E8}" dt="2023-03-08T09:00:15.653" v="785" actId="47"/>
        <pc:sldMkLst>
          <pc:docMk/>
          <pc:sldMk cId="194179214" sldId="2142535334"/>
        </pc:sldMkLst>
      </pc:sldChg>
      <pc:sldChg chg="addSp delSp modSp add mod">
        <pc:chgData name="Alexis Pallain" userId="c36ed1c7-ded9-4db6-a024-7557c6c16aab" providerId="ADAL" clId="{850367E2-D1DC-4F4F-AB68-F97A22BA04E8}" dt="2023-03-23T15:10:22.359" v="1438" actId="1076"/>
        <pc:sldMkLst>
          <pc:docMk/>
          <pc:sldMk cId="1582988379" sldId="2142535337"/>
        </pc:sldMkLst>
        <pc:spChg chg="mod">
          <ac:chgData name="Alexis Pallain" userId="c36ed1c7-ded9-4db6-a024-7557c6c16aab" providerId="ADAL" clId="{850367E2-D1DC-4F4F-AB68-F97A22BA04E8}" dt="2023-03-08T09:21:33.067" v="914" actId="20577"/>
          <ac:spMkLst>
            <pc:docMk/>
            <pc:sldMk cId="1582988379" sldId="2142535337"/>
            <ac:spMk id="4" creationId="{9C8CAE2A-40DC-4989-B41B-45680FA4C03E}"/>
          </ac:spMkLst>
        </pc:spChg>
        <pc:spChg chg="del">
          <ac:chgData name="Alexis Pallain" userId="c36ed1c7-ded9-4db6-a024-7557c6c16aab" providerId="ADAL" clId="{850367E2-D1DC-4F4F-AB68-F97A22BA04E8}" dt="2023-03-08T09:24:51.901" v="958" actId="478"/>
          <ac:spMkLst>
            <pc:docMk/>
            <pc:sldMk cId="1582988379" sldId="2142535337"/>
            <ac:spMk id="5" creationId="{5F8C0290-766E-04F5-A887-9060A629C93F}"/>
          </ac:spMkLst>
        </pc:spChg>
        <pc:spChg chg="add del mod">
          <ac:chgData name="Alexis Pallain" userId="c36ed1c7-ded9-4db6-a024-7557c6c16aab" providerId="ADAL" clId="{850367E2-D1DC-4F4F-AB68-F97A22BA04E8}" dt="2023-03-08T09:24:10.742" v="940"/>
          <ac:spMkLst>
            <pc:docMk/>
            <pc:sldMk cId="1582988379" sldId="2142535337"/>
            <ac:spMk id="6" creationId="{EE2D6497-6D0C-E1CC-1580-C76E548B0DD8}"/>
          </ac:spMkLst>
        </pc:spChg>
        <pc:spChg chg="add mod">
          <ac:chgData name="Alexis Pallain" userId="c36ed1c7-ded9-4db6-a024-7557c6c16aab" providerId="ADAL" clId="{850367E2-D1DC-4F4F-AB68-F97A22BA04E8}" dt="2023-03-08T09:26:06.979" v="1012" actId="20577"/>
          <ac:spMkLst>
            <pc:docMk/>
            <pc:sldMk cId="1582988379" sldId="2142535337"/>
            <ac:spMk id="8" creationId="{D367C879-941A-2C20-EDE2-B4E89D951078}"/>
          </ac:spMkLst>
        </pc:spChg>
        <pc:spChg chg="mod">
          <ac:chgData name="Alexis Pallain" userId="c36ed1c7-ded9-4db6-a024-7557c6c16aab" providerId="ADAL" clId="{850367E2-D1DC-4F4F-AB68-F97A22BA04E8}" dt="2023-03-23T15:10:22.359" v="1438" actId="1076"/>
          <ac:spMkLst>
            <pc:docMk/>
            <pc:sldMk cId="1582988379" sldId="2142535337"/>
            <ac:spMk id="274" creationId="{2EAD7A65-D501-B286-EC28-8C78DD489531}"/>
          </ac:spMkLst>
        </pc:spChg>
        <pc:spChg chg="del">
          <ac:chgData name="Alexis Pallain" userId="c36ed1c7-ded9-4db6-a024-7557c6c16aab" providerId="ADAL" clId="{850367E2-D1DC-4F4F-AB68-F97A22BA04E8}" dt="2023-03-08T09:23:50.820" v="934" actId="478"/>
          <ac:spMkLst>
            <pc:docMk/>
            <pc:sldMk cId="1582988379" sldId="2142535337"/>
            <ac:spMk id="276" creationId="{9E5A1D83-3604-CE7C-6517-0CD63935BD45}"/>
          </ac:spMkLst>
        </pc:spChg>
        <pc:spChg chg="mod">
          <ac:chgData name="Alexis Pallain" userId="c36ed1c7-ded9-4db6-a024-7557c6c16aab" providerId="ADAL" clId="{850367E2-D1DC-4F4F-AB68-F97A22BA04E8}" dt="2023-03-08T09:26:23.035" v="1013" actId="1076"/>
          <ac:spMkLst>
            <pc:docMk/>
            <pc:sldMk cId="1582988379" sldId="2142535337"/>
            <ac:spMk id="277" creationId="{7BABA0F3-0DAE-750F-0FBD-157C36982421}"/>
          </ac:spMkLst>
        </pc:spChg>
        <pc:picChg chg="mod">
          <ac:chgData name="Alexis Pallain" userId="c36ed1c7-ded9-4db6-a024-7557c6c16aab" providerId="ADAL" clId="{850367E2-D1DC-4F4F-AB68-F97A22BA04E8}" dt="2023-03-23T15:10:22.359" v="1438" actId="1076"/>
          <ac:picMkLst>
            <pc:docMk/>
            <pc:sldMk cId="1582988379" sldId="2142535337"/>
            <ac:picMk id="7" creationId="{C10481A6-E1AB-8D25-6CB5-F09426AA915F}"/>
          </ac:picMkLst>
        </pc:picChg>
        <pc:picChg chg="mod">
          <ac:chgData name="Alexis Pallain" userId="c36ed1c7-ded9-4db6-a024-7557c6c16aab" providerId="ADAL" clId="{850367E2-D1DC-4F4F-AB68-F97A22BA04E8}" dt="2023-03-23T15:10:22.359" v="1438" actId="1076"/>
          <ac:picMkLst>
            <pc:docMk/>
            <pc:sldMk cId="1582988379" sldId="2142535337"/>
            <ac:picMk id="9" creationId="{0F80671D-3194-62BD-F6BB-6F2BAF851F38}"/>
          </ac:picMkLst>
        </pc:picChg>
      </pc:sldChg>
      <pc:sldChg chg="modSp mod modShow">
        <pc:chgData name="Alexis Pallain" userId="c36ed1c7-ded9-4db6-a024-7557c6c16aab" providerId="ADAL" clId="{850367E2-D1DC-4F4F-AB68-F97A22BA04E8}" dt="2023-03-08T14:35:08.043" v="1402" actId="729"/>
        <pc:sldMkLst>
          <pc:docMk/>
          <pc:sldMk cId="2738228102" sldId="2142535342"/>
        </pc:sldMkLst>
        <pc:spChg chg="mod">
          <ac:chgData name="Alexis Pallain" userId="c36ed1c7-ded9-4db6-a024-7557c6c16aab" providerId="ADAL" clId="{850367E2-D1DC-4F4F-AB68-F97A22BA04E8}" dt="2023-03-08T09:26:34.947" v="1017" actId="6549"/>
          <ac:spMkLst>
            <pc:docMk/>
            <pc:sldMk cId="2738228102" sldId="2142535342"/>
            <ac:spMk id="4" creationId="{9C8CAE2A-40DC-4989-B41B-45680FA4C03E}"/>
          </ac:spMkLst>
        </pc:spChg>
      </pc:sldChg>
      <pc:sldChg chg="addSp delSp del mod">
        <pc:chgData name="Alexis Pallain" userId="c36ed1c7-ded9-4db6-a024-7557c6c16aab" providerId="ADAL" clId="{850367E2-D1DC-4F4F-AB68-F97A22BA04E8}" dt="2023-03-08T08:54:47.757" v="768" actId="47"/>
        <pc:sldMkLst>
          <pc:docMk/>
          <pc:sldMk cId="1682580931" sldId="2142535343"/>
        </pc:sldMkLst>
        <pc:spChg chg="add del">
          <ac:chgData name="Alexis Pallain" userId="c36ed1c7-ded9-4db6-a024-7557c6c16aab" providerId="ADAL" clId="{850367E2-D1DC-4F4F-AB68-F97A22BA04E8}" dt="2023-03-08T08:48:15.397" v="695" actId="22"/>
          <ac:spMkLst>
            <pc:docMk/>
            <pc:sldMk cId="1682580931" sldId="2142535343"/>
            <ac:spMk id="7" creationId="{74E83B16-B500-9833-D413-D37B0B219FEE}"/>
          </ac:spMkLst>
        </pc:spChg>
      </pc:sldChg>
      <pc:sldChg chg="del">
        <pc:chgData name="Alexis Pallain" userId="c36ed1c7-ded9-4db6-a024-7557c6c16aab" providerId="ADAL" clId="{850367E2-D1DC-4F4F-AB68-F97A22BA04E8}" dt="2023-03-07T16:03:56.368" v="66" actId="47"/>
        <pc:sldMkLst>
          <pc:docMk/>
          <pc:sldMk cId="3735699201" sldId="2142535345"/>
        </pc:sldMkLst>
      </pc:sldChg>
      <pc:sldChg chg="del">
        <pc:chgData name="Alexis Pallain" userId="c36ed1c7-ded9-4db6-a024-7557c6c16aab" providerId="ADAL" clId="{850367E2-D1DC-4F4F-AB68-F97A22BA04E8}" dt="2023-03-07T16:03:56.368" v="66" actId="47"/>
        <pc:sldMkLst>
          <pc:docMk/>
          <pc:sldMk cId="3813327258" sldId="2142535346"/>
        </pc:sldMkLst>
      </pc:sldChg>
      <pc:sldChg chg="add del">
        <pc:chgData name="Alexis Pallain" userId="c36ed1c7-ded9-4db6-a024-7557c6c16aab" providerId="ADAL" clId="{850367E2-D1DC-4F4F-AB68-F97A22BA04E8}" dt="2023-03-07T17:24:39.840" v="601" actId="47"/>
        <pc:sldMkLst>
          <pc:docMk/>
          <pc:sldMk cId="304038207" sldId="2142535350"/>
        </pc:sldMkLst>
      </pc:sldChg>
      <pc:sldChg chg="del">
        <pc:chgData name="Alexis Pallain" userId="c36ed1c7-ded9-4db6-a024-7557c6c16aab" providerId="ADAL" clId="{850367E2-D1DC-4F4F-AB68-F97A22BA04E8}" dt="2023-03-08T09:17:46.572" v="868" actId="47"/>
        <pc:sldMkLst>
          <pc:docMk/>
          <pc:sldMk cId="3888941112" sldId="2147378768"/>
        </pc:sldMkLst>
      </pc:sldChg>
      <pc:sldChg chg="del">
        <pc:chgData name="Alexis Pallain" userId="c36ed1c7-ded9-4db6-a024-7557c6c16aab" providerId="ADAL" clId="{850367E2-D1DC-4F4F-AB68-F97A22BA04E8}" dt="2023-03-08T09:00:01.642" v="783" actId="47"/>
        <pc:sldMkLst>
          <pc:docMk/>
          <pc:sldMk cId="336196226" sldId="2147378769"/>
        </pc:sldMkLst>
      </pc:sldChg>
      <pc:sldChg chg="del">
        <pc:chgData name="Alexis Pallain" userId="c36ed1c7-ded9-4db6-a024-7557c6c16aab" providerId="ADAL" clId="{850367E2-D1DC-4F4F-AB68-F97A22BA04E8}" dt="2023-03-08T09:31:18.868" v="1133" actId="47"/>
        <pc:sldMkLst>
          <pc:docMk/>
          <pc:sldMk cId="468800585" sldId="2147378772"/>
        </pc:sldMkLst>
      </pc:sldChg>
      <pc:sldChg chg="del">
        <pc:chgData name="Alexis Pallain" userId="c36ed1c7-ded9-4db6-a024-7557c6c16aab" providerId="ADAL" clId="{850367E2-D1DC-4F4F-AB68-F97A22BA04E8}" dt="2023-03-08T09:31:18.868" v="1133" actId="47"/>
        <pc:sldMkLst>
          <pc:docMk/>
          <pc:sldMk cId="1710038599" sldId="2147378773"/>
        </pc:sldMkLst>
      </pc:sldChg>
      <pc:sldChg chg="del">
        <pc:chgData name="Alexis Pallain" userId="c36ed1c7-ded9-4db6-a024-7557c6c16aab" providerId="ADAL" clId="{850367E2-D1DC-4F4F-AB68-F97A22BA04E8}" dt="2023-03-08T09:31:21.581" v="1134" actId="47"/>
        <pc:sldMkLst>
          <pc:docMk/>
          <pc:sldMk cId="907942248" sldId="2147378777"/>
        </pc:sldMkLst>
      </pc:sldChg>
      <pc:sldChg chg="mod modShow">
        <pc:chgData name="Alexis Pallain" userId="c36ed1c7-ded9-4db6-a024-7557c6c16aab" providerId="ADAL" clId="{850367E2-D1DC-4F4F-AB68-F97A22BA04E8}" dt="2023-03-08T09:33:56.108" v="1181" actId="729"/>
        <pc:sldMkLst>
          <pc:docMk/>
          <pc:sldMk cId="3213035211" sldId="2147378778"/>
        </pc:sldMkLst>
      </pc:sldChg>
      <pc:sldChg chg="add del">
        <pc:chgData name="Alexis Pallain" userId="c36ed1c7-ded9-4db6-a024-7557c6c16aab" providerId="ADAL" clId="{850367E2-D1DC-4F4F-AB68-F97A22BA04E8}" dt="2023-03-07T17:24:39.840" v="601" actId="47"/>
        <pc:sldMkLst>
          <pc:docMk/>
          <pc:sldMk cId="4184577618" sldId="2147378782"/>
        </pc:sldMkLst>
      </pc:sldChg>
      <pc:sldChg chg="add del">
        <pc:chgData name="Alexis Pallain" userId="c36ed1c7-ded9-4db6-a024-7557c6c16aab" providerId="ADAL" clId="{850367E2-D1DC-4F4F-AB68-F97A22BA04E8}" dt="2023-03-07T17:24:39.840" v="601" actId="47"/>
        <pc:sldMkLst>
          <pc:docMk/>
          <pc:sldMk cId="2829631340" sldId="2147378783"/>
        </pc:sldMkLst>
      </pc:sldChg>
      <pc:sldChg chg="add del">
        <pc:chgData name="Alexis Pallain" userId="c36ed1c7-ded9-4db6-a024-7557c6c16aab" providerId="ADAL" clId="{850367E2-D1DC-4F4F-AB68-F97A22BA04E8}" dt="2023-03-07T17:24:39.840" v="601" actId="47"/>
        <pc:sldMkLst>
          <pc:docMk/>
          <pc:sldMk cId="449300642" sldId="2147378784"/>
        </pc:sldMkLst>
      </pc:sldChg>
      <pc:sldChg chg="add del">
        <pc:chgData name="Alexis Pallain" userId="c36ed1c7-ded9-4db6-a024-7557c6c16aab" providerId="ADAL" clId="{850367E2-D1DC-4F4F-AB68-F97A22BA04E8}" dt="2023-03-07T17:25:00.291" v="603" actId="47"/>
        <pc:sldMkLst>
          <pc:docMk/>
          <pc:sldMk cId="2030835366" sldId="2147378785"/>
        </pc:sldMkLst>
      </pc:sldChg>
      <pc:sldChg chg="add del">
        <pc:chgData name="Alexis Pallain" userId="c36ed1c7-ded9-4db6-a024-7557c6c16aab" providerId="ADAL" clId="{850367E2-D1DC-4F4F-AB68-F97A22BA04E8}" dt="2023-03-07T17:25:08.635" v="604" actId="47"/>
        <pc:sldMkLst>
          <pc:docMk/>
          <pc:sldMk cId="4078003843" sldId="2147378786"/>
        </pc:sldMkLst>
      </pc:sldChg>
      <pc:sldChg chg="add del">
        <pc:chgData name="Alexis Pallain" userId="c36ed1c7-ded9-4db6-a024-7557c6c16aab" providerId="ADAL" clId="{850367E2-D1DC-4F4F-AB68-F97A22BA04E8}" dt="2023-03-07T17:25:08.635" v="604" actId="47"/>
        <pc:sldMkLst>
          <pc:docMk/>
          <pc:sldMk cId="1417933207" sldId="2147378787"/>
        </pc:sldMkLst>
      </pc:sldChg>
      <pc:sldChg chg="delSp modSp mod modShow">
        <pc:chgData name="Alexis Pallain" userId="c36ed1c7-ded9-4db6-a024-7557c6c16aab" providerId="ADAL" clId="{850367E2-D1DC-4F4F-AB68-F97A22BA04E8}" dt="2023-03-08T09:03:56.749" v="841" actId="729"/>
        <pc:sldMkLst>
          <pc:docMk/>
          <pc:sldMk cId="1780913622" sldId="2147378788"/>
        </pc:sldMkLst>
        <pc:spChg chg="del">
          <ac:chgData name="Alexis Pallain" userId="c36ed1c7-ded9-4db6-a024-7557c6c16aab" providerId="ADAL" clId="{850367E2-D1DC-4F4F-AB68-F97A22BA04E8}" dt="2023-03-07T17:29:45.319" v="616" actId="478"/>
          <ac:spMkLst>
            <pc:docMk/>
            <pc:sldMk cId="1780913622" sldId="2147378788"/>
            <ac:spMk id="3" creationId="{6D60AB06-AB8F-DE68-4670-DCF61EEB976B}"/>
          </ac:spMkLst>
        </pc:spChg>
        <pc:spChg chg="mod">
          <ac:chgData name="Alexis Pallain" userId="c36ed1c7-ded9-4db6-a024-7557c6c16aab" providerId="ADAL" clId="{850367E2-D1DC-4F4F-AB68-F97A22BA04E8}" dt="2023-03-08T09:00:11.025" v="784" actId="1076"/>
          <ac:spMkLst>
            <pc:docMk/>
            <pc:sldMk cId="1780913622" sldId="2147378788"/>
            <ac:spMk id="8" creationId="{1C7B8181-B70A-D07E-91A9-5FE2BA37A8BE}"/>
          </ac:spMkLst>
        </pc:spChg>
        <pc:cxnChg chg="mod">
          <ac:chgData name="Alexis Pallain" userId="c36ed1c7-ded9-4db6-a024-7557c6c16aab" providerId="ADAL" clId="{850367E2-D1DC-4F4F-AB68-F97A22BA04E8}" dt="2023-03-08T09:00:11.025" v="784" actId="1076"/>
          <ac:cxnSpMkLst>
            <pc:docMk/>
            <pc:sldMk cId="1780913622" sldId="2147378788"/>
            <ac:cxnSpMk id="7" creationId="{D191F31E-11E0-22C7-52C8-13945943FDD8}"/>
          </ac:cxnSpMkLst>
        </pc:cxnChg>
      </pc:sldChg>
      <pc:sldChg chg="addSp delSp modSp del mod">
        <pc:chgData name="Alexis Pallain" userId="c36ed1c7-ded9-4db6-a024-7557c6c16aab" providerId="ADAL" clId="{850367E2-D1DC-4F4F-AB68-F97A22BA04E8}" dt="2023-03-07T17:03:37.792" v="547" actId="47"/>
        <pc:sldMkLst>
          <pc:docMk/>
          <pc:sldMk cId="4131381941" sldId="2147378792"/>
        </pc:sldMkLst>
        <pc:spChg chg="del">
          <ac:chgData name="Alexis Pallain" userId="c36ed1c7-ded9-4db6-a024-7557c6c16aab" providerId="ADAL" clId="{850367E2-D1DC-4F4F-AB68-F97A22BA04E8}" dt="2023-03-07T16:37:39.306" v="429" actId="478"/>
          <ac:spMkLst>
            <pc:docMk/>
            <pc:sldMk cId="4131381941" sldId="2147378792"/>
            <ac:spMk id="3" creationId="{3B4BFFA1-20D2-B215-34F7-024ED083F067}"/>
          </ac:spMkLst>
        </pc:spChg>
        <pc:spChg chg="add del mod">
          <ac:chgData name="Alexis Pallain" userId="c36ed1c7-ded9-4db6-a024-7557c6c16aab" providerId="ADAL" clId="{850367E2-D1DC-4F4F-AB68-F97A22BA04E8}" dt="2023-03-07T16:37:43.224" v="430" actId="478"/>
          <ac:spMkLst>
            <pc:docMk/>
            <pc:sldMk cId="4131381941" sldId="2147378792"/>
            <ac:spMk id="6" creationId="{975ABF0E-EB74-936B-BB4E-E37412B0CF3E}"/>
          </ac:spMkLst>
        </pc:spChg>
        <pc:picChg chg="mod">
          <ac:chgData name="Alexis Pallain" userId="c36ed1c7-ded9-4db6-a024-7557c6c16aab" providerId="ADAL" clId="{850367E2-D1DC-4F4F-AB68-F97A22BA04E8}" dt="2023-03-07T17:02:47.567" v="535" actId="1076"/>
          <ac:picMkLst>
            <pc:docMk/>
            <pc:sldMk cId="4131381941" sldId="2147378792"/>
            <ac:picMk id="4" creationId="{6456A296-2F98-1F6F-2232-0B20F5FEE292}"/>
          </ac:picMkLst>
        </pc:picChg>
      </pc:sldChg>
      <pc:sldChg chg="del">
        <pc:chgData name="Alexis Pallain" userId="c36ed1c7-ded9-4db6-a024-7557c6c16aab" providerId="ADAL" clId="{850367E2-D1DC-4F4F-AB68-F97A22BA04E8}" dt="2023-03-07T16:04:23.255" v="67" actId="47"/>
        <pc:sldMkLst>
          <pc:docMk/>
          <pc:sldMk cId="1092914004" sldId="2147378795"/>
        </pc:sldMkLst>
      </pc:sldChg>
      <pc:sldChg chg="mod modShow">
        <pc:chgData name="Alexis Pallain" userId="c36ed1c7-ded9-4db6-a024-7557c6c16aab" providerId="ADAL" clId="{850367E2-D1DC-4F4F-AB68-F97A22BA04E8}" dt="2023-03-08T09:18:53.117" v="870" actId="729"/>
        <pc:sldMkLst>
          <pc:docMk/>
          <pc:sldMk cId="444521345" sldId="2147378797"/>
        </pc:sldMkLst>
      </pc:sldChg>
      <pc:sldChg chg="mod modShow">
        <pc:chgData name="Alexis Pallain" userId="c36ed1c7-ded9-4db6-a024-7557c6c16aab" providerId="ADAL" clId="{850367E2-D1DC-4F4F-AB68-F97A22BA04E8}" dt="2023-03-08T09:19:10.283" v="871" actId="729"/>
        <pc:sldMkLst>
          <pc:docMk/>
          <pc:sldMk cId="1208834599" sldId="2147378798"/>
        </pc:sldMkLst>
      </pc:sldChg>
      <pc:sldChg chg="mod modShow">
        <pc:chgData name="Alexis Pallain" userId="c36ed1c7-ded9-4db6-a024-7557c6c16aab" providerId="ADAL" clId="{850367E2-D1DC-4F4F-AB68-F97A22BA04E8}" dt="2023-03-08T09:19:15.380" v="872" actId="729"/>
        <pc:sldMkLst>
          <pc:docMk/>
          <pc:sldMk cId="4022040243" sldId="2147378799"/>
        </pc:sldMkLst>
      </pc:sldChg>
      <pc:sldChg chg="del">
        <pc:chgData name="Alexis Pallain" userId="c36ed1c7-ded9-4db6-a024-7557c6c16aab" providerId="ADAL" clId="{850367E2-D1DC-4F4F-AB68-F97A22BA04E8}" dt="2023-03-08T09:31:39.440" v="1135" actId="47"/>
        <pc:sldMkLst>
          <pc:docMk/>
          <pc:sldMk cId="192676730" sldId="2147378801"/>
        </pc:sldMkLst>
      </pc:sldChg>
      <pc:sldChg chg="modSp del mod">
        <pc:chgData name="Alexis Pallain" userId="c36ed1c7-ded9-4db6-a024-7557c6c16aab" providerId="ADAL" clId="{850367E2-D1DC-4F4F-AB68-F97A22BA04E8}" dt="2023-03-08T09:21:47.029" v="915" actId="47"/>
        <pc:sldMkLst>
          <pc:docMk/>
          <pc:sldMk cId="3632128017" sldId="2147378802"/>
        </pc:sldMkLst>
        <pc:spChg chg="mod">
          <ac:chgData name="Alexis Pallain" userId="c36ed1c7-ded9-4db6-a024-7557c6c16aab" providerId="ADAL" clId="{850367E2-D1DC-4F4F-AB68-F97A22BA04E8}" dt="2023-03-08T09:20:11.881" v="892" actId="6549"/>
          <ac:spMkLst>
            <pc:docMk/>
            <pc:sldMk cId="3632128017" sldId="2147378802"/>
            <ac:spMk id="3" creationId="{919DC6FD-E8F5-4961-A4F6-D5E8316B323B}"/>
          </ac:spMkLst>
        </pc:spChg>
      </pc:sldChg>
      <pc:sldChg chg="del">
        <pc:chgData name="Alexis Pallain" userId="c36ed1c7-ded9-4db6-a024-7557c6c16aab" providerId="ADAL" clId="{850367E2-D1DC-4F4F-AB68-F97A22BA04E8}" dt="2023-03-08T09:19:44.364" v="873" actId="47"/>
        <pc:sldMkLst>
          <pc:docMk/>
          <pc:sldMk cId="1067554049" sldId="2147378803"/>
        </pc:sldMkLst>
      </pc:sldChg>
      <pc:sldChg chg="modSp mod">
        <pc:chgData name="Alexis Pallain" userId="c36ed1c7-ded9-4db6-a024-7557c6c16aab" providerId="ADAL" clId="{850367E2-D1DC-4F4F-AB68-F97A22BA04E8}" dt="2023-03-08T09:33:28.612" v="1180" actId="6549"/>
        <pc:sldMkLst>
          <pc:docMk/>
          <pc:sldMk cId="124832277" sldId="2147378805"/>
        </pc:sldMkLst>
        <pc:spChg chg="mod">
          <ac:chgData name="Alexis Pallain" userId="c36ed1c7-ded9-4db6-a024-7557c6c16aab" providerId="ADAL" clId="{850367E2-D1DC-4F4F-AB68-F97A22BA04E8}" dt="2023-03-08T09:33:28.612" v="1180" actId="6549"/>
          <ac:spMkLst>
            <pc:docMk/>
            <pc:sldMk cId="124832277" sldId="2147378805"/>
            <ac:spMk id="3" creationId="{1370BAD9-D521-E0F0-F5F5-09FE1B231DE1}"/>
          </ac:spMkLst>
        </pc:spChg>
      </pc:sldChg>
      <pc:sldChg chg="del">
        <pc:chgData name="Alexis Pallain" userId="c36ed1c7-ded9-4db6-a024-7557c6c16aab" providerId="ADAL" clId="{850367E2-D1DC-4F4F-AB68-F97A22BA04E8}" dt="2023-03-07T16:04:23.255" v="67" actId="47"/>
        <pc:sldMkLst>
          <pc:docMk/>
          <pc:sldMk cId="1479908888" sldId="2147378806"/>
        </pc:sldMkLst>
      </pc:sldChg>
      <pc:sldChg chg="del">
        <pc:chgData name="Alexis Pallain" userId="c36ed1c7-ded9-4db6-a024-7557c6c16aab" providerId="ADAL" clId="{850367E2-D1DC-4F4F-AB68-F97A22BA04E8}" dt="2023-03-07T16:04:37.922" v="68" actId="47"/>
        <pc:sldMkLst>
          <pc:docMk/>
          <pc:sldMk cId="3634934667" sldId="2147378807"/>
        </pc:sldMkLst>
      </pc:sldChg>
      <pc:sldChg chg="del">
        <pc:chgData name="Alexis Pallain" userId="c36ed1c7-ded9-4db6-a024-7557c6c16aab" providerId="ADAL" clId="{850367E2-D1DC-4F4F-AB68-F97A22BA04E8}" dt="2023-03-07T16:04:23.255" v="67" actId="47"/>
        <pc:sldMkLst>
          <pc:docMk/>
          <pc:sldMk cId="204909440" sldId="2147378808"/>
        </pc:sldMkLst>
      </pc:sldChg>
      <pc:sldChg chg="del">
        <pc:chgData name="Alexis Pallain" userId="c36ed1c7-ded9-4db6-a024-7557c6c16aab" providerId="ADAL" clId="{850367E2-D1DC-4F4F-AB68-F97A22BA04E8}" dt="2023-03-07T16:04:39.138" v="69" actId="47"/>
        <pc:sldMkLst>
          <pc:docMk/>
          <pc:sldMk cId="990573595" sldId="2147378810"/>
        </pc:sldMkLst>
      </pc:sldChg>
      <pc:sldChg chg="del">
        <pc:chgData name="Alexis Pallain" userId="c36ed1c7-ded9-4db6-a024-7557c6c16aab" providerId="ADAL" clId="{850367E2-D1DC-4F4F-AB68-F97A22BA04E8}" dt="2023-03-07T16:04:40.707" v="70" actId="47"/>
        <pc:sldMkLst>
          <pc:docMk/>
          <pc:sldMk cId="3119123604" sldId="2147378811"/>
        </pc:sldMkLst>
      </pc:sldChg>
      <pc:sldChg chg="delSp modSp mod">
        <pc:chgData name="Alexis Pallain" userId="c36ed1c7-ded9-4db6-a024-7557c6c16aab" providerId="ADAL" clId="{850367E2-D1DC-4F4F-AB68-F97A22BA04E8}" dt="2023-03-07T16:57:28.406" v="534" actId="20577"/>
        <pc:sldMkLst>
          <pc:docMk/>
          <pc:sldMk cId="1786774589" sldId="2147378812"/>
        </pc:sldMkLst>
        <pc:spChg chg="mod">
          <ac:chgData name="Alexis Pallain" userId="c36ed1c7-ded9-4db6-a024-7557c6c16aab" providerId="ADAL" clId="{850367E2-D1DC-4F4F-AB68-F97A22BA04E8}" dt="2023-03-07T16:30:37.558" v="111" actId="6549"/>
          <ac:spMkLst>
            <pc:docMk/>
            <pc:sldMk cId="1786774589" sldId="2147378812"/>
            <ac:spMk id="2" creationId="{00000000-0000-0000-0000-000000000000}"/>
          </ac:spMkLst>
        </pc:spChg>
        <pc:spChg chg="mod">
          <ac:chgData name="Alexis Pallain" userId="c36ed1c7-ded9-4db6-a024-7557c6c16aab" providerId="ADAL" clId="{850367E2-D1DC-4F4F-AB68-F97A22BA04E8}" dt="2023-03-07T16:57:28.406" v="534" actId="20577"/>
          <ac:spMkLst>
            <pc:docMk/>
            <pc:sldMk cId="1786774589" sldId="2147378812"/>
            <ac:spMk id="6" creationId="{4A46C37D-4637-46E0-99BE-2B6B42CE6ED0}"/>
          </ac:spMkLst>
        </pc:spChg>
        <pc:picChg chg="del">
          <ac:chgData name="Alexis Pallain" userId="c36ed1c7-ded9-4db6-a024-7557c6c16aab" providerId="ADAL" clId="{850367E2-D1DC-4F4F-AB68-F97A22BA04E8}" dt="2023-03-07T16:28:29.990" v="99" actId="478"/>
          <ac:picMkLst>
            <pc:docMk/>
            <pc:sldMk cId="1786774589" sldId="2147378812"/>
            <ac:picMk id="269" creationId="{00000000-0000-0000-0000-000000000000}"/>
          </ac:picMkLst>
        </pc:picChg>
      </pc:sldChg>
      <pc:sldChg chg="del">
        <pc:chgData name="Alexis Pallain" userId="c36ed1c7-ded9-4db6-a024-7557c6c16aab" providerId="ADAL" clId="{850367E2-D1DC-4F4F-AB68-F97A22BA04E8}" dt="2023-03-07T16:33:52.858" v="285" actId="47"/>
        <pc:sldMkLst>
          <pc:docMk/>
          <pc:sldMk cId="2864006305" sldId="2147378813"/>
        </pc:sldMkLst>
      </pc:sldChg>
      <pc:sldChg chg="del">
        <pc:chgData name="Alexis Pallain" userId="c36ed1c7-ded9-4db6-a024-7557c6c16aab" providerId="ADAL" clId="{850367E2-D1DC-4F4F-AB68-F97A22BA04E8}" dt="2023-03-07T16:03:56.368" v="66" actId="47"/>
        <pc:sldMkLst>
          <pc:docMk/>
          <pc:sldMk cId="268275353" sldId="2147378814"/>
        </pc:sldMkLst>
      </pc:sldChg>
      <pc:sldChg chg="del">
        <pc:chgData name="Alexis Pallain" userId="c36ed1c7-ded9-4db6-a024-7557c6c16aab" providerId="ADAL" clId="{850367E2-D1DC-4F4F-AB68-F97A22BA04E8}" dt="2023-03-07T16:04:23.255" v="67" actId="47"/>
        <pc:sldMkLst>
          <pc:docMk/>
          <pc:sldMk cId="2132115600" sldId="2147378815"/>
        </pc:sldMkLst>
      </pc:sldChg>
      <pc:sldChg chg="modSp mod">
        <pc:chgData name="Alexis Pallain" userId="c36ed1c7-ded9-4db6-a024-7557c6c16aab" providerId="ADAL" clId="{850367E2-D1DC-4F4F-AB68-F97A22BA04E8}" dt="2023-03-07T15:59:49.141" v="61" actId="113"/>
        <pc:sldMkLst>
          <pc:docMk/>
          <pc:sldMk cId="3658751145" sldId="2147378818"/>
        </pc:sldMkLst>
        <pc:spChg chg="mod">
          <ac:chgData name="Alexis Pallain" userId="c36ed1c7-ded9-4db6-a024-7557c6c16aab" providerId="ADAL" clId="{850367E2-D1DC-4F4F-AB68-F97A22BA04E8}" dt="2023-03-07T15:59:49.141" v="61" actId="113"/>
          <ac:spMkLst>
            <pc:docMk/>
            <pc:sldMk cId="3658751145" sldId="2147378818"/>
            <ac:spMk id="10" creationId="{D11574C0-F419-07BA-8515-0891DAAB5B12}"/>
          </ac:spMkLst>
        </pc:spChg>
      </pc:sldChg>
      <pc:sldChg chg="addSp delSp modSp mod">
        <pc:chgData name="Alexis Pallain" userId="c36ed1c7-ded9-4db6-a024-7557c6c16aab" providerId="ADAL" clId="{850367E2-D1DC-4F4F-AB68-F97A22BA04E8}" dt="2023-03-08T13:57:57.561" v="1213" actId="20577"/>
        <pc:sldMkLst>
          <pc:docMk/>
          <pc:sldMk cId="1124184457" sldId="2147378820"/>
        </pc:sldMkLst>
        <pc:spChg chg="add mod">
          <ac:chgData name="Alexis Pallain" userId="c36ed1c7-ded9-4db6-a024-7557c6c16aab" providerId="ADAL" clId="{850367E2-D1DC-4F4F-AB68-F97A22BA04E8}" dt="2023-03-07T15:58:49.080" v="42" actId="20577"/>
          <ac:spMkLst>
            <pc:docMk/>
            <pc:sldMk cId="1124184457" sldId="2147378820"/>
            <ac:spMk id="5" creationId="{E732FE00-527E-2A41-976E-81C2998E40C4}"/>
          </ac:spMkLst>
        </pc:spChg>
        <pc:spChg chg="mod">
          <ac:chgData name="Alexis Pallain" userId="c36ed1c7-ded9-4db6-a024-7557c6c16aab" providerId="ADAL" clId="{850367E2-D1DC-4F4F-AB68-F97A22BA04E8}" dt="2023-03-07T15:58:32.316" v="32" actId="14100"/>
          <ac:spMkLst>
            <pc:docMk/>
            <pc:sldMk cId="1124184457" sldId="2147378820"/>
            <ac:spMk id="9" creationId="{FF991443-B7A6-4298-3FBC-5CA23D5EEFCF}"/>
          </ac:spMkLst>
        </pc:spChg>
        <pc:spChg chg="mod">
          <ac:chgData name="Alexis Pallain" userId="c36ed1c7-ded9-4db6-a024-7557c6c16aab" providerId="ADAL" clId="{850367E2-D1DC-4F4F-AB68-F97A22BA04E8}" dt="2023-03-07T15:58:58.175" v="43" actId="20577"/>
          <ac:spMkLst>
            <pc:docMk/>
            <pc:sldMk cId="1124184457" sldId="2147378820"/>
            <ac:spMk id="10" creationId="{86C890AE-7D0B-C7D8-D4D0-120DED0C5493}"/>
          </ac:spMkLst>
        </pc:spChg>
        <pc:spChg chg="mod">
          <ac:chgData name="Alexis Pallain" userId="c36ed1c7-ded9-4db6-a024-7557c6c16aab" providerId="ADAL" clId="{850367E2-D1DC-4F4F-AB68-F97A22BA04E8}" dt="2023-03-08T13:57:57.561" v="1213" actId="20577"/>
          <ac:spMkLst>
            <pc:docMk/>
            <pc:sldMk cId="1124184457" sldId="2147378820"/>
            <ac:spMk id="12" creationId="{C297FDF8-24C0-62D5-A47C-18A565FE3578}"/>
          </ac:spMkLst>
        </pc:spChg>
        <pc:spChg chg="del">
          <ac:chgData name="Alexis Pallain" userId="c36ed1c7-ded9-4db6-a024-7557c6c16aab" providerId="ADAL" clId="{850367E2-D1DC-4F4F-AB68-F97A22BA04E8}" dt="2023-03-07T15:57:58.902" v="13" actId="478"/>
          <ac:spMkLst>
            <pc:docMk/>
            <pc:sldMk cId="1124184457" sldId="2147378820"/>
            <ac:spMk id="13" creationId="{AB97E635-6EEE-4A07-938F-62A980CD04AE}"/>
          </ac:spMkLst>
        </pc:spChg>
      </pc:sldChg>
      <pc:sldChg chg="addSp delSp modSp new mod">
        <pc:chgData name="Alexis Pallain" userId="c36ed1c7-ded9-4db6-a024-7557c6c16aab" providerId="ADAL" clId="{850367E2-D1DC-4F4F-AB68-F97A22BA04E8}" dt="2023-03-07T16:56:40.570" v="520" actId="20577"/>
        <pc:sldMkLst>
          <pc:docMk/>
          <pc:sldMk cId="4092030658" sldId="2147378821"/>
        </pc:sldMkLst>
        <pc:spChg chg="mod">
          <ac:chgData name="Alexis Pallain" userId="c36ed1c7-ded9-4db6-a024-7557c6c16aab" providerId="ADAL" clId="{850367E2-D1DC-4F4F-AB68-F97A22BA04E8}" dt="2023-03-07T16:56:40.570" v="520" actId="20577"/>
          <ac:spMkLst>
            <pc:docMk/>
            <pc:sldMk cId="4092030658" sldId="2147378821"/>
            <ac:spMk id="2" creationId="{C80A784A-E17E-80F2-9CDD-3DD7AE4A402B}"/>
          </ac:spMkLst>
        </pc:spChg>
        <pc:spChg chg="del">
          <ac:chgData name="Alexis Pallain" userId="c36ed1c7-ded9-4db6-a024-7557c6c16aab" providerId="ADAL" clId="{850367E2-D1DC-4F4F-AB68-F97A22BA04E8}" dt="2023-03-07T16:27:27.387" v="73" actId="478"/>
          <ac:spMkLst>
            <pc:docMk/>
            <pc:sldMk cId="4092030658" sldId="2147378821"/>
            <ac:spMk id="3" creationId="{BFC7FBE7-B60B-677E-9152-74299A052B1C}"/>
          </ac:spMkLst>
        </pc:spChg>
        <pc:spChg chg="mod">
          <ac:chgData name="Alexis Pallain" userId="c36ed1c7-ded9-4db6-a024-7557c6c16aab" providerId="ADAL" clId="{850367E2-D1DC-4F4F-AB68-F97A22BA04E8}" dt="2023-03-07T16:56:25.857" v="513" actId="1076"/>
          <ac:spMkLst>
            <pc:docMk/>
            <pc:sldMk cId="4092030658" sldId="2147378821"/>
            <ac:spMk id="7" creationId="{705801BC-0C68-C91E-3590-20F694C7DBAD}"/>
          </ac:spMkLst>
        </pc:spChg>
        <pc:spChg chg="mod">
          <ac:chgData name="Alexis Pallain" userId="c36ed1c7-ded9-4db6-a024-7557c6c16aab" providerId="ADAL" clId="{850367E2-D1DC-4F4F-AB68-F97A22BA04E8}" dt="2023-03-07T16:56:25.857" v="513" actId="1076"/>
          <ac:spMkLst>
            <pc:docMk/>
            <pc:sldMk cId="4092030658" sldId="2147378821"/>
            <ac:spMk id="9" creationId="{4F1F25BB-72C0-8C2F-E636-4711AA06E64A}"/>
          </ac:spMkLst>
        </pc:spChg>
        <pc:spChg chg="mod">
          <ac:chgData name="Alexis Pallain" userId="c36ed1c7-ded9-4db6-a024-7557c6c16aab" providerId="ADAL" clId="{850367E2-D1DC-4F4F-AB68-F97A22BA04E8}" dt="2023-03-07T16:56:25.857" v="513" actId="1076"/>
          <ac:spMkLst>
            <pc:docMk/>
            <pc:sldMk cId="4092030658" sldId="2147378821"/>
            <ac:spMk id="10" creationId="{1262A85B-B609-34A7-BC56-7C2881DBBDBB}"/>
          </ac:spMkLst>
        </pc:spChg>
        <pc:spChg chg="mod">
          <ac:chgData name="Alexis Pallain" userId="c36ed1c7-ded9-4db6-a024-7557c6c16aab" providerId="ADAL" clId="{850367E2-D1DC-4F4F-AB68-F97A22BA04E8}" dt="2023-03-07T16:56:25.857" v="513" actId="1076"/>
          <ac:spMkLst>
            <pc:docMk/>
            <pc:sldMk cId="4092030658" sldId="2147378821"/>
            <ac:spMk id="11" creationId="{2EAFC26A-A33E-6CF8-C7F0-1EA99FD68C57}"/>
          </ac:spMkLst>
        </pc:spChg>
        <pc:spChg chg="mod">
          <ac:chgData name="Alexis Pallain" userId="c36ed1c7-ded9-4db6-a024-7557c6c16aab" providerId="ADAL" clId="{850367E2-D1DC-4F4F-AB68-F97A22BA04E8}" dt="2023-03-07T16:56:25.857" v="513" actId="1076"/>
          <ac:spMkLst>
            <pc:docMk/>
            <pc:sldMk cId="4092030658" sldId="2147378821"/>
            <ac:spMk id="13" creationId="{CC762C51-3344-13AA-1DD7-6EB0CD08A322}"/>
          </ac:spMkLst>
        </pc:spChg>
        <pc:spChg chg="mod">
          <ac:chgData name="Alexis Pallain" userId="c36ed1c7-ded9-4db6-a024-7557c6c16aab" providerId="ADAL" clId="{850367E2-D1DC-4F4F-AB68-F97A22BA04E8}" dt="2023-03-07T16:56:25.857" v="513" actId="1076"/>
          <ac:spMkLst>
            <pc:docMk/>
            <pc:sldMk cId="4092030658" sldId="2147378821"/>
            <ac:spMk id="15" creationId="{46EC7624-8BF6-51AD-F3BB-5CF36FB78CE4}"/>
          </ac:spMkLst>
        </pc:spChg>
        <pc:spChg chg="del mod">
          <ac:chgData name="Alexis Pallain" userId="c36ed1c7-ded9-4db6-a024-7557c6c16aab" providerId="ADAL" clId="{850367E2-D1DC-4F4F-AB68-F97A22BA04E8}" dt="2023-03-07T16:27:40.231" v="75" actId="478"/>
          <ac:spMkLst>
            <pc:docMk/>
            <pc:sldMk cId="4092030658" sldId="2147378821"/>
            <ac:spMk id="16" creationId="{BFD491EC-EBB5-B075-92D9-8B30987FB0C1}"/>
          </ac:spMkLst>
        </pc:spChg>
        <pc:spChg chg="mod">
          <ac:chgData name="Alexis Pallain" userId="c36ed1c7-ded9-4db6-a024-7557c6c16aab" providerId="ADAL" clId="{850367E2-D1DC-4F4F-AB68-F97A22BA04E8}" dt="2023-03-07T16:56:25.857" v="513" actId="1076"/>
          <ac:spMkLst>
            <pc:docMk/>
            <pc:sldMk cId="4092030658" sldId="2147378821"/>
            <ac:spMk id="17" creationId="{92013FFB-7193-D6A5-B9EC-4D069815F15E}"/>
          </ac:spMkLst>
        </pc:spChg>
        <pc:spChg chg="mod">
          <ac:chgData name="Alexis Pallain" userId="c36ed1c7-ded9-4db6-a024-7557c6c16aab" providerId="ADAL" clId="{850367E2-D1DC-4F4F-AB68-F97A22BA04E8}" dt="2023-03-07T16:56:25.857" v="513" actId="1076"/>
          <ac:spMkLst>
            <pc:docMk/>
            <pc:sldMk cId="4092030658" sldId="2147378821"/>
            <ac:spMk id="18" creationId="{63FC93A4-5A91-986F-CEDC-0998DBD13F57}"/>
          </ac:spMkLst>
        </pc:spChg>
        <pc:spChg chg="mod">
          <ac:chgData name="Alexis Pallain" userId="c36ed1c7-ded9-4db6-a024-7557c6c16aab" providerId="ADAL" clId="{850367E2-D1DC-4F4F-AB68-F97A22BA04E8}" dt="2023-03-07T16:56:25.857" v="513" actId="1076"/>
          <ac:spMkLst>
            <pc:docMk/>
            <pc:sldMk cId="4092030658" sldId="2147378821"/>
            <ac:spMk id="19" creationId="{6748E252-1345-BEE0-A765-D38017FE00A7}"/>
          </ac:spMkLst>
        </pc:spChg>
        <pc:spChg chg="mod">
          <ac:chgData name="Alexis Pallain" userId="c36ed1c7-ded9-4db6-a024-7557c6c16aab" providerId="ADAL" clId="{850367E2-D1DC-4F4F-AB68-F97A22BA04E8}" dt="2023-03-07T16:56:25.857" v="513" actId="1076"/>
          <ac:spMkLst>
            <pc:docMk/>
            <pc:sldMk cId="4092030658" sldId="2147378821"/>
            <ac:spMk id="20" creationId="{D44EEE76-E27F-E6CD-40D4-599A329A4746}"/>
          </ac:spMkLst>
        </pc:spChg>
        <pc:spChg chg="mod">
          <ac:chgData name="Alexis Pallain" userId="c36ed1c7-ded9-4db6-a024-7557c6c16aab" providerId="ADAL" clId="{850367E2-D1DC-4F4F-AB68-F97A22BA04E8}" dt="2023-03-07T16:56:25.857" v="513" actId="1076"/>
          <ac:spMkLst>
            <pc:docMk/>
            <pc:sldMk cId="4092030658" sldId="2147378821"/>
            <ac:spMk id="21" creationId="{DDE0E40B-DEE7-E516-69DA-AADE75336C3D}"/>
          </ac:spMkLst>
        </pc:spChg>
        <pc:spChg chg="mod">
          <ac:chgData name="Alexis Pallain" userId="c36ed1c7-ded9-4db6-a024-7557c6c16aab" providerId="ADAL" clId="{850367E2-D1DC-4F4F-AB68-F97A22BA04E8}" dt="2023-03-07T16:56:25.857" v="513" actId="1076"/>
          <ac:spMkLst>
            <pc:docMk/>
            <pc:sldMk cId="4092030658" sldId="2147378821"/>
            <ac:spMk id="22" creationId="{39B0758D-2E5E-5817-24A2-93352574DE52}"/>
          </ac:spMkLst>
        </pc:spChg>
        <pc:spChg chg="mod">
          <ac:chgData name="Alexis Pallain" userId="c36ed1c7-ded9-4db6-a024-7557c6c16aab" providerId="ADAL" clId="{850367E2-D1DC-4F4F-AB68-F97A22BA04E8}" dt="2023-03-07T16:56:25.857" v="513" actId="1076"/>
          <ac:spMkLst>
            <pc:docMk/>
            <pc:sldMk cId="4092030658" sldId="2147378821"/>
            <ac:spMk id="23" creationId="{A7E2A1EB-15B3-86C2-0EE4-5565CEC9264E}"/>
          </ac:spMkLst>
        </pc:spChg>
        <pc:spChg chg="mod">
          <ac:chgData name="Alexis Pallain" userId="c36ed1c7-ded9-4db6-a024-7557c6c16aab" providerId="ADAL" clId="{850367E2-D1DC-4F4F-AB68-F97A22BA04E8}" dt="2023-03-07T16:56:25.857" v="513" actId="1076"/>
          <ac:spMkLst>
            <pc:docMk/>
            <pc:sldMk cId="4092030658" sldId="2147378821"/>
            <ac:spMk id="24" creationId="{14A24F7E-5CCE-6F80-9F1B-78F209110F30}"/>
          </ac:spMkLst>
        </pc:spChg>
        <pc:spChg chg="mod">
          <ac:chgData name="Alexis Pallain" userId="c36ed1c7-ded9-4db6-a024-7557c6c16aab" providerId="ADAL" clId="{850367E2-D1DC-4F4F-AB68-F97A22BA04E8}" dt="2023-03-07T16:56:25.857" v="513" actId="1076"/>
          <ac:spMkLst>
            <pc:docMk/>
            <pc:sldMk cId="4092030658" sldId="2147378821"/>
            <ac:spMk id="25" creationId="{5FEBC18B-9166-FBAA-3A8D-BE73316DE872}"/>
          </ac:spMkLst>
        </pc:spChg>
        <pc:spChg chg="mod">
          <ac:chgData name="Alexis Pallain" userId="c36ed1c7-ded9-4db6-a024-7557c6c16aab" providerId="ADAL" clId="{850367E2-D1DC-4F4F-AB68-F97A22BA04E8}" dt="2023-03-07T16:56:25.857" v="513" actId="1076"/>
          <ac:spMkLst>
            <pc:docMk/>
            <pc:sldMk cId="4092030658" sldId="2147378821"/>
            <ac:spMk id="26" creationId="{C6B653ED-6FE5-E758-D682-C7A8B9DA60F9}"/>
          </ac:spMkLst>
        </pc:spChg>
        <pc:spChg chg="mod">
          <ac:chgData name="Alexis Pallain" userId="c36ed1c7-ded9-4db6-a024-7557c6c16aab" providerId="ADAL" clId="{850367E2-D1DC-4F4F-AB68-F97A22BA04E8}" dt="2023-03-07T16:56:25.857" v="513" actId="1076"/>
          <ac:spMkLst>
            <pc:docMk/>
            <pc:sldMk cId="4092030658" sldId="2147378821"/>
            <ac:spMk id="27" creationId="{2D5F3892-9B89-2B82-2153-4E20D4FDA205}"/>
          </ac:spMkLst>
        </pc:spChg>
        <pc:spChg chg="mod">
          <ac:chgData name="Alexis Pallain" userId="c36ed1c7-ded9-4db6-a024-7557c6c16aab" providerId="ADAL" clId="{850367E2-D1DC-4F4F-AB68-F97A22BA04E8}" dt="2023-03-07T16:56:25.857" v="513" actId="1076"/>
          <ac:spMkLst>
            <pc:docMk/>
            <pc:sldMk cId="4092030658" sldId="2147378821"/>
            <ac:spMk id="28" creationId="{24A6B8C9-6119-506A-B83A-6A279B3C0D7D}"/>
          </ac:spMkLst>
        </pc:spChg>
        <pc:spChg chg="mod">
          <ac:chgData name="Alexis Pallain" userId="c36ed1c7-ded9-4db6-a024-7557c6c16aab" providerId="ADAL" clId="{850367E2-D1DC-4F4F-AB68-F97A22BA04E8}" dt="2023-03-07T16:56:25.857" v="513" actId="1076"/>
          <ac:spMkLst>
            <pc:docMk/>
            <pc:sldMk cId="4092030658" sldId="2147378821"/>
            <ac:spMk id="29" creationId="{14D6DFCA-F1C3-907C-7AFC-AFFB222E46E9}"/>
          </ac:spMkLst>
        </pc:spChg>
        <pc:spChg chg="mod">
          <ac:chgData name="Alexis Pallain" userId="c36ed1c7-ded9-4db6-a024-7557c6c16aab" providerId="ADAL" clId="{850367E2-D1DC-4F4F-AB68-F97A22BA04E8}" dt="2023-03-07T16:56:25.857" v="513" actId="1076"/>
          <ac:spMkLst>
            <pc:docMk/>
            <pc:sldMk cId="4092030658" sldId="2147378821"/>
            <ac:spMk id="30" creationId="{7DBC3C1D-3B6A-20F6-A506-CC2FF3D03CF5}"/>
          </ac:spMkLst>
        </pc:spChg>
        <pc:spChg chg="del mod">
          <ac:chgData name="Alexis Pallain" userId="c36ed1c7-ded9-4db6-a024-7557c6c16aab" providerId="ADAL" clId="{850367E2-D1DC-4F4F-AB68-F97A22BA04E8}" dt="2023-03-07T16:27:50.619" v="79" actId="478"/>
          <ac:spMkLst>
            <pc:docMk/>
            <pc:sldMk cId="4092030658" sldId="2147378821"/>
            <ac:spMk id="31" creationId="{17D4017F-3DF3-0F1F-E472-A20B0F1107A8}"/>
          </ac:spMkLst>
        </pc:spChg>
        <pc:spChg chg="mod">
          <ac:chgData name="Alexis Pallain" userId="c36ed1c7-ded9-4db6-a024-7557c6c16aab" providerId="ADAL" clId="{850367E2-D1DC-4F4F-AB68-F97A22BA04E8}" dt="2023-03-07T16:56:25.857" v="513" actId="1076"/>
          <ac:spMkLst>
            <pc:docMk/>
            <pc:sldMk cId="4092030658" sldId="2147378821"/>
            <ac:spMk id="32" creationId="{6796E371-B07F-BCBB-939A-852105852FD2}"/>
          </ac:spMkLst>
        </pc:spChg>
        <pc:spChg chg="mod">
          <ac:chgData name="Alexis Pallain" userId="c36ed1c7-ded9-4db6-a024-7557c6c16aab" providerId="ADAL" clId="{850367E2-D1DC-4F4F-AB68-F97A22BA04E8}" dt="2023-03-07T16:56:25.857" v="513" actId="1076"/>
          <ac:spMkLst>
            <pc:docMk/>
            <pc:sldMk cId="4092030658" sldId="2147378821"/>
            <ac:spMk id="33" creationId="{742BD808-E7E1-1A21-B19F-D72FEA0C001D}"/>
          </ac:spMkLst>
        </pc:spChg>
        <pc:spChg chg="mod">
          <ac:chgData name="Alexis Pallain" userId="c36ed1c7-ded9-4db6-a024-7557c6c16aab" providerId="ADAL" clId="{850367E2-D1DC-4F4F-AB68-F97A22BA04E8}" dt="2023-03-07T16:56:25.857" v="513" actId="1076"/>
          <ac:spMkLst>
            <pc:docMk/>
            <pc:sldMk cId="4092030658" sldId="2147378821"/>
            <ac:spMk id="34" creationId="{CAC62BF1-59E4-0A84-C772-7EE40C00117F}"/>
          </ac:spMkLst>
        </pc:spChg>
        <pc:spChg chg="mod">
          <ac:chgData name="Alexis Pallain" userId="c36ed1c7-ded9-4db6-a024-7557c6c16aab" providerId="ADAL" clId="{850367E2-D1DC-4F4F-AB68-F97A22BA04E8}" dt="2023-03-07T16:56:25.857" v="513" actId="1076"/>
          <ac:spMkLst>
            <pc:docMk/>
            <pc:sldMk cId="4092030658" sldId="2147378821"/>
            <ac:spMk id="35" creationId="{56CC8DF2-372F-C96A-A1A0-859BA193178D}"/>
          </ac:spMkLst>
        </pc:spChg>
        <pc:spChg chg="mod">
          <ac:chgData name="Alexis Pallain" userId="c36ed1c7-ded9-4db6-a024-7557c6c16aab" providerId="ADAL" clId="{850367E2-D1DC-4F4F-AB68-F97A22BA04E8}" dt="2023-03-07T16:56:25.857" v="513" actId="1076"/>
          <ac:spMkLst>
            <pc:docMk/>
            <pc:sldMk cId="4092030658" sldId="2147378821"/>
            <ac:spMk id="36" creationId="{4D6229C9-5144-8696-97F1-94C8DB70768D}"/>
          </ac:spMkLst>
        </pc:spChg>
        <pc:spChg chg="mod">
          <ac:chgData name="Alexis Pallain" userId="c36ed1c7-ded9-4db6-a024-7557c6c16aab" providerId="ADAL" clId="{850367E2-D1DC-4F4F-AB68-F97A22BA04E8}" dt="2023-03-07T16:56:25.857" v="513" actId="1076"/>
          <ac:spMkLst>
            <pc:docMk/>
            <pc:sldMk cId="4092030658" sldId="2147378821"/>
            <ac:spMk id="37" creationId="{2716B408-236F-1D28-5AE0-326933F988E3}"/>
          </ac:spMkLst>
        </pc:spChg>
        <pc:spChg chg="mod">
          <ac:chgData name="Alexis Pallain" userId="c36ed1c7-ded9-4db6-a024-7557c6c16aab" providerId="ADAL" clId="{850367E2-D1DC-4F4F-AB68-F97A22BA04E8}" dt="2023-03-07T16:56:25.857" v="513" actId="1076"/>
          <ac:spMkLst>
            <pc:docMk/>
            <pc:sldMk cId="4092030658" sldId="2147378821"/>
            <ac:spMk id="38" creationId="{23603D52-DC6F-42E3-2EA7-17731912748C}"/>
          </ac:spMkLst>
        </pc:spChg>
        <pc:spChg chg="mod">
          <ac:chgData name="Alexis Pallain" userId="c36ed1c7-ded9-4db6-a024-7557c6c16aab" providerId="ADAL" clId="{850367E2-D1DC-4F4F-AB68-F97A22BA04E8}" dt="2023-03-07T16:56:25.857" v="513" actId="1076"/>
          <ac:spMkLst>
            <pc:docMk/>
            <pc:sldMk cId="4092030658" sldId="2147378821"/>
            <ac:spMk id="39" creationId="{8162F0AA-679D-9379-E61F-88CB288477D7}"/>
          </ac:spMkLst>
        </pc:spChg>
        <pc:spChg chg="mod">
          <ac:chgData name="Alexis Pallain" userId="c36ed1c7-ded9-4db6-a024-7557c6c16aab" providerId="ADAL" clId="{850367E2-D1DC-4F4F-AB68-F97A22BA04E8}" dt="2023-03-07T16:56:25.857" v="513" actId="1076"/>
          <ac:spMkLst>
            <pc:docMk/>
            <pc:sldMk cId="4092030658" sldId="2147378821"/>
            <ac:spMk id="41" creationId="{06E60700-6EE3-86DC-EC48-EF2051E977C4}"/>
          </ac:spMkLst>
        </pc:spChg>
        <pc:spChg chg="mod">
          <ac:chgData name="Alexis Pallain" userId="c36ed1c7-ded9-4db6-a024-7557c6c16aab" providerId="ADAL" clId="{850367E2-D1DC-4F4F-AB68-F97A22BA04E8}" dt="2023-03-07T16:56:25.857" v="513" actId="1076"/>
          <ac:spMkLst>
            <pc:docMk/>
            <pc:sldMk cId="4092030658" sldId="2147378821"/>
            <ac:spMk id="42" creationId="{0D04E0C2-889D-555A-0D2D-C1A2E58BC152}"/>
          </ac:spMkLst>
        </pc:spChg>
        <pc:spChg chg="mod">
          <ac:chgData name="Alexis Pallain" userId="c36ed1c7-ded9-4db6-a024-7557c6c16aab" providerId="ADAL" clId="{850367E2-D1DC-4F4F-AB68-F97A22BA04E8}" dt="2023-03-07T16:56:25.857" v="513" actId="1076"/>
          <ac:spMkLst>
            <pc:docMk/>
            <pc:sldMk cId="4092030658" sldId="2147378821"/>
            <ac:spMk id="43" creationId="{87E6E0EB-AF82-F36C-D462-6AE69B90D1FD}"/>
          </ac:spMkLst>
        </pc:spChg>
        <pc:spChg chg="mod">
          <ac:chgData name="Alexis Pallain" userId="c36ed1c7-ded9-4db6-a024-7557c6c16aab" providerId="ADAL" clId="{850367E2-D1DC-4F4F-AB68-F97A22BA04E8}" dt="2023-03-07T16:56:25.857" v="513" actId="1076"/>
          <ac:spMkLst>
            <pc:docMk/>
            <pc:sldMk cId="4092030658" sldId="2147378821"/>
            <ac:spMk id="45" creationId="{A1417CCE-0CDB-3429-31A3-6AC92E3FEEBB}"/>
          </ac:spMkLst>
        </pc:spChg>
        <pc:spChg chg="mod">
          <ac:chgData name="Alexis Pallain" userId="c36ed1c7-ded9-4db6-a024-7557c6c16aab" providerId="ADAL" clId="{850367E2-D1DC-4F4F-AB68-F97A22BA04E8}" dt="2023-03-07T16:56:25.857" v="513" actId="1076"/>
          <ac:spMkLst>
            <pc:docMk/>
            <pc:sldMk cId="4092030658" sldId="2147378821"/>
            <ac:spMk id="46" creationId="{1504D7DE-DABE-AA37-D149-4F3C161403A8}"/>
          </ac:spMkLst>
        </pc:spChg>
        <pc:spChg chg="mod">
          <ac:chgData name="Alexis Pallain" userId="c36ed1c7-ded9-4db6-a024-7557c6c16aab" providerId="ADAL" clId="{850367E2-D1DC-4F4F-AB68-F97A22BA04E8}" dt="2023-03-07T16:56:25.857" v="513" actId="1076"/>
          <ac:spMkLst>
            <pc:docMk/>
            <pc:sldMk cId="4092030658" sldId="2147378821"/>
            <ac:spMk id="47" creationId="{D7E3EFAC-3E55-9BDE-A047-8A63BCCC4C61}"/>
          </ac:spMkLst>
        </pc:spChg>
        <pc:spChg chg="mod">
          <ac:chgData name="Alexis Pallain" userId="c36ed1c7-ded9-4db6-a024-7557c6c16aab" providerId="ADAL" clId="{850367E2-D1DC-4F4F-AB68-F97A22BA04E8}" dt="2023-03-07T16:56:25.857" v="513" actId="1076"/>
          <ac:spMkLst>
            <pc:docMk/>
            <pc:sldMk cId="4092030658" sldId="2147378821"/>
            <ac:spMk id="48" creationId="{3AA1E834-8804-1AD0-D7D7-E2EC62C28A52}"/>
          </ac:spMkLst>
        </pc:spChg>
        <pc:spChg chg="mod">
          <ac:chgData name="Alexis Pallain" userId="c36ed1c7-ded9-4db6-a024-7557c6c16aab" providerId="ADAL" clId="{850367E2-D1DC-4F4F-AB68-F97A22BA04E8}" dt="2023-03-07T16:56:25.857" v="513" actId="1076"/>
          <ac:spMkLst>
            <pc:docMk/>
            <pc:sldMk cId="4092030658" sldId="2147378821"/>
            <ac:spMk id="49" creationId="{5B2F6736-E4A4-B96E-F9E4-FC20F03CFD98}"/>
          </ac:spMkLst>
        </pc:spChg>
        <pc:spChg chg="mod">
          <ac:chgData name="Alexis Pallain" userId="c36ed1c7-ded9-4db6-a024-7557c6c16aab" providerId="ADAL" clId="{850367E2-D1DC-4F4F-AB68-F97A22BA04E8}" dt="2023-03-07T16:56:25.857" v="513" actId="1076"/>
          <ac:spMkLst>
            <pc:docMk/>
            <pc:sldMk cId="4092030658" sldId="2147378821"/>
            <ac:spMk id="50" creationId="{3AC17144-D7A8-F9B4-4EC0-45B1D5D44AB3}"/>
          </ac:spMkLst>
        </pc:spChg>
        <pc:spChg chg="mod">
          <ac:chgData name="Alexis Pallain" userId="c36ed1c7-ded9-4db6-a024-7557c6c16aab" providerId="ADAL" clId="{850367E2-D1DC-4F4F-AB68-F97A22BA04E8}" dt="2023-03-07T16:56:25.857" v="513" actId="1076"/>
          <ac:spMkLst>
            <pc:docMk/>
            <pc:sldMk cId="4092030658" sldId="2147378821"/>
            <ac:spMk id="51" creationId="{B6C329F4-9909-1917-F6D5-0D91BF257402}"/>
          </ac:spMkLst>
        </pc:spChg>
        <pc:spChg chg="mod">
          <ac:chgData name="Alexis Pallain" userId="c36ed1c7-ded9-4db6-a024-7557c6c16aab" providerId="ADAL" clId="{850367E2-D1DC-4F4F-AB68-F97A22BA04E8}" dt="2023-03-07T16:56:25.857" v="513" actId="1076"/>
          <ac:spMkLst>
            <pc:docMk/>
            <pc:sldMk cId="4092030658" sldId="2147378821"/>
            <ac:spMk id="52" creationId="{590F02D5-CBB5-D582-A988-3BFF41554695}"/>
          </ac:spMkLst>
        </pc:spChg>
        <pc:spChg chg="mod">
          <ac:chgData name="Alexis Pallain" userId="c36ed1c7-ded9-4db6-a024-7557c6c16aab" providerId="ADAL" clId="{850367E2-D1DC-4F4F-AB68-F97A22BA04E8}" dt="2023-03-07T16:56:25.857" v="513" actId="1076"/>
          <ac:spMkLst>
            <pc:docMk/>
            <pc:sldMk cId="4092030658" sldId="2147378821"/>
            <ac:spMk id="53" creationId="{D89F7A94-247F-0B99-257B-EC2B099840DC}"/>
          </ac:spMkLst>
        </pc:spChg>
        <pc:spChg chg="mod">
          <ac:chgData name="Alexis Pallain" userId="c36ed1c7-ded9-4db6-a024-7557c6c16aab" providerId="ADAL" clId="{850367E2-D1DC-4F4F-AB68-F97A22BA04E8}" dt="2023-03-07T16:56:25.857" v="513" actId="1076"/>
          <ac:spMkLst>
            <pc:docMk/>
            <pc:sldMk cId="4092030658" sldId="2147378821"/>
            <ac:spMk id="54" creationId="{B59C53CC-4083-3A0B-943F-4DD648A84AB1}"/>
          </ac:spMkLst>
        </pc:spChg>
        <pc:spChg chg="mod">
          <ac:chgData name="Alexis Pallain" userId="c36ed1c7-ded9-4db6-a024-7557c6c16aab" providerId="ADAL" clId="{850367E2-D1DC-4F4F-AB68-F97A22BA04E8}" dt="2023-03-07T16:56:25.857" v="513" actId="1076"/>
          <ac:spMkLst>
            <pc:docMk/>
            <pc:sldMk cId="4092030658" sldId="2147378821"/>
            <ac:spMk id="55" creationId="{BC4C67B4-CCB8-6E7E-66F1-B3B9C4D233F4}"/>
          </ac:spMkLst>
        </pc:spChg>
        <pc:spChg chg="mod">
          <ac:chgData name="Alexis Pallain" userId="c36ed1c7-ded9-4db6-a024-7557c6c16aab" providerId="ADAL" clId="{850367E2-D1DC-4F4F-AB68-F97A22BA04E8}" dt="2023-03-07T16:56:25.857" v="513" actId="1076"/>
          <ac:spMkLst>
            <pc:docMk/>
            <pc:sldMk cId="4092030658" sldId="2147378821"/>
            <ac:spMk id="56" creationId="{7CD1201E-C79A-CDEF-1984-5DCD5AD52F41}"/>
          </ac:spMkLst>
        </pc:spChg>
        <pc:spChg chg="mod">
          <ac:chgData name="Alexis Pallain" userId="c36ed1c7-ded9-4db6-a024-7557c6c16aab" providerId="ADAL" clId="{850367E2-D1DC-4F4F-AB68-F97A22BA04E8}" dt="2023-03-07T16:56:25.857" v="513" actId="1076"/>
          <ac:spMkLst>
            <pc:docMk/>
            <pc:sldMk cId="4092030658" sldId="2147378821"/>
            <ac:spMk id="57" creationId="{C5381F20-26FF-5812-E38A-B82EABB935D9}"/>
          </ac:spMkLst>
        </pc:spChg>
        <pc:spChg chg="mod">
          <ac:chgData name="Alexis Pallain" userId="c36ed1c7-ded9-4db6-a024-7557c6c16aab" providerId="ADAL" clId="{850367E2-D1DC-4F4F-AB68-F97A22BA04E8}" dt="2023-03-07T16:56:25.857" v="513" actId="1076"/>
          <ac:spMkLst>
            <pc:docMk/>
            <pc:sldMk cId="4092030658" sldId="2147378821"/>
            <ac:spMk id="58" creationId="{11714009-6765-5334-2918-EBB8691E883B}"/>
          </ac:spMkLst>
        </pc:spChg>
        <pc:spChg chg="mod">
          <ac:chgData name="Alexis Pallain" userId="c36ed1c7-ded9-4db6-a024-7557c6c16aab" providerId="ADAL" clId="{850367E2-D1DC-4F4F-AB68-F97A22BA04E8}" dt="2023-03-07T16:56:25.857" v="513" actId="1076"/>
          <ac:spMkLst>
            <pc:docMk/>
            <pc:sldMk cId="4092030658" sldId="2147378821"/>
            <ac:spMk id="59" creationId="{DFDE5CEC-5006-73BA-8B0B-7929D9F2E4FE}"/>
          </ac:spMkLst>
        </pc:spChg>
        <pc:spChg chg="mod">
          <ac:chgData name="Alexis Pallain" userId="c36ed1c7-ded9-4db6-a024-7557c6c16aab" providerId="ADAL" clId="{850367E2-D1DC-4F4F-AB68-F97A22BA04E8}" dt="2023-03-07T16:56:25.857" v="513" actId="1076"/>
          <ac:spMkLst>
            <pc:docMk/>
            <pc:sldMk cId="4092030658" sldId="2147378821"/>
            <ac:spMk id="60" creationId="{C0AB8F2F-37D0-35E9-2B85-60B568A3729A}"/>
          </ac:spMkLst>
        </pc:spChg>
        <pc:spChg chg="mod">
          <ac:chgData name="Alexis Pallain" userId="c36ed1c7-ded9-4db6-a024-7557c6c16aab" providerId="ADAL" clId="{850367E2-D1DC-4F4F-AB68-F97A22BA04E8}" dt="2023-03-07T16:56:25.857" v="513" actId="1076"/>
          <ac:spMkLst>
            <pc:docMk/>
            <pc:sldMk cId="4092030658" sldId="2147378821"/>
            <ac:spMk id="61" creationId="{46E90FB1-0086-3920-DC05-D032514CD920}"/>
          </ac:spMkLst>
        </pc:spChg>
        <pc:spChg chg="mod">
          <ac:chgData name="Alexis Pallain" userId="c36ed1c7-ded9-4db6-a024-7557c6c16aab" providerId="ADAL" clId="{850367E2-D1DC-4F4F-AB68-F97A22BA04E8}" dt="2023-03-07T16:56:25.857" v="513" actId="1076"/>
          <ac:spMkLst>
            <pc:docMk/>
            <pc:sldMk cId="4092030658" sldId="2147378821"/>
            <ac:spMk id="62" creationId="{9669F2A3-A32F-9FD8-76D1-598DD99429DA}"/>
          </ac:spMkLst>
        </pc:spChg>
        <pc:spChg chg="mod">
          <ac:chgData name="Alexis Pallain" userId="c36ed1c7-ded9-4db6-a024-7557c6c16aab" providerId="ADAL" clId="{850367E2-D1DC-4F4F-AB68-F97A22BA04E8}" dt="2023-03-07T16:56:25.857" v="513" actId="1076"/>
          <ac:spMkLst>
            <pc:docMk/>
            <pc:sldMk cId="4092030658" sldId="2147378821"/>
            <ac:spMk id="63" creationId="{62CAFC4D-275D-79A6-D430-0DCEB87242C9}"/>
          </ac:spMkLst>
        </pc:spChg>
        <pc:spChg chg="mod">
          <ac:chgData name="Alexis Pallain" userId="c36ed1c7-ded9-4db6-a024-7557c6c16aab" providerId="ADAL" clId="{850367E2-D1DC-4F4F-AB68-F97A22BA04E8}" dt="2023-03-07T16:56:25.857" v="513" actId="1076"/>
          <ac:spMkLst>
            <pc:docMk/>
            <pc:sldMk cId="4092030658" sldId="2147378821"/>
            <ac:spMk id="64" creationId="{42E774DA-CB2B-C82F-7B84-00A240E221E9}"/>
          </ac:spMkLst>
        </pc:spChg>
        <pc:spChg chg="mod">
          <ac:chgData name="Alexis Pallain" userId="c36ed1c7-ded9-4db6-a024-7557c6c16aab" providerId="ADAL" clId="{850367E2-D1DC-4F4F-AB68-F97A22BA04E8}" dt="2023-03-07T16:56:25.857" v="513" actId="1076"/>
          <ac:spMkLst>
            <pc:docMk/>
            <pc:sldMk cId="4092030658" sldId="2147378821"/>
            <ac:spMk id="65" creationId="{76A80499-4FFD-51AC-C1E8-0D1B7FB8C790}"/>
          </ac:spMkLst>
        </pc:spChg>
        <pc:spChg chg="mod">
          <ac:chgData name="Alexis Pallain" userId="c36ed1c7-ded9-4db6-a024-7557c6c16aab" providerId="ADAL" clId="{850367E2-D1DC-4F4F-AB68-F97A22BA04E8}" dt="2023-03-07T16:56:25.857" v="513" actId="1076"/>
          <ac:spMkLst>
            <pc:docMk/>
            <pc:sldMk cId="4092030658" sldId="2147378821"/>
            <ac:spMk id="66" creationId="{88FA47CA-13E0-8DD2-FF92-CF7B8C2CFAE2}"/>
          </ac:spMkLst>
        </pc:spChg>
        <pc:spChg chg="mod">
          <ac:chgData name="Alexis Pallain" userId="c36ed1c7-ded9-4db6-a024-7557c6c16aab" providerId="ADAL" clId="{850367E2-D1DC-4F4F-AB68-F97A22BA04E8}" dt="2023-03-07T16:56:25.857" v="513" actId="1076"/>
          <ac:spMkLst>
            <pc:docMk/>
            <pc:sldMk cId="4092030658" sldId="2147378821"/>
            <ac:spMk id="67" creationId="{F4144341-25EA-A856-7838-4351EE63CB0B}"/>
          </ac:spMkLst>
        </pc:spChg>
        <pc:spChg chg="mod">
          <ac:chgData name="Alexis Pallain" userId="c36ed1c7-ded9-4db6-a024-7557c6c16aab" providerId="ADAL" clId="{850367E2-D1DC-4F4F-AB68-F97A22BA04E8}" dt="2023-03-07T16:56:25.857" v="513" actId="1076"/>
          <ac:spMkLst>
            <pc:docMk/>
            <pc:sldMk cId="4092030658" sldId="2147378821"/>
            <ac:spMk id="68" creationId="{2E9092A9-255A-91D6-75F6-4B9437AA2456}"/>
          </ac:spMkLst>
        </pc:spChg>
        <pc:spChg chg="mod">
          <ac:chgData name="Alexis Pallain" userId="c36ed1c7-ded9-4db6-a024-7557c6c16aab" providerId="ADAL" clId="{850367E2-D1DC-4F4F-AB68-F97A22BA04E8}" dt="2023-03-07T16:56:25.857" v="513" actId="1076"/>
          <ac:spMkLst>
            <pc:docMk/>
            <pc:sldMk cId="4092030658" sldId="2147378821"/>
            <ac:spMk id="69" creationId="{AF445AD1-61C4-138F-77A3-5EE2E06CCDFD}"/>
          </ac:spMkLst>
        </pc:spChg>
        <pc:spChg chg="mod">
          <ac:chgData name="Alexis Pallain" userId="c36ed1c7-ded9-4db6-a024-7557c6c16aab" providerId="ADAL" clId="{850367E2-D1DC-4F4F-AB68-F97A22BA04E8}" dt="2023-03-07T16:56:25.857" v="513" actId="1076"/>
          <ac:spMkLst>
            <pc:docMk/>
            <pc:sldMk cId="4092030658" sldId="2147378821"/>
            <ac:spMk id="70" creationId="{AF480DAB-B15B-6E8C-7DC3-C54A064EEBCF}"/>
          </ac:spMkLst>
        </pc:spChg>
        <pc:spChg chg="mod">
          <ac:chgData name="Alexis Pallain" userId="c36ed1c7-ded9-4db6-a024-7557c6c16aab" providerId="ADAL" clId="{850367E2-D1DC-4F4F-AB68-F97A22BA04E8}" dt="2023-03-07T16:56:25.857" v="513" actId="1076"/>
          <ac:spMkLst>
            <pc:docMk/>
            <pc:sldMk cId="4092030658" sldId="2147378821"/>
            <ac:spMk id="71" creationId="{8A67F5C9-0142-F59A-D49F-4A0709166209}"/>
          </ac:spMkLst>
        </pc:spChg>
        <pc:spChg chg="mod">
          <ac:chgData name="Alexis Pallain" userId="c36ed1c7-ded9-4db6-a024-7557c6c16aab" providerId="ADAL" clId="{850367E2-D1DC-4F4F-AB68-F97A22BA04E8}" dt="2023-03-07T16:56:25.857" v="513" actId="1076"/>
          <ac:spMkLst>
            <pc:docMk/>
            <pc:sldMk cId="4092030658" sldId="2147378821"/>
            <ac:spMk id="72" creationId="{3CA1DECC-3BD3-C4AF-4D48-BA23D0B2A6B6}"/>
          </ac:spMkLst>
        </pc:spChg>
        <pc:spChg chg="mod">
          <ac:chgData name="Alexis Pallain" userId="c36ed1c7-ded9-4db6-a024-7557c6c16aab" providerId="ADAL" clId="{850367E2-D1DC-4F4F-AB68-F97A22BA04E8}" dt="2023-03-07T16:56:25.857" v="513" actId="1076"/>
          <ac:spMkLst>
            <pc:docMk/>
            <pc:sldMk cId="4092030658" sldId="2147378821"/>
            <ac:spMk id="73" creationId="{48C130CC-6533-B7BE-28C7-673DE06168FC}"/>
          </ac:spMkLst>
        </pc:spChg>
        <pc:spChg chg="mod">
          <ac:chgData name="Alexis Pallain" userId="c36ed1c7-ded9-4db6-a024-7557c6c16aab" providerId="ADAL" clId="{850367E2-D1DC-4F4F-AB68-F97A22BA04E8}" dt="2023-03-07T16:56:25.857" v="513" actId="1076"/>
          <ac:spMkLst>
            <pc:docMk/>
            <pc:sldMk cId="4092030658" sldId="2147378821"/>
            <ac:spMk id="74" creationId="{E826C6D7-BC5D-DF00-A933-D9B814F8723C}"/>
          </ac:spMkLst>
        </pc:spChg>
        <pc:spChg chg="mod">
          <ac:chgData name="Alexis Pallain" userId="c36ed1c7-ded9-4db6-a024-7557c6c16aab" providerId="ADAL" clId="{850367E2-D1DC-4F4F-AB68-F97A22BA04E8}" dt="2023-03-07T16:56:25.857" v="513" actId="1076"/>
          <ac:spMkLst>
            <pc:docMk/>
            <pc:sldMk cId="4092030658" sldId="2147378821"/>
            <ac:spMk id="75" creationId="{DBDF27A0-9183-7A67-1745-DB9D28030C28}"/>
          </ac:spMkLst>
        </pc:spChg>
        <pc:spChg chg="mod">
          <ac:chgData name="Alexis Pallain" userId="c36ed1c7-ded9-4db6-a024-7557c6c16aab" providerId="ADAL" clId="{850367E2-D1DC-4F4F-AB68-F97A22BA04E8}" dt="2023-03-07T16:56:25.857" v="513" actId="1076"/>
          <ac:spMkLst>
            <pc:docMk/>
            <pc:sldMk cId="4092030658" sldId="2147378821"/>
            <ac:spMk id="76" creationId="{BE7A0E3B-CE08-7744-607E-0825A74671E5}"/>
          </ac:spMkLst>
        </pc:spChg>
        <pc:spChg chg="mod">
          <ac:chgData name="Alexis Pallain" userId="c36ed1c7-ded9-4db6-a024-7557c6c16aab" providerId="ADAL" clId="{850367E2-D1DC-4F4F-AB68-F97A22BA04E8}" dt="2023-03-07T16:56:25.857" v="513" actId="1076"/>
          <ac:spMkLst>
            <pc:docMk/>
            <pc:sldMk cId="4092030658" sldId="2147378821"/>
            <ac:spMk id="77" creationId="{8107F6E9-CC15-07A2-F65C-B4674FBD1D07}"/>
          </ac:spMkLst>
        </pc:spChg>
        <pc:spChg chg="mod">
          <ac:chgData name="Alexis Pallain" userId="c36ed1c7-ded9-4db6-a024-7557c6c16aab" providerId="ADAL" clId="{850367E2-D1DC-4F4F-AB68-F97A22BA04E8}" dt="2023-03-07T16:56:25.857" v="513" actId="1076"/>
          <ac:spMkLst>
            <pc:docMk/>
            <pc:sldMk cId="4092030658" sldId="2147378821"/>
            <ac:spMk id="78" creationId="{E2133915-C018-96F5-9812-4239D979E77E}"/>
          </ac:spMkLst>
        </pc:spChg>
        <pc:spChg chg="mod">
          <ac:chgData name="Alexis Pallain" userId="c36ed1c7-ded9-4db6-a024-7557c6c16aab" providerId="ADAL" clId="{850367E2-D1DC-4F4F-AB68-F97A22BA04E8}" dt="2023-03-07T16:56:25.857" v="513" actId="1076"/>
          <ac:spMkLst>
            <pc:docMk/>
            <pc:sldMk cId="4092030658" sldId="2147378821"/>
            <ac:spMk id="79" creationId="{881FB479-F26C-F394-2506-8AD0409314D8}"/>
          </ac:spMkLst>
        </pc:spChg>
        <pc:spChg chg="mod">
          <ac:chgData name="Alexis Pallain" userId="c36ed1c7-ded9-4db6-a024-7557c6c16aab" providerId="ADAL" clId="{850367E2-D1DC-4F4F-AB68-F97A22BA04E8}" dt="2023-03-07T16:56:25.857" v="513" actId="1076"/>
          <ac:spMkLst>
            <pc:docMk/>
            <pc:sldMk cId="4092030658" sldId="2147378821"/>
            <ac:spMk id="80" creationId="{8FE4FEC8-0CD5-B295-8014-0884077F3364}"/>
          </ac:spMkLst>
        </pc:spChg>
        <pc:spChg chg="mod">
          <ac:chgData name="Alexis Pallain" userId="c36ed1c7-ded9-4db6-a024-7557c6c16aab" providerId="ADAL" clId="{850367E2-D1DC-4F4F-AB68-F97A22BA04E8}" dt="2023-03-07T16:56:25.857" v="513" actId="1076"/>
          <ac:spMkLst>
            <pc:docMk/>
            <pc:sldMk cId="4092030658" sldId="2147378821"/>
            <ac:spMk id="81" creationId="{53BA0D74-FFF8-FCC3-21C9-0DBCE0BDE7AE}"/>
          </ac:spMkLst>
        </pc:spChg>
        <pc:spChg chg="mod">
          <ac:chgData name="Alexis Pallain" userId="c36ed1c7-ded9-4db6-a024-7557c6c16aab" providerId="ADAL" clId="{850367E2-D1DC-4F4F-AB68-F97A22BA04E8}" dt="2023-03-07T16:56:25.857" v="513" actId="1076"/>
          <ac:spMkLst>
            <pc:docMk/>
            <pc:sldMk cId="4092030658" sldId="2147378821"/>
            <ac:spMk id="82" creationId="{6B832E04-21CE-3207-A6F3-32906F945282}"/>
          </ac:spMkLst>
        </pc:spChg>
        <pc:spChg chg="mod">
          <ac:chgData name="Alexis Pallain" userId="c36ed1c7-ded9-4db6-a024-7557c6c16aab" providerId="ADAL" clId="{850367E2-D1DC-4F4F-AB68-F97A22BA04E8}" dt="2023-03-07T16:56:25.857" v="513" actId="1076"/>
          <ac:spMkLst>
            <pc:docMk/>
            <pc:sldMk cId="4092030658" sldId="2147378821"/>
            <ac:spMk id="83" creationId="{3FBE4B8A-C98A-B96A-3949-15009163FE97}"/>
          </ac:spMkLst>
        </pc:spChg>
        <pc:spChg chg="mod">
          <ac:chgData name="Alexis Pallain" userId="c36ed1c7-ded9-4db6-a024-7557c6c16aab" providerId="ADAL" clId="{850367E2-D1DC-4F4F-AB68-F97A22BA04E8}" dt="2023-03-07T16:56:25.857" v="513" actId="1076"/>
          <ac:spMkLst>
            <pc:docMk/>
            <pc:sldMk cId="4092030658" sldId="2147378821"/>
            <ac:spMk id="86" creationId="{94EBA1E0-CCA6-986A-B722-327223920150}"/>
          </ac:spMkLst>
        </pc:spChg>
        <pc:spChg chg="mod">
          <ac:chgData name="Alexis Pallain" userId="c36ed1c7-ded9-4db6-a024-7557c6c16aab" providerId="ADAL" clId="{850367E2-D1DC-4F4F-AB68-F97A22BA04E8}" dt="2023-03-07T16:56:25.857" v="513" actId="1076"/>
          <ac:spMkLst>
            <pc:docMk/>
            <pc:sldMk cId="4092030658" sldId="2147378821"/>
            <ac:spMk id="88" creationId="{1420FD71-CBDB-04A3-EFF0-E33620726E4E}"/>
          </ac:spMkLst>
        </pc:spChg>
        <pc:spChg chg="mod">
          <ac:chgData name="Alexis Pallain" userId="c36ed1c7-ded9-4db6-a024-7557c6c16aab" providerId="ADAL" clId="{850367E2-D1DC-4F4F-AB68-F97A22BA04E8}" dt="2023-03-07T16:56:25.857" v="513" actId="1076"/>
          <ac:spMkLst>
            <pc:docMk/>
            <pc:sldMk cId="4092030658" sldId="2147378821"/>
            <ac:spMk id="90" creationId="{3B188E51-0D45-5817-67A9-3E9FB04D9E14}"/>
          </ac:spMkLst>
        </pc:spChg>
        <pc:spChg chg="mod">
          <ac:chgData name="Alexis Pallain" userId="c36ed1c7-ded9-4db6-a024-7557c6c16aab" providerId="ADAL" clId="{850367E2-D1DC-4F4F-AB68-F97A22BA04E8}" dt="2023-03-07T16:56:25.857" v="513" actId="1076"/>
          <ac:spMkLst>
            <pc:docMk/>
            <pc:sldMk cId="4092030658" sldId="2147378821"/>
            <ac:spMk id="91" creationId="{713EC343-68F0-A0A2-9364-D40FDEFCF1CF}"/>
          </ac:spMkLst>
        </pc:spChg>
        <pc:spChg chg="mod">
          <ac:chgData name="Alexis Pallain" userId="c36ed1c7-ded9-4db6-a024-7557c6c16aab" providerId="ADAL" clId="{850367E2-D1DC-4F4F-AB68-F97A22BA04E8}" dt="2023-03-07T16:56:25.857" v="513" actId="1076"/>
          <ac:spMkLst>
            <pc:docMk/>
            <pc:sldMk cId="4092030658" sldId="2147378821"/>
            <ac:spMk id="92" creationId="{2FCB56AD-4552-7488-4DC2-A63FA44D29FC}"/>
          </ac:spMkLst>
        </pc:spChg>
        <pc:spChg chg="mod">
          <ac:chgData name="Alexis Pallain" userId="c36ed1c7-ded9-4db6-a024-7557c6c16aab" providerId="ADAL" clId="{850367E2-D1DC-4F4F-AB68-F97A22BA04E8}" dt="2023-03-07T16:56:25.857" v="513" actId="1076"/>
          <ac:spMkLst>
            <pc:docMk/>
            <pc:sldMk cId="4092030658" sldId="2147378821"/>
            <ac:spMk id="93" creationId="{FD7C9EAC-0FDB-50C8-FF58-37AFCED7A0FD}"/>
          </ac:spMkLst>
        </pc:spChg>
        <pc:spChg chg="mod">
          <ac:chgData name="Alexis Pallain" userId="c36ed1c7-ded9-4db6-a024-7557c6c16aab" providerId="ADAL" clId="{850367E2-D1DC-4F4F-AB68-F97A22BA04E8}" dt="2023-03-07T16:56:25.857" v="513" actId="1076"/>
          <ac:spMkLst>
            <pc:docMk/>
            <pc:sldMk cId="4092030658" sldId="2147378821"/>
            <ac:spMk id="95" creationId="{81E1A959-70FE-1990-96FA-C0097430773D}"/>
          </ac:spMkLst>
        </pc:spChg>
        <pc:spChg chg="mod">
          <ac:chgData name="Alexis Pallain" userId="c36ed1c7-ded9-4db6-a024-7557c6c16aab" providerId="ADAL" clId="{850367E2-D1DC-4F4F-AB68-F97A22BA04E8}" dt="2023-03-07T16:56:25.857" v="513" actId="1076"/>
          <ac:spMkLst>
            <pc:docMk/>
            <pc:sldMk cId="4092030658" sldId="2147378821"/>
            <ac:spMk id="97" creationId="{8A8E0B4B-0CF1-C476-9E4C-F4EA521628F4}"/>
          </ac:spMkLst>
        </pc:spChg>
        <pc:spChg chg="mod">
          <ac:chgData name="Alexis Pallain" userId="c36ed1c7-ded9-4db6-a024-7557c6c16aab" providerId="ADAL" clId="{850367E2-D1DC-4F4F-AB68-F97A22BA04E8}" dt="2023-03-07T16:56:25.857" v="513" actId="1076"/>
          <ac:spMkLst>
            <pc:docMk/>
            <pc:sldMk cId="4092030658" sldId="2147378821"/>
            <ac:spMk id="98" creationId="{C8A613AA-8253-D587-B349-2561DC42F088}"/>
          </ac:spMkLst>
        </pc:spChg>
        <pc:spChg chg="mod">
          <ac:chgData name="Alexis Pallain" userId="c36ed1c7-ded9-4db6-a024-7557c6c16aab" providerId="ADAL" clId="{850367E2-D1DC-4F4F-AB68-F97A22BA04E8}" dt="2023-03-07T16:56:25.857" v="513" actId="1076"/>
          <ac:spMkLst>
            <pc:docMk/>
            <pc:sldMk cId="4092030658" sldId="2147378821"/>
            <ac:spMk id="99" creationId="{63E54743-4CAE-9F4C-DF78-712D379D09B8}"/>
          </ac:spMkLst>
        </pc:spChg>
        <pc:spChg chg="mod">
          <ac:chgData name="Alexis Pallain" userId="c36ed1c7-ded9-4db6-a024-7557c6c16aab" providerId="ADAL" clId="{850367E2-D1DC-4F4F-AB68-F97A22BA04E8}" dt="2023-03-07T16:56:25.857" v="513" actId="1076"/>
          <ac:spMkLst>
            <pc:docMk/>
            <pc:sldMk cId="4092030658" sldId="2147378821"/>
            <ac:spMk id="100" creationId="{62EE1116-C024-BB41-0D92-F62BC6B9FD96}"/>
          </ac:spMkLst>
        </pc:spChg>
        <pc:spChg chg="mod">
          <ac:chgData name="Alexis Pallain" userId="c36ed1c7-ded9-4db6-a024-7557c6c16aab" providerId="ADAL" clId="{850367E2-D1DC-4F4F-AB68-F97A22BA04E8}" dt="2023-03-07T16:56:25.857" v="513" actId="1076"/>
          <ac:spMkLst>
            <pc:docMk/>
            <pc:sldMk cId="4092030658" sldId="2147378821"/>
            <ac:spMk id="101" creationId="{EE607128-C015-79F1-3B34-7F314577E703}"/>
          </ac:spMkLst>
        </pc:spChg>
        <pc:spChg chg="mod">
          <ac:chgData name="Alexis Pallain" userId="c36ed1c7-ded9-4db6-a024-7557c6c16aab" providerId="ADAL" clId="{850367E2-D1DC-4F4F-AB68-F97A22BA04E8}" dt="2023-03-07T16:56:25.857" v="513" actId="1076"/>
          <ac:spMkLst>
            <pc:docMk/>
            <pc:sldMk cId="4092030658" sldId="2147378821"/>
            <ac:spMk id="102" creationId="{B6B9A5D8-2761-68EC-558E-1863B77D07D4}"/>
          </ac:spMkLst>
        </pc:spChg>
        <pc:spChg chg="mod">
          <ac:chgData name="Alexis Pallain" userId="c36ed1c7-ded9-4db6-a024-7557c6c16aab" providerId="ADAL" clId="{850367E2-D1DC-4F4F-AB68-F97A22BA04E8}" dt="2023-03-07T16:56:25.857" v="513" actId="1076"/>
          <ac:spMkLst>
            <pc:docMk/>
            <pc:sldMk cId="4092030658" sldId="2147378821"/>
            <ac:spMk id="103" creationId="{8C4A0286-F3F8-DC4C-2B9A-4399D74146B0}"/>
          </ac:spMkLst>
        </pc:spChg>
        <pc:spChg chg="mod">
          <ac:chgData name="Alexis Pallain" userId="c36ed1c7-ded9-4db6-a024-7557c6c16aab" providerId="ADAL" clId="{850367E2-D1DC-4F4F-AB68-F97A22BA04E8}" dt="2023-03-07T16:56:25.857" v="513" actId="1076"/>
          <ac:spMkLst>
            <pc:docMk/>
            <pc:sldMk cId="4092030658" sldId="2147378821"/>
            <ac:spMk id="104" creationId="{2EE7F987-66EB-52B8-9736-DAB6295395B0}"/>
          </ac:spMkLst>
        </pc:spChg>
        <pc:spChg chg="mod">
          <ac:chgData name="Alexis Pallain" userId="c36ed1c7-ded9-4db6-a024-7557c6c16aab" providerId="ADAL" clId="{850367E2-D1DC-4F4F-AB68-F97A22BA04E8}" dt="2023-03-07T16:56:25.857" v="513" actId="1076"/>
          <ac:spMkLst>
            <pc:docMk/>
            <pc:sldMk cId="4092030658" sldId="2147378821"/>
            <ac:spMk id="105" creationId="{7E72FAEB-61E5-AB4A-367D-8B4AEF232F78}"/>
          </ac:spMkLst>
        </pc:spChg>
        <pc:spChg chg="mod">
          <ac:chgData name="Alexis Pallain" userId="c36ed1c7-ded9-4db6-a024-7557c6c16aab" providerId="ADAL" clId="{850367E2-D1DC-4F4F-AB68-F97A22BA04E8}" dt="2023-03-07T16:56:25.857" v="513" actId="1076"/>
          <ac:spMkLst>
            <pc:docMk/>
            <pc:sldMk cId="4092030658" sldId="2147378821"/>
            <ac:spMk id="106" creationId="{749E7967-9EC1-2908-08E9-2E052449062C}"/>
          </ac:spMkLst>
        </pc:spChg>
        <pc:spChg chg="mod">
          <ac:chgData name="Alexis Pallain" userId="c36ed1c7-ded9-4db6-a024-7557c6c16aab" providerId="ADAL" clId="{850367E2-D1DC-4F4F-AB68-F97A22BA04E8}" dt="2023-03-07T16:56:25.857" v="513" actId="1076"/>
          <ac:spMkLst>
            <pc:docMk/>
            <pc:sldMk cId="4092030658" sldId="2147378821"/>
            <ac:spMk id="107" creationId="{3D80E6AC-2F82-EDD0-E568-940CA545FC74}"/>
          </ac:spMkLst>
        </pc:spChg>
        <pc:spChg chg="mod">
          <ac:chgData name="Alexis Pallain" userId="c36ed1c7-ded9-4db6-a024-7557c6c16aab" providerId="ADAL" clId="{850367E2-D1DC-4F4F-AB68-F97A22BA04E8}" dt="2023-03-07T16:56:25.857" v="513" actId="1076"/>
          <ac:spMkLst>
            <pc:docMk/>
            <pc:sldMk cId="4092030658" sldId="2147378821"/>
            <ac:spMk id="108" creationId="{2439B9E1-51A1-F9E1-6C64-787A7763C0A5}"/>
          </ac:spMkLst>
        </pc:spChg>
        <pc:spChg chg="mod">
          <ac:chgData name="Alexis Pallain" userId="c36ed1c7-ded9-4db6-a024-7557c6c16aab" providerId="ADAL" clId="{850367E2-D1DC-4F4F-AB68-F97A22BA04E8}" dt="2023-03-07T16:56:25.857" v="513" actId="1076"/>
          <ac:spMkLst>
            <pc:docMk/>
            <pc:sldMk cId="4092030658" sldId="2147378821"/>
            <ac:spMk id="109" creationId="{4F83EBD7-2828-F14F-3AC3-10CD08699F05}"/>
          </ac:spMkLst>
        </pc:spChg>
        <pc:spChg chg="mod">
          <ac:chgData name="Alexis Pallain" userId="c36ed1c7-ded9-4db6-a024-7557c6c16aab" providerId="ADAL" clId="{850367E2-D1DC-4F4F-AB68-F97A22BA04E8}" dt="2023-03-07T16:56:25.857" v="513" actId="1076"/>
          <ac:spMkLst>
            <pc:docMk/>
            <pc:sldMk cId="4092030658" sldId="2147378821"/>
            <ac:spMk id="110" creationId="{741D9EFF-0F53-FD30-DADB-5E47E92D9F80}"/>
          </ac:spMkLst>
        </pc:spChg>
        <pc:spChg chg="mod">
          <ac:chgData name="Alexis Pallain" userId="c36ed1c7-ded9-4db6-a024-7557c6c16aab" providerId="ADAL" clId="{850367E2-D1DC-4F4F-AB68-F97A22BA04E8}" dt="2023-03-07T16:56:25.857" v="513" actId="1076"/>
          <ac:spMkLst>
            <pc:docMk/>
            <pc:sldMk cId="4092030658" sldId="2147378821"/>
            <ac:spMk id="111" creationId="{9D7279C5-6B22-1DC2-9700-9BC5329F3C4B}"/>
          </ac:spMkLst>
        </pc:spChg>
        <pc:spChg chg="mod">
          <ac:chgData name="Alexis Pallain" userId="c36ed1c7-ded9-4db6-a024-7557c6c16aab" providerId="ADAL" clId="{850367E2-D1DC-4F4F-AB68-F97A22BA04E8}" dt="2023-03-07T16:56:25.857" v="513" actId="1076"/>
          <ac:spMkLst>
            <pc:docMk/>
            <pc:sldMk cId="4092030658" sldId="2147378821"/>
            <ac:spMk id="112" creationId="{D10256FC-1970-04DB-6FA6-8D8D9C5CF7B2}"/>
          </ac:spMkLst>
        </pc:spChg>
        <pc:spChg chg="mod">
          <ac:chgData name="Alexis Pallain" userId="c36ed1c7-ded9-4db6-a024-7557c6c16aab" providerId="ADAL" clId="{850367E2-D1DC-4F4F-AB68-F97A22BA04E8}" dt="2023-03-07T16:56:25.857" v="513" actId="1076"/>
          <ac:spMkLst>
            <pc:docMk/>
            <pc:sldMk cId="4092030658" sldId="2147378821"/>
            <ac:spMk id="113" creationId="{A6EA7525-0C1C-6228-BE7E-46BE6BA403B7}"/>
          </ac:spMkLst>
        </pc:spChg>
        <pc:spChg chg="mod">
          <ac:chgData name="Alexis Pallain" userId="c36ed1c7-ded9-4db6-a024-7557c6c16aab" providerId="ADAL" clId="{850367E2-D1DC-4F4F-AB68-F97A22BA04E8}" dt="2023-03-07T16:56:25.857" v="513" actId="1076"/>
          <ac:spMkLst>
            <pc:docMk/>
            <pc:sldMk cId="4092030658" sldId="2147378821"/>
            <ac:spMk id="114" creationId="{DF4E6DF3-9289-9EC9-0FC9-C6955384A1CA}"/>
          </ac:spMkLst>
        </pc:spChg>
        <pc:spChg chg="mod">
          <ac:chgData name="Alexis Pallain" userId="c36ed1c7-ded9-4db6-a024-7557c6c16aab" providerId="ADAL" clId="{850367E2-D1DC-4F4F-AB68-F97A22BA04E8}" dt="2023-03-07T16:56:25.857" v="513" actId="1076"/>
          <ac:spMkLst>
            <pc:docMk/>
            <pc:sldMk cId="4092030658" sldId="2147378821"/>
            <ac:spMk id="115" creationId="{1359B5DB-86D0-03F4-DADB-F42A9D70D715}"/>
          </ac:spMkLst>
        </pc:spChg>
        <pc:spChg chg="mod">
          <ac:chgData name="Alexis Pallain" userId="c36ed1c7-ded9-4db6-a024-7557c6c16aab" providerId="ADAL" clId="{850367E2-D1DC-4F4F-AB68-F97A22BA04E8}" dt="2023-03-07T16:56:25.857" v="513" actId="1076"/>
          <ac:spMkLst>
            <pc:docMk/>
            <pc:sldMk cId="4092030658" sldId="2147378821"/>
            <ac:spMk id="116" creationId="{8EE11CE7-F637-6939-6987-F11F08E81569}"/>
          </ac:spMkLst>
        </pc:spChg>
        <pc:spChg chg="mod">
          <ac:chgData name="Alexis Pallain" userId="c36ed1c7-ded9-4db6-a024-7557c6c16aab" providerId="ADAL" clId="{850367E2-D1DC-4F4F-AB68-F97A22BA04E8}" dt="2023-03-07T16:56:25.857" v="513" actId="1076"/>
          <ac:spMkLst>
            <pc:docMk/>
            <pc:sldMk cId="4092030658" sldId="2147378821"/>
            <ac:spMk id="117" creationId="{E9AB4D26-1425-1266-4763-4775ACF1A942}"/>
          </ac:spMkLst>
        </pc:spChg>
        <pc:spChg chg="mod">
          <ac:chgData name="Alexis Pallain" userId="c36ed1c7-ded9-4db6-a024-7557c6c16aab" providerId="ADAL" clId="{850367E2-D1DC-4F4F-AB68-F97A22BA04E8}" dt="2023-03-07T16:56:25.857" v="513" actId="1076"/>
          <ac:spMkLst>
            <pc:docMk/>
            <pc:sldMk cId="4092030658" sldId="2147378821"/>
            <ac:spMk id="118" creationId="{119DE911-12A4-B4D7-F554-662CB528A381}"/>
          </ac:spMkLst>
        </pc:spChg>
        <pc:spChg chg="mod">
          <ac:chgData name="Alexis Pallain" userId="c36ed1c7-ded9-4db6-a024-7557c6c16aab" providerId="ADAL" clId="{850367E2-D1DC-4F4F-AB68-F97A22BA04E8}" dt="2023-03-07T16:56:25.857" v="513" actId="1076"/>
          <ac:spMkLst>
            <pc:docMk/>
            <pc:sldMk cId="4092030658" sldId="2147378821"/>
            <ac:spMk id="119" creationId="{34D7A589-780A-6881-7C73-8CE17B5803B2}"/>
          </ac:spMkLst>
        </pc:spChg>
        <pc:spChg chg="mod">
          <ac:chgData name="Alexis Pallain" userId="c36ed1c7-ded9-4db6-a024-7557c6c16aab" providerId="ADAL" clId="{850367E2-D1DC-4F4F-AB68-F97A22BA04E8}" dt="2023-03-07T16:56:25.857" v="513" actId="1076"/>
          <ac:spMkLst>
            <pc:docMk/>
            <pc:sldMk cId="4092030658" sldId="2147378821"/>
            <ac:spMk id="120" creationId="{FBED5AF7-252B-20D0-0BA5-6E3317C4CD7F}"/>
          </ac:spMkLst>
        </pc:spChg>
        <pc:spChg chg="mod">
          <ac:chgData name="Alexis Pallain" userId="c36ed1c7-ded9-4db6-a024-7557c6c16aab" providerId="ADAL" clId="{850367E2-D1DC-4F4F-AB68-F97A22BA04E8}" dt="2023-03-07T16:56:25.857" v="513" actId="1076"/>
          <ac:spMkLst>
            <pc:docMk/>
            <pc:sldMk cId="4092030658" sldId="2147378821"/>
            <ac:spMk id="121" creationId="{7B77759D-DA5B-0C88-4551-8B04BFBB9E4E}"/>
          </ac:spMkLst>
        </pc:spChg>
        <pc:spChg chg="mod">
          <ac:chgData name="Alexis Pallain" userId="c36ed1c7-ded9-4db6-a024-7557c6c16aab" providerId="ADAL" clId="{850367E2-D1DC-4F4F-AB68-F97A22BA04E8}" dt="2023-03-07T16:56:25.857" v="513" actId="1076"/>
          <ac:spMkLst>
            <pc:docMk/>
            <pc:sldMk cId="4092030658" sldId="2147378821"/>
            <ac:spMk id="122" creationId="{F12B05A7-E42C-9C02-E9B5-B10FE395AEEE}"/>
          </ac:spMkLst>
        </pc:spChg>
        <pc:spChg chg="mod">
          <ac:chgData name="Alexis Pallain" userId="c36ed1c7-ded9-4db6-a024-7557c6c16aab" providerId="ADAL" clId="{850367E2-D1DC-4F4F-AB68-F97A22BA04E8}" dt="2023-03-07T16:56:25.857" v="513" actId="1076"/>
          <ac:spMkLst>
            <pc:docMk/>
            <pc:sldMk cId="4092030658" sldId="2147378821"/>
            <ac:spMk id="123" creationId="{E8CF7524-9454-B13B-42A4-097AFE7340F6}"/>
          </ac:spMkLst>
        </pc:spChg>
        <pc:spChg chg="mod">
          <ac:chgData name="Alexis Pallain" userId="c36ed1c7-ded9-4db6-a024-7557c6c16aab" providerId="ADAL" clId="{850367E2-D1DC-4F4F-AB68-F97A22BA04E8}" dt="2023-03-07T16:56:25.857" v="513" actId="1076"/>
          <ac:spMkLst>
            <pc:docMk/>
            <pc:sldMk cId="4092030658" sldId="2147378821"/>
            <ac:spMk id="124" creationId="{B5953BA4-E73A-F577-F724-784D53DAC849}"/>
          </ac:spMkLst>
        </pc:spChg>
        <pc:spChg chg="mod">
          <ac:chgData name="Alexis Pallain" userId="c36ed1c7-ded9-4db6-a024-7557c6c16aab" providerId="ADAL" clId="{850367E2-D1DC-4F4F-AB68-F97A22BA04E8}" dt="2023-03-07T16:56:25.857" v="513" actId="1076"/>
          <ac:spMkLst>
            <pc:docMk/>
            <pc:sldMk cId="4092030658" sldId="2147378821"/>
            <ac:spMk id="125" creationId="{DBC8ACD6-13A0-C530-E716-D8E5385E4C1B}"/>
          </ac:spMkLst>
        </pc:spChg>
        <pc:spChg chg="mod">
          <ac:chgData name="Alexis Pallain" userId="c36ed1c7-ded9-4db6-a024-7557c6c16aab" providerId="ADAL" clId="{850367E2-D1DC-4F4F-AB68-F97A22BA04E8}" dt="2023-03-07T16:56:25.857" v="513" actId="1076"/>
          <ac:spMkLst>
            <pc:docMk/>
            <pc:sldMk cId="4092030658" sldId="2147378821"/>
            <ac:spMk id="126" creationId="{4B5CBF2A-01EC-BA17-C916-17AC5AEA017A}"/>
          </ac:spMkLst>
        </pc:spChg>
        <pc:spChg chg="mod">
          <ac:chgData name="Alexis Pallain" userId="c36ed1c7-ded9-4db6-a024-7557c6c16aab" providerId="ADAL" clId="{850367E2-D1DC-4F4F-AB68-F97A22BA04E8}" dt="2023-03-07T16:56:25.857" v="513" actId="1076"/>
          <ac:spMkLst>
            <pc:docMk/>
            <pc:sldMk cId="4092030658" sldId="2147378821"/>
            <ac:spMk id="127" creationId="{0C4E9A72-00BD-733B-A825-AAC4BF117EAB}"/>
          </ac:spMkLst>
        </pc:spChg>
        <pc:spChg chg="mod">
          <ac:chgData name="Alexis Pallain" userId="c36ed1c7-ded9-4db6-a024-7557c6c16aab" providerId="ADAL" clId="{850367E2-D1DC-4F4F-AB68-F97A22BA04E8}" dt="2023-03-07T16:56:25.857" v="513" actId="1076"/>
          <ac:spMkLst>
            <pc:docMk/>
            <pc:sldMk cId="4092030658" sldId="2147378821"/>
            <ac:spMk id="128" creationId="{74619FAE-9D66-5ECF-4B09-D46A4E342128}"/>
          </ac:spMkLst>
        </pc:spChg>
        <pc:spChg chg="mod">
          <ac:chgData name="Alexis Pallain" userId="c36ed1c7-ded9-4db6-a024-7557c6c16aab" providerId="ADAL" clId="{850367E2-D1DC-4F4F-AB68-F97A22BA04E8}" dt="2023-03-07T16:56:25.857" v="513" actId="1076"/>
          <ac:spMkLst>
            <pc:docMk/>
            <pc:sldMk cId="4092030658" sldId="2147378821"/>
            <ac:spMk id="129" creationId="{1EE2FC37-DA53-FBD3-6D8E-3414700ADC91}"/>
          </ac:spMkLst>
        </pc:spChg>
        <pc:spChg chg="mod">
          <ac:chgData name="Alexis Pallain" userId="c36ed1c7-ded9-4db6-a024-7557c6c16aab" providerId="ADAL" clId="{850367E2-D1DC-4F4F-AB68-F97A22BA04E8}" dt="2023-03-07T16:56:25.857" v="513" actId="1076"/>
          <ac:spMkLst>
            <pc:docMk/>
            <pc:sldMk cId="4092030658" sldId="2147378821"/>
            <ac:spMk id="130" creationId="{638D50DB-E383-08CB-588C-D1D9432F646D}"/>
          </ac:spMkLst>
        </pc:spChg>
        <pc:spChg chg="mod">
          <ac:chgData name="Alexis Pallain" userId="c36ed1c7-ded9-4db6-a024-7557c6c16aab" providerId="ADAL" clId="{850367E2-D1DC-4F4F-AB68-F97A22BA04E8}" dt="2023-03-07T16:56:25.857" v="513" actId="1076"/>
          <ac:spMkLst>
            <pc:docMk/>
            <pc:sldMk cId="4092030658" sldId="2147378821"/>
            <ac:spMk id="131" creationId="{9C943F4F-669B-32ED-9D58-CB57598524E3}"/>
          </ac:spMkLst>
        </pc:spChg>
        <pc:spChg chg="mod">
          <ac:chgData name="Alexis Pallain" userId="c36ed1c7-ded9-4db6-a024-7557c6c16aab" providerId="ADAL" clId="{850367E2-D1DC-4F4F-AB68-F97A22BA04E8}" dt="2023-03-07T16:56:25.857" v="513" actId="1076"/>
          <ac:spMkLst>
            <pc:docMk/>
            <pc:sldMk cId="4092030658" sldId="2147378821"/>
            <ac:spMk id="132" creationId="{AD77FE22-BF4C-4FD8-0344-F14593FDD972}"/>
          </ac:spMkLst>
        </pc:spChg>
        <pc:spChg chg="mod">
          <ac:chgData name="Alexis Pallain" userId="c36ed1c7-ded9-4db6-a024-7557c6c16aab" providerId="ADAL" clId="{850367E2-D1DC-4F4F-AB68-F97A22BA04E8}" dt="2023-03-07T16:56:25.857" v="513" actId="1076"/>
          <ac:spMkLst>
            <pc:docMk/>
            <pc:sldMk cId="4092030658" sldId="2147378821"/>
            <ac:spMk id="133" creationId="{C7668782-1183-DA44-5169-964EE4C21292}"/>
          </ac:spMkLst>
        </pc:spChg>
        <pc:spChg chg="mod">
          <ac:chgData name="Alexis Pallain" userId="c36ed1c7-ded9-4db6-a024-7557c6c16aab" providerId="ADAL" clId="{850367E2-D1DC-4F4F-AB68-F97A22BA04E8}" dt="2023-03-07T16:56:25.857" v="513" actId="1076"/>
          <ac:spMkLst>
            <pc:docMk/>
            <pc:sldMk cId="4092030658" sldId="2147378821"/>
            <ac:spMk id="134" creationId="{EB6D353B-4363-55F8-E11E-3932096FFB14}"/>
          </ac:spMkLst>
        </pc:spChg>
        <pc:spChg chg="mod">
          <ac:chgData name="Alexis Pallain" userId="c36ed1c7-ded9-4db6-a024-7557c6c16aab" providerId="ADAL" clId="{850367E2-D1DC-4F4F-AB68-F97A22BA04E8}" dt="2023-03-07T16:56:25.857" v="513" actId="1076"/>
          <ac:spMkLst>
            <pc:docMk/>
            <pc:sldMk cId="4092030658" sldId="2147378821"/>
            <ac:spMk id="135" creationId="{6ABE9A25-17E0-83F6-8727-3957B4394815}"/>
          </ac:spMkLst>
        </pc:spChg>
        <pc:spChg chg="mod">
          <ac:chgData name="Alexis Pallain" userId="c36ed1c7-ded9-4db6-a024-7557c6c16aab" providerId="ADAL" clId="{850367E2-D1DC-4F4F-AB68-F97A22BA04E8}" dt="2023-03-07T16:56:25.857" v="513" actId="1076"/>
          <ac:spMkLst>
            <pc:docMk/>
            <pc:sldMk cId="4092030658" sldId="2147378821"/>
            <ac:spMk id="136" creationId="{2C01EFEB-DFFC-B398-0B4E-099DFD7ED1B5}"/>
          </ac:spMkLst>
        </pc:spChg>
        <pc:spChg chg="mod">
          <ac:chgData name="Alexis Pallain" userId="c36ed1c7-ded9-4db6-a024-7557c6c16aab" providerId="ADAL" clId="{850367E2-D1DC-4F4F-AB68-F97A22BA04E8}" dt="2023-03-07T16:56:25.857" v="513" actId="1076"/>
          <ac:spMkLst>
            <pc:docMk/>
            <pc:sldMk cId="4092030658" sldId="2147378821"/>
            <ac:spMk id="137" creationId="{3E22CCAD-AD52-F38A-9C60-E20BD4A48120}"/>
          </ac:spMkLst>
        </pc:spChg>
        <pc:spChg chg="mod">
          <ac:chgData name="Alexis Pallain" userId="c36ed1c7-ded9-4db6-a024-7557c6c16aab" providerId="ADAL" clId="{850367E2-D1DC-4F4F-AB68-F97A22BA04E8}" dt="2023-03-07T16:56:25.857" v="513" actId="1076"/>
          <ac:spMkLst>
            <pc:docMk/>
            <pc:sldMk cId="4092030658" sldId="2147378821"/>
            <ac:spMk id="138" creationId="{A95B5B0B-2596-5EAF-CF5F-A94D7F9ABE42}"/>
          </ac:spMkLst>
        </pc:spChg>
        <pc:spChg chg="mod">
          <ac:chgData name="Alexis Pallain" userId="c36ed1c7-ded9-4db6-a024-7557c6c16aab" providerId="ADAL" clId="{850367E2-D1DC-4F4F-AB68-F97A22BA04E8}" dt="2023-03-07T16:56:25.857" v="513" actId="1076"/>
          <ac:spMkLst>
            <pc:docMk/>
            <pc:sldMk cId="4092030658" sldId="2147378821"/>
            <ac:spMk id="139" creationId="{F05B6E46-8F10-7935-E0C1-ED849FCAC291}"/>
          </ac:spMkLst>
        </pc:spChg>
        <pc:spChg chg="mod">
          <ac:chgData name="Alexis Pallain" userId="c36ed1c7-ded9-4db6-a024-7557c6c16aab" providerId="ADAL" clId="{850367E2-D1DC-4F4F-AB68-F97A22BA04E8}" dt="2023-03-07T16:56:25.857" v="513" actId="1076"/>
          <ac:spMkLst>
            <pc:docMk/>
            <pc:sldMk cId="4092030658" sldId="2147378821"/>
            <ac:spMk id="140" creationId="{46C4332D-648D-76BE-DFBC-CAC217E0D861}"/>
          </ac:spMkLst>
        </pc:spChg>
        <pc:spChg chg="mod">
          <ac:chgData name="Alexis Pallain" userId="c36ed1c7-ded9-4db6-a024-7557c6c16aab" providerId="ADAL" clId="{850367E2-D1DC-4F4F-AB68-F97A22BA04E8}" dt="2023-03-07T16:56:25.857" v="513" actId="1076"/>
          <ac:spMkLst>
            <pc:docMk/>
            <pc:sldMk cId="4092030658" sldId="2147378821"/>
            <ac:spMk id="141" creationId="{A1A59CB9-FC45-0839-58DE-A1BC921F071D}"/>
          </ac:spMkLst>
        </pc:spChg>
        <pc:spChg chg="mod">
          <ac:chgData name="Alexis Pallain" userId="c36ed1c7-ded9-4db6-a024-7557c6c16aab" providerId="ADAL" clId="{850367E2-D1DC-4F4F-AB68-F97A22BA04E8}" dt="2023-03-07T16:56:25.857" v="513" actId="1076"/>
          <ac:spMkLst>
            <pc:docMk/>
            <pc:sldMk cId="4092030658" sldId="2147378821"/>
            <ac:spMk id="142" creationId="{08F55FA8-061D-9758-4C95-F16AE65783EE}"/>
          </ac:spMkLst>
        </pc:spChg>
        <pc:spChg chg="mod">
          <ac:chgData name="Alexis Pallain" userId="c36ed1c7-ded9-4db6-a024-7557c6c16aab" providerId="ADAL" clId="{850367E2-D1DC-4F4F-AB68-F97A22BA04E8}" dt="2023-03-07T16:56:25.857" v="513" actId="1076"/>
          <ac:spMkLst>
            <pc:docMk/>
            <pc:sldMk cId="4092030658" sldId="2147378821"/>
            <ac:spMk id="143" creationId="{D3F5A0DF-C42D-1EE2-EDC8-45FB60C5EA8F}"/>
          </ac:spMkLst>
        </pc:spChg>
        <pc:spChg chg="mod">
          <ac:chgData name="Alexis Pallain" userId="c36ed1c7-ded9-4db6-a024-7557c6c16aab" providerId="ADAL" clId="{850367E2-D1DC-4F4F-AB68-F97A22BA04E8}" dt="2023-03-07T16:56:25.857" v="513" actId="1076"/>
          <ac:spMkLst>
            <pc:docMk/>
            <pc:sldMk cId="4092030658" sldId="2147378821"/>
            <ac:spMk id="144" creationId="{D9626913-0A7C-ED2A-DFAD-375E778B3B58}"/>
          </ac:spMkLst>
        </pc:spChg>
        <pc:spChg chg="mod">
          <ac:chgData name="Alexis Pallain" userId="c36ed1c7-ded9-4db6-a024-7557c6c16aab" providerId="ADAL" clId="{850367E2-D1DC-4F4F-AB68-F97A22BA04E8}" dt="2023-03-07T16:56:25.857" v="513" actId="1076"/>
          <ac:spMkLst>
            <pc:docMk/>
            <pc:sldMk cId="4092030658" sldId="2147378821"/>
            <ac:spMk id="145" creationId="{50194CB9-7647-0BAF-95EA-77540712DBCE}"/>
          </ac:spMkLst>
        </pc:spChg>
        <pc:spChg chg="mod">
          <ac:chgData name="Alexis Pallain" userId="c36ed1c7-ded9-4db6-a024-7557c6c16aab" providerId="ADAL" clId="{850367E2-D1DC-4F4F-AB68-F97A22BA04E8}" dt="2023-03-07T16:56:25.857" v="513" actId="1076"/>
          <ac:spMkLst>
            <pc:docMk/>
            <pc:sldMk cId="4092030658" sldId="2147378821"/>
            <ac:spMk id="146" creationId="{7B09B017-9FE8-5786-E522-5483BF1DB246}"/>
          </ac:spMkLst>
        </pc:spChg>
        <pc:spChg chg="mod">
          <ac:chgData name="Alexis Pallain" userId="c36ed1c7-ded9-4db6-a024-7557c6c16aab" providerId="ADAL" clId="{850367E2-D1DC-4F4F-AB68-F97A22BA04E8}" dt="2023-03-07T16:56:25.857" v="513" actId="1076"/>
          <ac:spMkLst>
            <pc:docMk/>
            <pc:sldMk cId="4092030658" sldId="2147378821"/>
            <ac:spMk id="147" creationId="{D0B4E215-1D29-A77D-14E4-79CAB58F78F7}"/>
          </ac:spMkLst>
        </pc:spChg>
        <pc:spChg chg="mod">
          <ac:chgData name="Alexis Pallain" userId="c36ed1c7-ded9-4db6-a024-7557c6c16aab" providerId="ADAL" clId="{850367E2-D1DC-4F4F-AB68-F97A22BA04E8}" dt="2023-03-07T16:56:25.857" v="513" actId="1076"/>
          <ac:spMkLst>
            <pc:docMk/>
            <pc:sldMk cId="4092030658" sldId="2147378821"/>
            <ac:spMk id="148" creationId="{4E319204-4923-1110-2A4D-F6F63E5AF5D1}"/>
          </ac:spMkLst>
        </pc:spChg>
        <pc:spChg chg="mod">
          <ac:chgData name="Alexis Pallain" userId="c36ed1c7-ded9-4db6-a024-7557c6c16aab" providerId="ADAL" clId="{850367E2-D1DC-4F4F-AB68-F97A22BA04E8}" dt="2023-03-07T16:56:25.857" v="513" actId="1076"/>
          <ac:spMkLst>
            <pc:docMk/>
            <pc:sldMk cId="4092030658" sldId="2147378821"/>
            <ac:spMk id="149" creationId="{6DDA0671-C7D3-59F7-CC11-06BC62FD6EE2}"/>
          </ac:spMkLst>
        </pc:spChg>
        <pc:spChg chg="mod">
          <ac:chgData name="Alexis Pallain" userId="c36ed1c7-ded9-4db6-a024-7557c6c16aab" providerId="ADAL" clId="{850367E2-D1DC-4F4F-AB68-F97A22BA04E8}" dt="2023-03-07T16:56:25.857" v="513" actId="1076"/>
          <ac:spMkLst>
            <pc:docMk/>
            <pc:sldMk cId="4092030658" sldId="2147378821"/>
            <ac:spMk id="150" creationId="{7A24DE13-3A0E-A5B0-03F5-EFE16A290C69}"/>
          </ac:spMkLst>
        </pc:spChg>
        <pc:spChg chg="mod">
          <ac:chgData name="Alexis Pallain" userId="c36ed1c7-ded9-4db6-a024-7557c6c16aab" providerId="ADAL" clId="{850367E2-D1DC-4F4F-AB68-F97A22BA04E8}" dt="2023-03-07T16:56:25.857" v="513" actId="1076"/>
          <ac:spMkLst>
            <pc:docMk/>
            <pc:sldMk cId="4092030658" sldId="2147378821"/>
            <ac:spMk id="151" creationId="{D2F80036-588A-511F-2C8C-6E882E688EBD}"/>
          </ac:spMkLst>
        </pc:spChg>
        <pc:spChg chg="mod">
          <ac:chgData name="Alexis Pallain" userId="c36ed1c7-ded9-4db6-a024-7557c6c16aab" providerId="ADAL" clId="{850367E2-D1DC-4F4F-AB68-F97A22BA04E8}" dt="2023-03-07T16:56:25.857" v="513" actId="1076"/>
          <ac:spMkLst>
            <pc:docMk/>
            <pc:sldMk cId="4092030658" sldId="2147378821"/>
            <ac:spMk id="152" creationId="{9FEC9D24-4423-F086-99C2-BCBB06557FBC}"/>
          </ac:spMkLst>
        </pc:spChg>
        <pc:spChg chg="mod">
          <ac:chgData name="Alexis Pallain" userId="c36ed1c7-ded9-4db6-a024-7557c6c16aab" providerId="ADAL" clId="{850367E2-D1DC-4F4F-AB68-F97A22BA04E8}" dt="2023-03-07T16:56:25.857" v="513" actId="1076"/>
          <ac:spMkLst>
            <pc:docMk/>
            <pc:sldMk cId="4092030658" sldId="2147378821"/>
            <ac:spMk id="153" creationId="{30C0D043-37EC-E3B1-A19A-82512E436A49}"/>
          </ac:spMkLst>
        </pc:spChg>
        <pc:spChg chg="mod">
          <ac:chgData name="Alexis Pallain" userId="c36ed1c7-ded9-4db6-a024-7557c6c16aab" providerId="ADAL" clId="{850367E2-D1DC-4F4F-AB68-F97A22BA04E8}" dt="2023-03-07T16:56:25.857" v="513" actId="1076"/>
          <ac:spMkLst>
            <pc:docMk/>
            <pc:sldMk cId="4092030658" sldId="2147378821"/>
            <ac:spMk id="154" creationId="{A05F31CE-E408-2B90-8BC4-2C0CFD7AFAE6}"/>
          </ac:spMkLst>
        </pc:spChg>
        <pc:spChg chg="mod">
          <ac:chgData name="Alexis Pallain" userId="c36ed1c7-ded9-4db6-a024-7557c6c16aab" providerId="ADAL" clId="{850367E2-D1DC-4F4F-AB68-F97A22BA04E8}" dt="2023-03-07T16:56:25.857" v="513" actId="1076"/>
          <ac:spMkLst>
            <pc:docMk/>
            <pc:sldMk cId="4092030658" sldId="2147378821"/>
            <ac:spMk id="155" creationId="{DE4751E8-A819-6281-16F7-6B9A98D1927D}"/>
          </ac:spMkLst>
        </pc:spChg>
        <pc:spChg chg="mod">
          <ac:chgData name="Alexis Pallain" userId="c36ed1c7-ded9-4db6-a024-7557c6c16aab" providerId="ADAL" clId="{850367E2-D1DC-4F4F-AB68-F97A22BA04E8}" dt="2023-03-07T16:56:25.857" v="513" actId="1076"/>
          <ac:spMkLst>
            <pc:docMk/>
            <pc:sldMk cId="4092030658" sldId="2147378821"/>
            <ac:spMk id="156" creationId="{DADBC801-E929-42CF-8C32-5B69B1E2C95C}"/>
          </ac:spMkLst>
        </pc:spChg>
        <pc:spChg chg="mod">
          <ac:chgData name="Alexis Pallain" userId="c36ed1c7-ded9-4db6-a024-7557c6c16aab" providerId="ADAL" clId="{850367E2-D1DC-4F4F-AB68-F97A22BA04E8}" dt="2023-03-07T16:56:25.857" v="513" actId="1076"/>
          <ac:spMkLst>
            <pc:docMk/>
            <pc:sldMk cId="4092030658" sldId="2147378821"/>
            <ac:spMk id="157" creationId="{05B6FE8A-7F5F-1EE9-DBA7-B24BCF44CB88}"/>
          </ac:spMkLst>
        </pc:spChg>
        <pc:spChg chg="mod">
          <ac:chgData name="Alexis Pallain" userId="c36ed1c7-ded9-4db6-a024-7557c6c16aab" providerId="ADAL" clId="{850367E2-D1DC-4F4F-AB68-F97A22BA04E8}" dt="2023-03-07T16:56:25.857" v="513" actId="1076"/>
          <ac:spMkLst>
            <pc:docMk/>
            <pc:sldMk cId="4092030658" sldId="2147378821"/>
            <ac:spMk id="158" creationId="{0D88B2E9-F223-C181-657D-426BE743E06F}"/>
          </ac:spMkLst>
        </pc:spChg>
        <pc:spChg chg="mod">
          <ac:chgData name="Alexis Pallain" userId="c36ed1c7-ded9-4db6-a024-7557c6c16aab" providerId="ADAL" clId="{850367E2-D1DC-4F4F-AB68-F97A22BA04E8}" dt="2023-03-07T16:56:25.857" v="513" actId="1076"/>
          <ac:spMkLst>
            <pc:docMk/>
            <pc:sldMk cId="4092030658" sldId="2147378821"/>
            <ac:spMk id="159" creationId="{3443475F-4BCA-FF03-52BE-EAC9AAF030F4}"/>
          </ac:spMkLst>
        </pc:spChg>
        <pc:spChg chg="mod">
          <ac:chgData name="Alexis Pallain" userId="c36ed1c7-ded9-4db6-a024-7557c6c16aab" providerId="ADAL" clId="{850367E2-D1DC-4F4F-AB68-F97A22BA04E8}" dt="2023-03-07T16:56:25.857" v="513" actId="1076"/>
          <ac:spMkLst>
            <pc:docMk/>
            <pc:sldMk cId="4092030658" sldId="2147378821"/>
            <ac:spMk id="160" creationId="{9EDAEA9D-70DC-C308-CC3F-E2C9D105C3E4}"/>
          </ac:spMkLst>
        </pc:spChg>
        <pc:spChg chg="mod">
          <ac:chgData name="Alexis Pallain" userId="c36ed1c7-ded9-4db6-a024-7557c6c16aab" providerId="ADAL" clId="{850367E2-D1DC-4F4F-AB68-F97A22BA04E8}" dt="2023-03-07T16:56:25.857" v="513" actId="1076"/>
          <ac:spMkLst>
            <pc:docMk/>
            <pc:sldMk cId="4092030658" sldId="2147378821"/>
            <ac:spMk id="161" creationId="{CFF9B121-48CC-94E0-C233-C1B0F811EB82}"/>
          </ac:spMkLst>
        </pc:spChg>
        <pc:spChg chg="mod">
          <ac:chgData name="Alexis Pallain" userId="c36ed1c7-ded9-4db6-a024-7557c6c16aab" providerId="ADAL" clId="{850367E2-D1DC-4F4F-AB68-F97A22BA04E8}" dt="2023-03-07T16:56:25.857" v="513" actId="1076"/>
          <ac:spMkLst>
            <pc:docMk/>
            <pc:sldMk cId="4092030658" sldId="2147378821"/>
            <ac:spMk id="162" creationId="{0C0AD57D-44CC-9986-5EAF-FC00CF5482C2}"/>
          </ac:spMkLst>
        </pc:spChg>
        <pc:spChg chg="mod">
          <ac:chgData name="Alexis Pallain" userId="c36ed1c7-ded9-4db6-a024-7557c6c16aab" providerId="ADAL" clId="{850367E2-D1DC-4F4F-AB68-F97A22BA04E8}" dt="2023-03-07T16:56:25.857" v="513" actId="1076"/>
          <ac:spMkLst>
            <pc:docMk/>
            <pc:sldMk cId="4092030658" sldId="2147378821"/>
            <ac:spMk id="163" creationId="{3303F17B-0EDD-0D46-0B21-44CEE9111202}"/>
          </ac:spMkLst>
        </pc:spChg>
        <pc:spChg chg="mod">
          <ac:chgData name="Alexis Pallain" userId="c36ed1c7-ded9-4db6-a024-7557c6c16aab" providerId="ADAL" clId="{850367E2-D1DC-4F4F-AB68-F97A22BA04E8}" dt="2023-03-07T16:56:25.857" v="513" actId="1076"/>
          <ac:spMkLst>
            <pc:docMk/>
            <pc:sldMk cId="4092030658" sldId="2147378821"/>
            <ac:spMk id="164" creationId="{4EE3F849-331F-FC1B-E51C-86D64DFB4C16}"/>
          </ac:spMkLst>
        </pc:spChg>
        <pc:spChg chg="mod">
          <ac:chgData name="Alexis Pallain" userId="c36ed1c7-ded9-4db6-a024-7557c6c16aab" providerId="ADAL" clId="{850367E2-D1DC-4F4F-AB68-F97A22BA04E8}" dt="2023-03-07T16:56:25.857" v="513" actId="1076"/>
          <ac:spMkLst>
            <pc:docMk/>
            <pc:sldMk cId="4092030658" sldId="2147378821"/>
            <ac:spMk id="165" creationId="{DE3C075B-88F5-2078-5BA2-887EFC86077F}"/>
          </ac:spMkLst>
        </pc:spChg>
        <pc:spChg chg="mod">
          <ac:chgData name="Alexis Pallain" userId="c36ed1c7-ded9-4db6-a024-7557c6c16aab" providerId="ADAL" clId="{850367E2-D1DC-4F4F-AB68-F97A22BA04E8}" dt="2023-03-07T16:56:25.857" v="513" actId="1076"/>
          <ac:spMkLst>
            <pc:docMk/>
            <pc:sldMk cId="4092030658" sldId="2147378821"/>
            <ac:spMk id="166" creationId="{908F96FC-30C2-5009-6990-12E8C3BF74DB}"/>
          </ac:spMkLst>
        </pc:spChg>
        <pc:spChg chg="mod">
          <ac:chgData name="Alexis Pallain" userId="c36ed1c7-ded9-4db6-a024-7557c6c16aab" providerId="ADAL" clId="{850367E2-D1DC-4F4F-AB68-F97A22BA04E8}" dt="2023-03-07T16:56:25.857" v="513" actId="1076"/>
          <ac:spMkLst>
            <pc:docMk/>
            <pc:sldMk cId="4092030658" sldId="2147378821"/>
            <ac:spMk id="167" creationId="{9EAAC40F-935B-874C-3ED1-82FA2D7B4319}"/>
          </ac:spMkLst>
        </pc:spChg>
        <pc:spChg chg="mod">
          <ac:chgData name="Alexis Pallain" userId="c36ed1c7-ded9-4db6-a024-7557c6c16aab" providerId="ADAL" clId="{850367E2-D1DC-4F4F-AB68-F97A22BA04E8}" dt="2023-03-07T16:56:25.857" v="513" actId="1076"/>
          <ac:spMkLst>
            <pc:docMk/>
            <pc:sldMk cId="4092030658" sldId="2147378821"/>
            <ac:spMk id="168" creationId="{41D671ED-B42D-DDC7-F3F4-811B78A0255F}"/>
          </ac:spMkLst>
        </pc:spChg>
        <pc:spChg chg="mod">
          <ac:chgData name="Alexis Pallain" userId="c36ed1c7-ded9-4db6-a024-7557c6c16aab" providerId="ADAL" clId="{850367E2-D1DC-4F4F-AB68-F97A22BA04E8}" dt="2023-03-07T16:56:25.857" v="513" actId="1076"/>
          <ac:spMkLst>
            <pc:docMk/>
            <pc:sldMk cId="4092030658" sldId="2147378821"/>
            <ac:spMk id="169" creationId="{6E0F7DF3-527B-5025-E5CA-88E5A4EA3375}"/>
          </ac:spMkLst>
        </pc:spChg>
        <pc:spChg chg="mod">
          <ac:chgData name="Alexis Pallain" userId="c36ed1c7-ded9-4db6-a024-7557c6c16aab" providerId="ADAL" clId="{850367E2-D1DC-4F4F-AB68-F97A22BA04E8}" dt="2023-03-07T16:56:25.857" v="513" actId="1076"/>
          <ac:spMkLst>
            <pc:docMk/>
            <pc:sldMk cId="4092030658" sldId="2147378821"/>
            <ac:spMk id="170" creationId="{E220A16E-64DE-4E43-7405-D4FC0B65D51D}"/>
          </ac:spMkLst>
        </pc:spChg>
        <pc:spChg chg="mod">
          <ac:chgData name="Alexis Pallain" userId="c36ed1c7-ded9-4db6-a024-7557c6c16aab" providerId="ADAL" clId="{850367E2-D1DC-4F4F-AB68-F97A22BA04E8}" dt="2023-03-07T16:56:25.857" v="513" actId="1076"/>
          <ac:spMkLst>
            <pc:docMk/>
            <pc:sldMk cId="4092030658" sldId="2147378821"/>
            <ac:spMk id="171" creationId="{3FEBEB7F-EC3B-609C-9A53-F3EA2062477A}"/>
          </ac:spMkLst>
        </pc:spChg>
        <pc:spChg chg="mod">
          <ac:chgData name="Alexis Pallain" userId="c36ed1c7-ded9-4db6-a024-7557c6c16aab" providerId="ADAL" clId="{850367E2-D1DC-4F4F-AB68-F97A22BA04E8}" dt="2023-03-07T16:56:25.857" v="513" actId="1076"/>
          <ac:spMkLst>
            <pc:docMk/>
            <pc:sldMk cId="4092030658" sldId="2147378821"/>
            <ac:spMk id="172" creationId="{AF6C8383-01D3-C241-9896-EB5A8847CDA0}"/>
          </ac:spMkLst>
        </pc:spChg>
        <pc:spChg chg="mod">
          <ac:chgData name="Alexis Pallain" userId="c36ed1c7-ded9-4db6-a024-7557c6c16aab" providerId="ADAL" clId="{850367E2-D1DC-4F4F-AB68-F97A22BA04E8}" dt="2023-03-07T16:56:25.857" v="513" actId="1076"/>
          <ac:spMkLst>
            <pc:docMk/>
            <pc:sldMk cId="4092030658" sldId="2147378821"/>
            <ac:spMk id="173" creationId="{EE026DEC-6CBC-DF5F-46C1-8C5036FDFBBC}"/>
          </ac:spMkLst>
        </pc:spChg>
        <pc:spChg chg="mod">
          <ac:chgData name="Alexis Pallain" userId="c36ed1c7-ded9-4db6-a024-7557c6c16aab" providerId="ADAL" clId="{850367E2-D1DC-4F4F-AB68-F97A22BA04E8}" dt="2023-03-07T16:56:25.857" v="513" actId="1076"/>
          <ac:spMkLst>
            <pc:docMk/>
            <pc:sldMk cId="4092030658" sldId="2147378821"/>
            <ac:spMk id="174" creationId="{BB1B426A-1D34-175D-58CA-037A0D06F7BE}"/>
          </ac:spMkLst>
        </pc:spChg>
        <pc:spChg chg="mod">
          <ac:chgData name="Alexis Pallain" userId="c36ed1c7-ded9-4db6-a024-7557c6c16aab" providerId="ADAL" clId="{850367E2-D1DC-4F4F-AB68-F97A22BA04E8}" dt="2023-03-07T16:56:25.857" v="513" actId="1076"/>
          <ac:spMkLst>
            <pc:docMk/>
            <pc:sldMk cId="4092030658" sldId="2147378821"/>
            <ac:spMk id="175" creationId="{B08D2032-7822-12C7-790C-F13A6337D71F}"/>
          </ac:spMkLst>
        </pc:spChg>
        <pc:spChg chg="mod">
          <ac:chgData name="Alexis Pallain" userId="c36ed1c7-ded9-4db6-a024-7557c6c16aab" providerId="ADAL" clId="{850367E2-D1DC-4F4F-AB68-F97A22BA04E8}" dt="2023-03-07T16:56:25.857" v="513" actId="1076"/>
          <ac:spMkLst>
            <pc:docMk/>
            <pc:sldMk cId="4092030658" sldId="2147378821"/>
            <ac:spMk id="176" creationId="{3F05ADD0-BE3F-598C-9931-81C9C227BF24}"/>
          </ac:spMkLst>
        </pc:spChg>
        <pc:spChg chg="mod">
          <ac:chgData name="Alexis Pallain" userId="c36ed1c7-ded9-4db6-a024-7557c6c16aab" providerId="ADAL" clId="{850367E2-D1DC-4F4F-AB68-F97A22BA04E8}" dt="2023-03-07T16:56:25.857" v="513" actId="1076"/>
          <ac:spMkLst>
            <pc:docMk/>
            <pc:sldMk cId="4092030658" sldId="2147378821"/>
            <ac:spMk id="177" creationId="{F8ABB2FE-76FD-E92C-B713-8702854BCDD2}"/>
          </ac:spMkLst>
        </pc:spChg>
        <pc:spChg chg="mod">
          <ac:chgData name="Alexis Pallain" userId="c36ed1c7-ded9-4db6-a024-7557c6c16aab" providerId="ADAL" clId="{850367E2-D1DC-4F4F-AB68-F97A22BA04E8}" dt="2023-03-07T16:56:25.857" v="513" actId="1076"/>
          <ac:spMkLst>
            <pc:docMk/>
            <pc:sldMk cId="4092030658" sldId="2147378821"/>
            <ac:spMk id="178" creationId="{0734FF32-C67B-0A03-8F19-3D58FFF83FB5}"/>
          </ac:spMkLst>
        </pc:spChg>
        <pc:spChg chg="mod">
          <ac:chgData name="Alexis Pallain" userId="c36ed1c7-ded9-4db6-a024-7557c6c16aab" providerId="ADAL" clId="{850367E2-D1DC-4F4F-AB68-F97A22BA04E8}" dt="2023-03-07T16:56:25.857" v="513" actId="1076"/>
          <ac:spMkLst>
            <pc:docMk/>
            <pc:sldMk cId="4092030658" sldId="2147378821"/>
            <ac:spMk id="179" creationId="{9E410F59-DEA4-6658-FB18-264412AEC4D1}"/>
          </ac:spMkLst>
        </pc:spChg>
        <pc:spChg chg="mod">
          <ac:chgData name="Alexis Pallain" userId="c36ed1c7-ded9-4db6-a024-7557c6c16aab" providerId="ADAL" clId="{850367E2-D1DC-4F4F-AB68-F97A22BA04E8}" dt="2023-03-07T16:56:25.857" v="513" actId="1076"/>
          <ac:spMkLst>
            <pc:docMk/>
            <pc:sldMk cId="4092030658" sldId="2147378821"/>
            <ac:spMk id="180" creationId="{DEBE309D-8541-5DC7-05E8-65965A01E325}"/>
          </ac:spMkLst>
        </pc:spChg>
        <pc:spChg chg="mod">
          <ac:chgData name="Alexis Pallain" userId="c36ed1c7-ded9-4db6-a024-7557c6c16aab" providerId="ADAL" clId="{850367E2-D1DC-4F4F-AB68-F97A22BA04E8}" dt="2023-03-07T16:56:25.857" v="513" actId="1076"/>
          <ac:spMkLst>
            <pc:docMk/>
            <pc:sldMk cId="4092030658" sldId="2147378821"/>
            <ac:spMk id="181" creationId="{6F8E42DC-971B-1C9C-26B3-3C5B1BABEEB3}"/>
          </ac:spMkLst>
        </pc:spChg>
        <pc:spChg chg="mod">
          <ac:chgData name="Alexis Pallain" userId="c36ed1c7-ded9-4db6-a024-7557c6c16aab" providerId="ADAL" clId="{850367E2-D1DC-4F4F-AB68-F97A22BA04E8}" dt="2023-03-07T16:56:25.857" v="513" actId="1076"/>
          <ac:spMkLst>
            <pc:docMk/>
            <pc:sldMk cId="4092030658" sldId="2147378821"/>
            <ac:spMk id="182" creationId="{D25650A7-9FEB-39F8-CD13-FBD446D396DF}"/>
          </ac:spMkLst>
        </pc:spChg>
        <pc:spChg chg="mod">
          <ac:chgData name="Alexis Pallain" userId="c36ed1c7-ded9-4db6-a024-7557c6c16aab" providerId="ADAL" clId="{850367E2-D1DC-4F4F-AB68-F97A22BA04E8}" dt="2023-03-07T16:56:25.857" v="513" actId="1076"/>
          <ac:spMkLst>
            <pc:docMk/>
            <pc:sldMk cId="4092030658" sldId="2147378821"/>
            <ac:spMk id="183" creationId="{06CEC709-2F7B-076A-7DDA-789B6487F689}"/>
          </ac:spMkLst>
        </pc:spChg>
        <pc:spChg chg="mod">
          <ac:chgData name="Alexis Pallain" userId="c36ed1c7-ded9-4db6-a024-7557c6c16aab" providerId="ADAL" clId="{850367E2-D1DC-4F4F-AB68-F97A22BA04E8}" dt="2023-03-07T16:56:25.857" v="513" actId="1076"/>
          <ac:spMkLst>
            <pc:docMk/>
            <pc:sldMk cId="4092030658" sldId="2147378821"/>
            <ac:spMk id="184" creationId="{95EAD834-61B2-D870-E10E-5031E039778E}"/>
          </ac:spMkLst>
        </pc:spChg>
        <pc:spChg chg="mod">
          <ac:chgData name="Alexis Pallain" userId="c36ed1c7-ded9-4db6-a024-7557c6c16aab" providerId="ADAL" clId="{850367E2-D1DC-4F4F-AB68-F97A22BA04E8}" dt="2023-03-07T16:56:25.857" v="513" actId="1076"/>
          <ac:spMkLst>
            <pc:docMk/>
            <pc:sldMk cId="4092030658" sldId="2147378821"/>
            <ac:spMk id="185" creationId="{21C20BEF-1E4C-A95F-A3CC-9284FDA6ADF3}"/>
          </ac:spMkLst>
        </pc:spChg>
        <pc:spChg chg="mod">
          <ac:chgData name="Alexis Pallain" userId="c36ed1c7-ded9-4db6-a024-7557c6c16aab" providerId="ADAL" clId="{850367E2-D1DC-4F4F-AB68-F97A22BA04E8}" dt="2023-03-07T16:56:25.857" v="513" actId="1076"/>
          <ac:spMkLst>
            <pc:docMk/>
            <pc:sldMk cId="4092030658" sldId="2147378821"/>
            <ac:spMk id="186" creationId="{73A26529-787C-39C1-2635-7B76B98A7F72}"/>
          </ac:spMkLst>
        </pc:spChg>
        <pc:spChg chg="mod">
          <ac:chgData name="Alexis Pallain" userId="c36ed1c7-ded9-4db6-a024-7557c6c16aab" providerId="ADAL" clId="{850367E2-D1DC-4F4F-AB68-F97A22BA04E8}" dt="2023-03-07T16:56:25.857" v="513" actId="1076"/>
          <ac:spMkLst>
            <pc:docMk/>
            <pc:sldMk cId="4092030658" sldId="2147378821"/>
            <ac:spMk id="187" creationId="{66E78A7C-4D79-A6F3-986E-2560C6F08C8B}"/>
          </ac:spMkLst>
        </pc:spChg>
        <pc:spChg chg="mod">
          <ac:chgData name="Alexis Pallain" userId="c36ed1c7-ded9-4db6-a024-7557c6c16aab" providerId="ADAL" clId="{850367E2-D1DC-4F4F-AB68-F97A22BA04E8}" dt="2023-03-07T16:56:25.857" v="513" actId="1076"/>
          <ac:spMkLst>
            <pc:docMk/>
            <pc:sldMk cId="4092030658" sldId="2147378821"/>
            <ac:spMk id="188" creationId="{830DB96E-51C4-1F24-B41B-C64AF1120B97}"/>
          </ac:spMkLst>
        </pc:spChg>
        <pc:spChg chg="mod">
          <ac:chgData name="Alexis Pallain" userId="c36ed1c7-ded9-4db6-a024-7557c6c16aab" providerId="ADAL" clId="{850367E2-D1DC-4F4F-AB68-F97A22BA04E8}" dt="2023-03-07T16:56:25.857" v="513" actId="1076"/>
          <ac:spMkLst>
            <pc:docMk/>
            <pc:sldMk cId="4092030658" sldId="2147378821"/>
            <ac:spMk id="189" creationId="{7194DF7E-D1EF-7B69-5137-4C9186A2D5F9}"/>
          </ac:spMkLst>
        </pc:spChg>
        <pc:spChg chg="mod">
          <ac:chgData name="Alexis Pallain" userId="c36ed1c7-ded9-4db6-a024-7557c6c16aab" providerId="ADAL" clId="{850367E2-D1DC-4F4F-AB68-F97A22BA04E8}" dt="2023-03-07T16:56:25.857" v="513" actId="1076"/>
          <ac:spMkLst>
            <pc:docMk/>
            <pc:sldMk cId="4092030658" sldId="2147378821"/>
            <ac:spMk id="190" creationId="{2DACFF3D-A6CE-4BD9-E4E9-B607556DAB2B}"/>
          </ac:spMkLst>
        </pc:spChg>
        <pc:spChg chg="mod">
          <ac:chgData name="Alexis Pallain" userId="c36ed1c7-ded9-4db6-a024-7557c6c16aab" providerId="ADAL" clId="{850367E2-D1DC-4F4F-AB68-F97A22BA04E8}" dt="2023-03-07T16:56:25.857" v="513" actId="1076"/>
          <ac:spMkLst>
            <pc:docMk/>
            <pc:sldMk cId="4092030658" sldId="2147378821"/>
            <ac:spMk id="191" creationId="{415BA5EF-365E-B5DD-7FC5-1892088F0728}"/>
          </ac:spMkLst>
        </pc:spChg>
        <pc:spChg chg="mod">
          <ac:chgData name="Alexis Pallain" userId="c36ed1c7-ded9-4db6-a024-7557c6c16aab" providerId="ADAL" clId="{850367E2-D1DC-4F4F-AB68-F97A22BA04E8}" dt="2023-03-07T16:56:25.857" v="513" actId="1076"/>
          <ac:spMkLst>
            <pc:docMk/>
            <pc:sldMk cId="4092030658" sldId="2147378821"/>
            <ac:spMk id="192" creationId="{9DD1F1D1-47D3-7D5D-EF21-F08048998935}"/>
          </ac:spMkLst>
        </pc:spChg>
        <pc:spChg chg="mod">
          <ac:chgData name="Alexis Pallain" userId="c36ed1c7-ded9-4db6-a024-7557c6c16aab" providerId="ADAL" clId="{850367E2-D1DC-4F4F-AB68-F97A22BA04E8}" dt="2023-03-07T16:56:25.857" v="513" actId="1076"/>
          <ac:spMkLst>
            <pc:docMk/>
            <pc:sldMk cId="4092030658" sldId="2147378821"/>
            <ac:spMk id="193" creationId="{0EDCF919-06A5-619C-C8FE-018EF4B92B11}"/>
          </ac:spMkLst>
        </pc:spChg>
        <pc:spChg chg="mod">
          <ac:chgData name="Alexis Pallain" userId="c36ed1c7-ded9-4db6-a024-7557c6c16aab" providerId="ADAL" clId="{850367E2-D1DC-4F4F-AB68-F97A22BA04E8}" dt="2023-03-07T16:56:25.857" v="513" actId="1076"/>
          <ac:spMkLst>
            <pc:docMk/>
            <pc:sldMk cId="4092030658" sldId="2147378821"/>
            <ac:spMk id="194" creationId="{EB56FE3C-CD81-69BB-E620-65B9888237D8}"/>
          </ac:spMkLst>
        </pc:spChg>
        <pc:spChg chg="mod">
          <ac:chgData name="Alexis Pallain" userId="c36ed1c7-ded9-4db6-a024-7557c6c16aab" providerId="ADAL" clId="{850367E2-D1DC-4F4F-AB68-F97A22BA04E8}" dt="2023-03-07T16:56:25.857" v="513" actId="1076"/>
          <ac:spMkLst>
            <pc:docMk/>
            <pc:sldMk cId="4092030658" sldId="2147378821"/>
            <ac:spMk id="195" creationId="{08BA7173-0E4D-0A9E-4ACF-078F9D64EBB3}"/>
          </ac:spMkLst>
        </pc:spChg>
        <pc:spChg chg="mod">
          <ac:chgData name="Alexis Pallain" userId="c36ed1c7-ded9-4db6-a024-7557c6c16aab" providerId="ADAL" clId="{850367E2-D1DC-4F4F-AB68-F97A22BA04E8}" dt="2023-03-07T16:56:25.857" v="513" actId="1076"/>
          <ac:spMkLst>
            <pc:docMk/>
            <pc:sldMk cId="4092030658" sldId="2147378821"/>
            <ac:spMk id="196" creationId="{9AC9C6CA-0A2B-F05E-715D-AF37EE7EC7C5}"/>
          </ac:spMkLst>
        </pc:spChg>
        <pc:spChg chg="mod">
          <ac:chgData name="Alexis Pallain" userId="c36ed1c7-ded9-4db6-a024-7557c6c16aab" providerId="ADAL" clId="{850367E2-D1DC-4F4F-AB68-F97A22BA04E8}" dt="2023-03-07T16:56:25.857" v="513" actId="1076"/>
          <ac:spMkLst>
            <pc:docMk/>
            <pc:sldMk cId="4092030658" sldId="2147378821"/>
            <ac:spMk id="198" creationId="{5F548A72-3F9A-EB4F-959C-41E61A87B96B}"/>
          </ac:spMkLst>
        </pc:spChg>
        <pc:spChg chg="mod">
          <ac:chgData name="Alexis Pallain" userId="c36ed1c7-ded9-4db6-a024-7557c6c16aab" providerId="ADAL" clId="{850367E2-D1DC-4F4F-AB68-F97A22BA04E8}" dt="2023-03-07T16:56:25.857" v="513" actId="1076"/>
          <ac:spMkLst>
            <pc:docMk/>
            <pc:sldMk cId="4092030658" sldId="2147378821"/>
            <ac:spMk id="199" creationId="{6AF8B107-FF5F-E2DA-5FA7-607B1C7FF488}"/>
          </ac:spMkLst>
        </pc:spChg>
        <pc:spChg chg="mod">
          <ac:chgData name="Alexis Pallain" userId="c36ed1c7-ded9-4db6-a024-7557c6c16aab" providerId="ADAL" clId="{850367E2-D1DC-4F4F-AB68-F97A22BA04E8}" dt="2023-03-07T16:56:25.857" v="513" actId="1076"/>
          <ac:spMkLst>
            <pc:docMk/>
            <pc:sldMk cId="4092030658" sldId="2147378821"/>
            <ac:spMk id="200" creationId="{B499A33E-66B2-8E0D-4055-3A1E5B3C11E4}"/>
          </ac:spMkLst>
        </pc:spChg>
        <pc:spChg chg="mod">
          <ac:chgData name="Alexis Pallain" userId="c36ed1c7-ded9-4db6-a024-7557c6c16aab" providerId="ADAL" clId="{850367E2-D1DC-4F4F-AB68-F97A22BA04E8}" dt="2023-03-07T16:56:25.857" v="513" actId="1076"/>
          <ac:spMkLst>
            <pc:docMk/>
            <pc:sldMk cId="4092030658" sldId="2147378821"/>
            <ac:spMk id="201" creationId="{3A6BEA13-98C9-C463-4203-330ED3867430}"/>
          </ac:spMkLst>
        </pc:spChg>
        <pc:spChg chg="mod">
          <ac:chgData name="Alexis Pallain" userId="c36ed1c7-ded9-4db6-a024-7557c6c16aab" providerId="ADAL" clId="{850367E2-D1DC-4F4F-AB68-F97A22BA04E8}" dt="2023-03-07T16:56:25.857" v="513" actId="1076"/>
          <ac:spMkLst>
            <pc:docMk/>
            <pc:sldMk cId="4092030658" sldId="2147378821"/>
            <ac:spMk id="202" creationId="{46C2A21F-0671-860E-1553-8B3349F10260}"/>
          </ac:spMkLst>
        </pc:spChg>
        <pc:spChg chg="mod">
          <ac:chgData name="Alexis Pallain" userId="c36ed1c7-ded9-4db6-a024-7557c6c16aab" providerId="ADAL" clId="{850367E2-D1DC-4F4F-AB68-F97A22BA04E8}" dt="2023-03-07T16:56:25.857" v="513" actId="1076"/>
          <ac:spMkLst>
            <pc:docMk/>
            <pc:sldMk cId="4092030658" sldId="2147378821"/>
            <ac:spMk id="203" creationId="{96B35328-CB58-3450-0D4B-80AE3A9552A7}"/>
          </ac:spMkLst>
        </pc:spChg>
        <pc:spChg chg="mod">
          <ac:chgData name="Alexis Pallain" userId="c36ed1c7-ded9-4db6-a024-7557c6c16aab" providerId="ADAL" clId="{850367E2-D1DC-4F4F-AB68-F97A22BA04E8}" dt="2023-03-07T16:56:25.857" v="513" actId="1076"/>
          <ac:spMkLst>
            <pc:docMk/>
            <pc:sldMk cId="4092030658" sldId="2147378821"/>
            <ac:spMk id="204" creationId="{F9106294-788A-F634-8502-88E137ECDD7A}"/>
          </ac:spMkLst>
        </pc:spChg>
        <pc:spChg chg="mod">
          <ac:chgData name="Alexis Pallain" userId="c36ed1c7-ded9-4db6-a024-7557c6c16aab" providerId="ADAL" clId="{850367E2-D1DC-4F4F-AB68-F97A22BA04E8}" dt="2023-03-07T16:56:25.857" v="513" actId="1076"/>
          <ac:spMkLst>
            <pc:docMk/>
            <pc:sldMk cId="4092030658" sldId="2147378821"/>
            <ac:spMk id="205" creationId="{ACEF8693-04EB-FCB3-9FEC-E256DC88D4F4}"/>
          </ac:spMkLst>
        </pc:spChg>
        <pc:spChg chg="mod">
          <ac:chgData name="Alexis Pallain" userId="c36ed1c7-ded9-4db6-a024-7557c6c16aab" providerId="ADAL" clId="{850367E2-D1DC-4F4F-AB68-F97A22BA04E8}" dt="2023-03-07T16:56:25.857" v="513" actId="1076"/>
          <ac:spMkLst>
            <pc:docMk/>
            <pc:sldMk cId="4092030658" sldId="2147378821"/>
            <ac:spMk id="207" creationId="{42989E34-FB6F-D7E5-0B92-6FB905764223}"/>
          </ac:spMkLst>
        </pc:spChg>
        <pc:spChg chg="mod">
          <ac:chgData name="Alexis Pallain" userId="c36ed1c7-ded9-4db6-a024-7557c6c16aab" providerId="ADAL" clId="{850367E2-D1DC-4F4F-AB68-F97A22BA04E8}" dt="2023-03-07T16:56:25.857" v="513" actId="1076"/>
          <ac:spMkLst>
            <pc:docMk/>
            <pc:sldMk cId="4092030658" sldId="2147378821"/>
            <ac:spMk id="208" creationId="{AD1245E2-0621-3DE4-A078-E6822AE6069E}"/>
          </ac:spMkLst>
        </pc:spChg>
        <pc:spChg chg="del mod">
          <ac:chgData name="Alexis Pallain" userId="c36ed1c7-ded9-4db6-a024-7557c6c16aab" providerId="ADAL" clId="{850367E2-D1DC-4F4F-AB68-F97A22BA04E8}" dt="2023-03-07T16:27:48.779" v="78" actId="478"/>
          <ac:spMkLst>
            <pc:docMk/>
            <pc:sldMk cId="4092030658" sldId="2147378821"/>
            <ac:spMk id="209" creationId="{8587A25F-6085-0DD0-D331-D7EB9C9103D3}"/>
          </ac:spMkLst>
        </pc:spChg>
        <pc:spChg chg="del mod">
          <ac:chgData name="Alexis Pallain" userId="c36ed1c7-ded9-4db6-a024-7557c6c16aab" providerId="ADAL" clId="{850367E2-D1DC-4F4F-AB68-F97A22BA04E8}" dt="2023-03-07T16:27:47.038" v="77" actId="478"/>
          <ac:spMkLst>
            <pc:docMk/>
            <pc:sldMk cId="4092030658" sldId="2147378821"/>
            <ac:spMk id="210" creationId="{435DEECA-A4C5-4A0E-399D-F5B7D44963AE}"/>
          </ac:spMkLst>
        </pc:spChg>
        <pc:spChg chg="del mod">
          <ac:chgData name="Alexis Pallain" userId="c36ed1c7-ded9-4db6-a024-7557c6c16aab" providerId="ADAL" clId="{850367E2-D1DC-4F4F-AB68-F97A22BA04E8}" dt="2023-03-07T16:27:45.103" v="76" actId="478"/>
          <ac:spMkLst>
            <pc:docMk/>
            <pc:sldMk cId="4092030658" sldId="2147378821"/>
            <ac:spMk id="211" creationId="{93DC6D31-5984-B3D0-D4A3-8B1FEA403828}"/>
          </ac:spMkLst>
        </pc:spChg>
        <pc:spChg chg="mod">
          <ac:chgData name="Alexis Pallain" userId="c36ed1c7-ded9-4db6-a024-7557c6c16aab" providerId="ADAL" clId="{850367E2-D1DC-4F4F-AB68-F97A22BA04E8}" dt="2023-03-07T16:56:25.857" v="513" actId="1076"/>
          <ac:spMkLst>
            <pc:docMk/>
            <pc:sldMk cId="4092030658" sldId="2147378821"/>
            <ac:spMk id="212" creationId="{0E65E847-F10A-79D0-AB9D-98BDA17AD0AB}"/>
          </ac:spMkLst>
        </pc:spChg>
        <pc:spChg chg="mod">
          <ac:chgData name="Alexis Pallain" userId="c36ed1c7-ded9-4db6-a024-7557c6c16aab" providerId="ADAL" clId="{850367E2-D1DC-4F4F-AB68-F97A22BA04E8}" dt="2023-03-07T16:56:25.857" v="513" actId="1076"/>
          <ac:spMkLst>
            <pc:docMk/>
            <pc:sldMk cId="4092030658" sldId="2147378821"/>
            <ac:spMk id="213" creationId="{08BB4CD1-E13C-AC2E-C358-8FDA3E82BC29}"/>
          </ac:spMkLst>
        </pc:spChg>
        <pc:spChg chg="mod">
          <ac:chgData name="Alexis Pallain" userId="c36ed1c7-ded9-4db6-a024-7557c6c16aab" providerId="ADAL" clId="{850367E2-D1DC-4F4F-AB68-F97A22BA04E8}" dt="2023-03-07T16:56:25.857" v="513" actId="1076"/>
          <ac:spMkLst>
            <pc:docMk/>
            <pc:sldMk cId="4092030658" sldId="2147378821"/>
            <ac:spMk id="214" creationId="{06754D1E-3689-5FDB-1824-E01DF916E2C4}"/>
          </ac:spMkLst>
        </pc:spChg>
        <pc:spChg chg="mod">
          <ac:chgData name="Alexis Pallain" userId="c36ed1c7-ded9-4db6-a024-7557c6c16aab" providerId="ADAL" clId="{850367E2-D1DC-4F4F-AB68-F97A22BA04E8}" dt="2023-03-07T16:56:25.857" v="513" actId="1076"/>
          <ac:spMkLst>
            <pc:docMk/>
            <pc:sldMk cId="4092030658" sldId="2147378821"/>
            <ac:spMk id="215" creationId="{0754EDA9-BD44-AB5F-2B35-7ED6DF6CBFAE}"/>
          </ac:spMkLst>
        </pc:spChg>
        <pc:spChg chg="mod">
          <ac:chgData name="Alexis Pallain" userId="c36ed1c7-ded9-4db6-a024-7557c6c16aab" providerId="ADAL" clId="{850367E2-D1DC-4F4F-AB68-F97A22BA04E8}" dt="2023-03-07T16:56:25.857" v="513" actId="1076"/>
          <ac:spMkLst>
            <pc:docMk/>
            <pc:sldMk cId="4092030658" sldId="2147378821"/>
            <ac:spMk id="216" creationId="{99D53D0D-1688-B3BB-315B-7165E6FFA32B}"/>
          </ac:spMkLst>
        </pc:spChg>
        <pc:spChg chg="mod">
          <ac:chgData name="Alexis Pallain" userId="c36ed1c7-ded9-4db6-a024-7557c6c16aab" providerId="ADAL" clId="{850367E2-D1DC-4F4F-AB68-F97A22BA04E8}" dt="2023-03-07T16:56:25.857" v="513" actId="1076"/>
          <ac:spMkLst>
            <pc:docMk/>
            <pc:sldMk cId="4092030658" sldId="2147378821"/>
            <ac:spMk id="217" creationId="{7AAB20A5-A638-15C9-7B35-1DC6241D24D5}"/>
          </ac:spMkLst>
        </pc:spChg>
        <pc:spChg chg="mod">
          <ac:chgData name="Alexis Pallain" userId="c36ed1c7-ded9-4db6-a024-7557c6c16aab" providerId="ADAL" clId="{850367E2-D1DC-4F4F-AB68-F97A22BA04E8}" dt="2023-03-07T16:56:25.857" v="513" actId="1076"/>
          <ac:spMkLst>
            <pc:docMk/>
            <pc:sldMk cId="4092030658" sldId="2147378821"/>
            <ac:spMk id="218" creationId="{8970814C-E824-2B73-B55C-E75E19A25F03}"/>
          </ac:spMkLst>
        </pc:spChg>
        <pc:spChg chg="mod">
          <ac:chgData name="Alexis Pallain" userId="c36ed1c7-ded9-4db6-a024-7557c6c16aab" providerId="ADAL" clId="{850367E2-D1DC-4F4F-AB68-F97A22BA04E8}" dt="2023-03-07T16:56:25.857" v="513" actId="1076"/>
          <ac:spMkLst>
            <pc:docMk/>
            <pc:sldMk cId="4092030658" sldId="2147378821"/>
            <ac:spMk id="219" creationId="{78F3C35C-7E75-FE86-8C89-022DD3A94CEC}"/>
          </ac:spMkLst>
        </pc:spChg>
        <pc:spChg chg="mod">
          <ac:chgData name="Alexis Pallain" userId="c36ed1c7-ded9-4db6-a024-7557c6c16aab" providerId="ADAL" clId="{850367E2-D1DC-4F4F-AB68-F97A22BA04E8}" dt="2023-03-07T16:56:25.857" v="513" actId="1076"/>
          <ac:spMkLst>
            <pc:docMk/>
            <pc:sldMk cId="4092030658" sldId="2147378821"/>
            <ac:spMk id="220" creationId="{73F9AFE2-1EBA-28E0-55D4-48E07F8A0E28}"/>
          </ac:spMkLst>
        </pc:spChg>
        <pc:spChg chg="mod">
          <ac:chgData name="Alexis Pallain" userId="c36ed1c7-ded9-4db6-a024-7557c6c16aab" providerId="ADAL" clId="{850367E2-D1DC-4F4F-AB68-F97A22BA04E8}" dt="2023-03-07T16:56:25.857" v="513" actId="1076"/>
          <ac:spMkLst>
            <pc:docMk/>
            <pc:sldMk cId="4092030658" sldId="2147378821"/>
            <ac:spMk id="221" creationId="{3CA59424-FDE5-AE97-0C22-E4E90807E5E8}"/>
          </ac:spMkLst>
        </pc:spChg>
        <pc:spChg chg="mod">
          <ac:chgData name="Alexis Pallain" userId="c36ed1c7-ded9-4db6-a024-7557c6c16aab" providerId="ADAL" clId="{850367E2-D1DC-4F4F-AB68-F97A22BA04E8}" dt="2023-03-07T16:56:25.857" v="513" actId="1076"/>
          <ac:spMkLst>
            <pc:docMk/>
            <pc:sldMk cId="4092030658" sldId="2147378821"/>
            <ac:spMk id="222" creationId="{822BD27D-370F-7BDC-119E-AE8A0CA5384F}"/>
          </ac:spMkLst>
        </pc:spChg>
        <pc:spChg chg="mod">
          <ac:chgData name="Alexis Pallain" userId="c36ed1c7-ded9-4db6-a024-7557c6c16aab" providerId="ADAL" clId="{850367E2-D1DC-4F4F-AB68-F97A22BA04E8}" dt="2023-03-07T16:56:25.857" v="513" actId="1076"/>
          <ac:spMkLst>
            <pc:docMk/>
            <pc:sldMk cId="4092030658" sldId="2147378821"/>
            <ac:spMk id="223" creationId="{F20871A2-5F4D-BCFE-D97E-DF6A6F7F48E3}"/>
          </ac:spMkLst>
        </pc:spChg>
        <pc:spChg chg="mod">
          <ac:chgData name="Alexis Pallain" userId="c36ed1c7-ded9-4db6-a024-7557c6c16aab" providerId="ADAL" clId="{850367E2-D1DC-4F4F-AB68-F97A22BA04E8}" dt="2023-03-07T16:56:25.857" v="513" actId="1076"/>
          <ac:spMkLst>
            <pc:docMk/>
            <pc:sldMk cId="4092030658" sldId="2147378821"/>
            <ac:spMk id="224" creationId="{10411404-C2A9-73FC-231D-6B68BD41DBDA}"/>
          </ac:spMkLst>
        </pc:spChg>
        <pc:spChg chg="mod">
          <ac:chgData name="Alexis Pallain" userId="c36ed1c7-ded9-4db6-a024-7557c6c16aab" providerId="ADAL" clId="{850367E2-D1DC-4F4F-AB68-F97A22BA04E8}" dt="2023-03-07T16:56:25.857" v="513" actId="1076"/>
          <ac:spMkLst>
            <pc:docMk/>
            <pc:sldMk cId="4092030658" sldId="2147378821"/>
            <ac:spMk id="225" creationId="{B638B96C-D951-908F-80CF-674B0E9C8A66}"/>
          </ac:spMkLst>
        </pc:spChg>
        <pc:spChg chg="mod">
          <ac:chgData name="Alexis Pallain" userId="c36ed1c7-ded9-4db6-a024-7557c6c16aab" providerId="ADAL" clId="{850367E2-D1DC-4F4F-AB68-F97A22BA04E8}" dt="2023-03-07T16:56:25.857" v="513" actId="1076"/>
          <ac:spMkLst>
            <pc:docMk/>
            <pc:sldMk cId="4092030658" sldId="2147378821"/>
            <ac:spMk id="226" creationId="{06700096-C2D2-7C81-E69C-717CC44F05ED}"/>
          </ac:spMkLst>
        </pc:spChg>
        <pc:spChg chg="mod">
          <ac:chgData name="Alexis Pallain" userId="c36ed1c7-ded9-4db6-a024-7557c6c16aab" providerId="ADAL" clId="{850367E2-D1DC-4F4F-AB68-F97A22BA04E8}" dt="2023-03-07T16:56:25.857" v="513" actId="1076"/>
          <ac:spMkLst>
            <pc:docMk/>
            <pc:sldMk cId="4092030658" sldId="2147378821"/>
            <ac:spMk id="227" creationId="{E67E9049-E136-C7A5-A376-97C7C94D8AD9}"/>
          </ac:spMkLst>
        </pc:spChg>
        <pc:spChg chg="mod">
          <ac:chgData name="Alexis Pallain" userId="c36ed1c7-ded9-4db6-a024-7557c6c16aab" providerId="ADAL" clId="{850367E2-D1DC-4F4F-AB68-F97A22BA04E8}" dt="2023-03-07T16:56:25.857" v="513" actId="1076"/>
          <ac:spMkLst>
            <pc:docMk/>
            <pc:sldMk cId="4092030658" sldId="2147378821"/>
            <ac:spMk id="228" creationId="{A09173C8-DAB0-0620-38AB-FE50E3BF948E}"/>
          </ac:spMkLst>
        </pc:spChg>
        <pc:spChg chg="mod">
          <ac:chgData name="Alexis Pallain" userId="c36ed1c7-ded9-4db6-a024-7557c6c16aab" providerId="ADAL" clId="{850367E2-D1DC-4F4F-AB68-F97A22BA04E8}" dt="2023-03-07T16:56:25.857" v="513" actId="1076"/>
          <ac:spMkLst>
            <pc:docMk/>
            <pc:sldMk cId="4092030658" sldId="2147378821"/>
            <ac:spMk id="229" creationId="{C0A18261-B47D-642E-11DB-701D9BB9BAAD}"/>
          </ac:spMkLst>
        </pc:spChg>
        <pc:spChg chg="mod">
          <ac:chgData name="Alexis Pallain" userId="c36ed1c7-ded9-4db6-a024-7557c6c16aab" providerId="ADAL" clId="{850367E2-D1DC-4F4F-AB68-F97A22BA04E8}" dt="2023-03-07T16:56:25.857" v="513" actId="1076"/>
          <ac:spMkLst>
            <pc:docMk/>
            <pc:sldMk cId="4092030658" sldId="2147378821"/>
            <ac:spMk id="230" creationId="{A883A07D-28FD-8B02-E55E-D6E708D4E4A8}"/>
          </ac:spMkLst>
        </pc:spChg>
        <pc:spChg chg="mod">
          <ac:chgData name="Alexis Pallain" userId="c36ed1c7-ded9-4db6-a024-7557c6c16aab" providerId="ADAL" clId="{850367E2-D1DC-4F4F-AB68-F97A22BA04E8}" dt="2023-03-07T16:56:25.857" v="513" actId="1076"/>
          <ac:spMkLst>
            <pc:docMk/>
            <pc:sldMk cId="4092030658" sldId="2147378821"/>
            <ac:spMk id="232" creationId="{CA5DC3D9-7C34-43B8-1FFB-5FC8CE50B48B}"/>
          </ac:spMkLst>
        </pc:spChg>
        <pc:spChg chg="mod">
          <ac:chgData name="Alexis Pallain" userId="c36ed1c7-ded9-4db6-a024-7557c6c16aab" providerId="ADAL" clId="{850367E2-D1DC-4F4F-AB68-F97A22BA04E8}" dt="2023-03-07T16:56:25.857" v="513" actId="1076"/>
          <ac:spMkLst>
            <pc:docMk/>
            <pc:sldMk cId="4092030658" sldId="2147378821"/>
            <ac:spMk id="233" creationId="{030C232B-2247-2FE2-49D7-BCB4185083B5}"/>
          </ac:spMkLst>
        </pc:spChg>
        <pc:spChg chg="mod">
          <ac:chgData name="Alexis Pallain" userId="c36ed1c7-ded9-4db6-a024-7557c6c16aab" providerId="ADAL" clId="{850367E2-D1DC-4F4F-AB68-F97A22BA04E8}" dt="2023-03-07T16:56:25.857" v="513" actId="1076"/>
          <ac:spMkLst>
            <pc:docMk/>
            <pc:sldMk cId="4092030658" sldId="2147378821"/>
            <ac:spMk id="234" creationId="{D0515926-7FF7-FFDF-5585-733EDB280080}"/>
          </ac:spMkLst>
        </pc:spChg>
        <pc:spChg chg="mod">
          <ac:chgData name="Alexis Pallain" userId="c36ed1c7-ded9-4db6-a024-7557c6c16aab" providerId="ADAL" clId="{850367E2-D1DC-4F4F-AB68-F97A22BA04E8}" dt="2023-03-07T16:56:25.857" v="513" actId="1076"/>
          <ac:spMkLst>
            <pc:docMk/>
            <pc:sldMk cId="4092030658" sldId="2147378821"/>
            <ac:spMk id="235" creationId="{5C4FE5AF-E880-AC98-304B-C883B3D50A19}"/>
          </ac:spMkLst>
        </pc:spChg>
        <pc:spChg chg="mod">
          <ac:chgData name="Alexis Pallain" userId="c36ed1c7-ded9-4db6-a024-7557c6c16aab" providerId="ADAL" clId="{850367E2-D1DC-4F4F-AB68-F97A22BA04E8}" dt="2023-03-07T16:56:25.857" v="513" actId="1076"/>
          <ac:spMkLst>
            <pc:docMk/>
            <pc:sldMk cId="4092030658" sldId="2147378821"/>
            <ac:spMk id="236" creationId="{0601D72E-74BF-7365-6EBC-69A7DD255397}"/>
          </ac:spMkLst>
        </pc:spChg>
        <pc:spChg chg="mod">
          <ac:chgData name="Alexis Pallain" userId="c36ed1c7-ded9-4db6-a024-7557c6c16aab" providerId="ADAL" clId="{850367E2-D1DC-4F4F-AB68-F97A22BA04E8}" dt="2023-03-07T16:56:25.857" v="513" actId="1076"/>
          <ac:spMkLst>
            <pc:docMk/>
            <pc:sldMk cId="4092030658" sldId="2147378821"/>
            <ac:spMk id="237" creationId="{C9F0884B-FA8D-C37A-0211-66918417C2BB}"/>
          </ac:spMkLst>
        </pc:spChg>
        <pc:spChg chg="mod">
          <ac:chgData name="Alexis Pallain" userId="c36ed1c7-ded9-4db6-a024-7557c6c16aab" providerId="ADAL" clId="{850367E2-D1DC-4F4F-AB68-F97A22BA04E8}" dt="2023-03-07T16:56:25.857" v="513" actId="1076"/>
          <ac:spMkLst>
            <pc:docMk/>
            <pc:sldMk cId="4092030658" sldId="2147378821"/>
            <ac:spMk id="238" creationId="{318AFD72-69FE-6C2F-EA05-26B25BCDD232}"/>
          </ac:spMkLst>
        </pc:spChg>
        <pc:spChg chg="mod">
          <ac:chgData name="Alexis Pallain" userId="c36ed1c7-ded9-4db6-a024-7557c6c16aab" providerId="ADAL" clId="{850367E2-D1DC-4F4F-AB68-F97A22BA04E8}" dt="2023-03-07T16:56:25.857" v="513" actId="1076"/>
          <ac:spMkLst>
            <pc:docMk/>
            <pc:sldMk cId="4092030658" sldId="2147378821"/>
            <ac:spMk id="239" creationId="{D3239FA1-7827-269B-F05C-DC2AEC17E77F}"/>
          </ac:spMkLst>
        </pc:spChg>
        <pc:spChg chg="mod">
          <ac:chgData name="Alexis Pallain" userId="c36ed1c7-ded9-4db6-a024-7557c6c16aab" providerId="ADAL" clId="{850367E2-D1DC-4F4F-AB68-F97A22BA04E8}" dt="2023-03-07T16:56:25.857" v="513" actId="1076"/>
          <ac:spMkLst>
            <pc:docMk/>
            <pc:sldMk cId="4092030658" sldId="2147378821"/>
            <ac:spMk id="240" creationId="{D2EA516F-8E10-86B8-5107-8CBD3097495C}"/>
          </ac:spMkLst>
        </pc:spChg>
        <pc:spChg chg="mod">
          <ac:chgData name="Alexis Pallain" userId="c36ed1c7-ded9-4db6-a024-7557c6c16aab" providerId="ADAL" clId="{850367E2-D1DC-4F4F-AB68-F97A22BA04E8}" dt="2023-03-07T16:56:25.857" v="513" actId="1076"/>
          <ac:spMkLst>
            <pc:docMk/>
            <pc:sldMk cId="4092030658" sldId="2147378821"/>
            <ac:spMk id="241" creationId="{44751012-A740-4E7D-156D-39C9E4FB818A}"/>
          </ac:spMkLst>
        </pc:spChg>
        <pc:spChg chg="mod">
          <ac:chgData name="Alexis Pallain" userId="c36ed1c7-ded9-4db6-a024-7557c6c16aab" providerId="ADAL" clId="{850367E2-D1DC-4F4F-AB68-F97A22BA04E8}" dt="2023-03-07T16:56:25.857" v="513" actId="1076"/>
          <ac:spMkLst>
            <pc:docMk/>
            <pc:sldMk cId="4092030658" sldId="2147378821"/>
            <ac:spMk id="242" creationId="{5751DE67-30A2-C4CC-9113-E846B82F3723}"/>
          </ac:spMkLst>
        </pc:spChg>
        <pc:spChg chg="mod">
          <ac:chgData name="Alexis Pallain" userId="c36ed1c7-ded9-4db6-a024-7557c6c16aab" providerId="ADAL" clId="{850367E2-D1DC-4F4F-AB68-F97A22BA04E8}" dt="2023-03-07T16:56:25.857" v="513" actId="1076"/>
          <ac:spMkLst>
            <pc:docMk/>
            <pc:sldMk cId="4092030658" sldId="2147378821"/>
            <ac:spMk id="243" creationId="{7D0DD3BB-1BE2-607C-5962-864DD895D374}"/>
          </ac:spMkLst>
        </pc:spChg>
        <pc:spChg chg="mod">
          <ac:chgData name="Alexis Pallain" userId="c36ed1c7-ded9-4db6-a024-7557c6c16aab" providerId="ADAL" clId="{850367E2-D1DC-4F4F-AB68-F97A22BA04E8}" dt="2023-03-07T16:56:25.857" v="513" actId="1076"/>
          <ac:spMkLst>
            <pc:docMk/>
            <pc:sldMk cId="4092030658" sldId="2147378821"/>
            <ac:spMk id="244" creationId="{D85E36E7-D4C5-312D-FC38-625AB70FDDFF}"/>
          </ac:spMkLst>
        </pc:spChg>
        <pc:spChg chg="mod">
          <ac:chgData name="Alexis Pallain" userId="c36ed1c7-ded9-4db6-a024-7557c6c16aab" providerId="ADAL" clId="{850367E2-D1DC-4F4F-AB68-F97A22BA04E8}" dt="2023-03-07T16:56:25.857" v="513" actId="1076"/>
          <ac:spMkLst>
            <pc:docMk/>
            <pc:sldMk cId="4092030658" sldId="2147378821"/>
            <ac:spMk id="246" creationId="{EE5ECD7F-4684-CEB5-C470-5670B12EF38B}"/>
          </ac:spMkLst>
        </pc:spChg>
        <pc:spChg chg="mod">
          <ac:chgData name="Alexis Pallain" userId="c36ed1c7-ded9-4db6-a024-7557c6c16aab" providerId="ADAL" clId="{850367E2-D1DC-4F4F-AB68-F97A22BA04E8}" dt="2023-03-07T16:56:25.857" v="513" actId="1076"/>
          <ac:spMkLst>
            <pc:docMk/>
            <pc:sldMk cId="4092030658" sldId="2147378821"/>
            <ac:spMk id="247" creationId="{BECEC0A3-9D89-A9BA-494F-2486E3DBAA46}"/>
          </ac:spMkLst>
        </pc:spChg>
        <pc:spChg chg="mod">
          <ac:chgData name="Alexis Pallain" userId="c36ed1c7-ded9-4db6-a024-7557c6c16aab" providerId="ADAL" clId="{850367E2-D1DC-4F4F-AB68-F97A22BA04E8}" dt="2023-03-07T16:56:25.857" v="513" actId="1076"/>
          <ac:spMkLst>
            <pc:docMk/>
            <pc:sldMk cId="4092030658" sldId="2147378821"/>
            <ac:spMk id="248" creationId="{B48107DA-53D0-8F43-14E2-A35B215933DB}"/>
          </ac:spMkLst>
        </pc:spChg>
        <pc:spChg chg="mod">
          <ac:chgData name="Alexis Pallain" userId="c36ed1c7-ded9-4db6-a024-7557c6c16aab" providerId="ADAL" clId="{850367E2-D1DC-4F4F-AB68-F97A22BA04E8}" dt="2023-03-07T16:56:25.857" v="513" actId="1076"/>
          <ac:spMkLst>
            <pc:docMk/>
            <pc:sldMk cId="4092030658" sldId="2147378821"/>
            <ac:spMk id="249" creationId="{7DFD0A1D-4F89-9CFA-81C9-62DBC4CA2B71}"/>
          </ac:spMkLst>
        </pc:spChg>
        <pc:spChg chg="mod">
          <ac:chgData name="Alexis Pallain" userId="c36ed1c7-ded9-4db6-a024-7557c6c16aab" providerId="ADAL" clId="{850367E2-D1DC-4F4F-AB68-F97A22BA04E8}" dt="2023-03-07T16:56:25.857" v="513" actId="1076"/>
          <ac:spMkLst>
            <pc:docMk/>
            <pc:sldMk cId="4092030658" sldId="2147378821"/>
            <ac:spMk id="250" creationId="{2AD1FD1C-E620-DEBE-4D1A-7B3ABEE151C1}"/>
          </ac:spMkLst>
        </pc:spChg>
        <pc:spChg chg="mod">
          <ac:chgData name="Alexis Pallain" userId="c36ed1c7-ded9-4db6-a024-7557c6c16aab" providerId="ADAL" clId="{850367E2-D1DC-4F4F-AB68-F97A22BA04E8}" dt="2023-03-07T16:56:25.857" v="513" actId="1076"/>
          <ac:spMkLst>
            <pc:docMk/>
            <pc:sldMk cId="4092030658" sldId="2147378821"/>
            <ac:spMk id="251" creationId="{C18508C4-2B2F-50B0-19B8-1891934E637A}"/>
          </ac:spMkLst>
        </pc:spChg>
        <pc:spChg chg="mod">
          <ac:chgData name="Alexis Pallain" userId="c36ed1c7-ded9-4db6-a024-7557c6c16aab" providerId="ADAL" clId="{850367E2-D1DC-4F4F-AB68-F97A22BA04E8}" dt="2023-03-07T16:56:25.857" v="513" actId="1076"/>
          <ac:spMkLst>
            <pc:docMk/>
            <pc:sldMk cId="4092030658" sldId="2147378821"/>
            <ac:spMk id="252" creationId="{EC3B356D-9E13-4790-03A7-6FBA01EDF1FF}"/>
          </ac:spMkLst>
        </pc:spChg>
        <pc:spChg chg="mod">
          <ac:chgData name="Alexis Pallain" userId="c36ed1c7-ded9-4db6-a024-7557c6c16aab" providerId="ADAL" clId="{850367E2-D1DC-4F4F-AB68-F97A22BA04E8}" dt="2023-03-07T16:56:25.857" v="513" actId="1076"/>
          <ac:spMkLst>
            <pc:docMk/>
            <pc:sldMk cId="4092030658" sldId="2147378821"/>
            <ac:spMk id="253" creationId="{D594FCAB-B988-5E8F-C18B-AC6CC8CA4267}"/>
          </ac:spMkLst>
        </pc:spChg>
        <pc:spChg chg="mod">
          <ac:chgData name="Alexis Pallain" userId="c36ed1c7-ded9-4db6-a024-7557c6c16aab" providerId="ADAL" clId="{850367E2-D1DC-4F4F-AB68-F97A22BA04E8}" dt="2023-03-07T16:56:25.857" v="513" actId="1076"/>
          <ac:spMkLst>
            <pc:docMk/>
            <pc:sldMk cId="4092030658" sldId="2147378821"/>
            <ac:spMk id="254" creationId="{05B13CE9-460E-2547-5A31-97AD632CC4FF}"/>
          </ac:spMkLst>
        </pc:spChg>
        <pc:spChg chg="mod">
          <ac:chgData name="Alexis Pallain" userId="c36ed1c7-ded9-4db6-a024-7557c6c16aab" providerId="ADAL" clId="{850367E2-D1DC-4F4F-AB68-F97A22BA04E8}" dt="2023-03-07T16:56:25.857" v="513" actId="1076"/>
          <ac:spMkLst>
            <pc:docMk/>
            <pc:sldMk cId="4092030658" sldId="2147378821"/>
            <ac:spMk id="255" creationId="{D34797E6-E1AF-9DEA-738F-225D3FE0F66A}"/>
          </ac:spMkLst>
        </pc:spChg>
        <pc:spChg chg="mod">
          <ac:chgData name="Alexis Pallain" userId="c36ed1c7-ded9-4db6-a024-7557c6c16aab" providerId="ADAL" clId="{850367E2-D1DC-4F4F-AB68-F97A22BA04E8}" dt="2023-03-07T16:56:25.857" v="513" actId="1076"/>
          <ac:spMkLst>
            <pc:docMk/>
            <pc:sldMk cId="4092030658" sldId="2147378821"/>
            <ac:spMk id="256" creationId="{F3CE9C1A-5697-3E3D-834F-72A6E4DB059C}"/>
          </ac:spMkLst>
        </pc:spChg>
        <pc:spChg chg="mod">
          <ac:chgData name="Alexis Pallain" userId="c36ed1c7-ded9-4db6-a024-7557c6c16aab" providerId="ADAL" clId="{850367E2-D1DC-4F4F-AB68-F97A22BA04E8}" dt="2023-03-07T16:56:25.857" v="513" actId="1076"/>
          <ac:spMkLst>
            <pc:docMk/>
            <pc:sldMk cId="4092030658" sldId="2147378821"/>
            <ac:spMk id="257" creationId="{9D3C2A8B-58E9-5306-0320-9D715D5A50FF}"/>
          </ac:spMkLst>
        </pc:spChg>
        <pc:spChg chg="mod">
          <ac:chgData name="Alexis Pallain" userId="c36ed1c7-ded9-4db6-a024-7557c6c16aab" providerId="ADAL" clId="{850367E2-D1DC-4F4F-AB68-F97A22BA04E8}" dt="2023-03-07T16:56:25.857" v="513" actId="1076"/>
          <ac:spMkLst>
            <pc:docMk/>
            <pc:sldMk cId="4092030658" sldId="2147378821"/>
            <ac:spMk id="258" creationId="{42186812-DE86-88B1-E71D-F3BA8E870B80}"/>
          </ac:spMkLst>
        </pc:spChg>
        <pc:spChg chg="mod">
          <ac:chgData name="Alexis Pallain" userId="c36ed1c7-ded9-4db6-a024-7557c6c16aab" providerId="ADAL" clId="{850367E2-D1DC-4F4F-AB68-F97A22BA04E8}" dt="2023-03-07T16:56:25.857" v="513" actId="1076"/>
          <ac:spMkLst>
            <pc:docMk/>
            <pc:sldMk cId="4092030658" sldId="2147378821"/>
            <ac:spMk id="259" creationId="{66D7E095-1C3E-799B-18FD-168691D9DB34}"/>
          </ac:spMkLst>
        </pc:spChg>
        <pc:spChg chg="mod">
          <ac:chgData name="Alexis Pallain" userId="c36ed1c7-ded9-4db6-a024-7557c6c16aab" providerId="ADAL" clId="{850367E2-D1DC-4F4F-AB68-F97A22BA04E8}" dt="2023-03-07T16:56:25.857" v="513" actId="1076"/>
          <ac:spMkLst>
            <pc:docMk/>
            <pc:sldMk cId="4092030658" sldId="2147378821"/>
            <ac:spMk id="260" creationId="{8E785BC5-ACFF-52F5-31ED-EAE58B1404E0}"/>
          </ac:spMkLst>
        </pc:spChg>
        <pc:spChg chg="mod">
          <ac:chgData name="Alexis Pallain" userId="c36ed1c7-ded9-4db6-a024-7557c6c16aab" providerId="ADAL" clId="{850367E2-D1DC-4F4F-AB68-F97A22BA04E8}" dt="2023-03-07T16:56:25.857" v="513" actId="1076"/>
          <ac:spMkLst>
            <pc:docMk/>
            <pc:sldMk cId="4092030658" sldId="2147378821"/>
            <ac:spMk id="261" creationId="{112BFCEE-61E9-B217-F06E-A2FB21667546}"/>
          </ac:spMkLst>
        </pc:spChg>
        <pc:spChg chg="mod">
          <ac:chgData name="Alexis Pallain" userId="c36ed1c7-ded9-4db6-a024-7557c6c16aab" providerId="ADAL" clId="{850367E2-D1DC-4F4F-AB68-F97A22BA04E8}" dt="2023-03-07T16:56:25.857" v="513" actId="1076"/>
          <ac:spMkLst>
            <pc:docMk/>
            <pc:sldMk cId="4092030658" sldId="2147378821"/>
            <ac:spMk id="262" creationId="{24D9D264-4DA7-96D4-94D9-B574F692AA11}"/>
          </ac:spMkLst>
        </pc:spChg>
        <pc:spChg chg="mod">
          <ac:chgData name="Alexis Pallain" userId="c36ed1c7-ded9-4db6-a024-7557c6c16aab" providerId="ADAL" clId="{850367E2-D1DC-4F4F-AB68-F97A22BA04E8}" dt="2023-03-07T16:56:25.857" v="513" actId="1076"/>
          <ac:spMkLst>
            <pc:docMk/>
            <pc:sldMk cId="4092030658" sldId="2147378821"/>
            <ac:spMk id="263" creationId="{31CF4CF7-C130-34AB-FE4E-41249A1E6DF6}"/>
          </ac:spMkLst>
        </pc:spChg>
        <pc:spChg chg="mod">
          <ac:chgData name="Alexis Pallain" userId="c36ed1c7-ded9-4db6-a024-7557c6c16aab" providerId="ADAL" clId="{850367E2-D1DC-4F4F-AB68-F97A22BA04E8}" dt="2023-03-07T16:56:25.857" v="513" actId="1076"/>
          <ac:spMkLst>
            <pc:docMk/>
            <pc:sldMk cId="4092030658" sldId="2147378821"/>
            <ac:spMk id="264" creationId="{E7681758-9899-9A90-9D14-C71AA546A856}"/>
          </ac:spMkLst>
        </pc:spChg>
        <pc:spChg chg="mod">
          <ac:chgData name="Alexis Pallain" userId="c36ed1c7-ded9-4db6-a024-7557c6c16aab" providerId="ADAL" clId="{850367E2-D1DC-4F4F-AB68-F97A22BA04E8}" dt="2023-03-07T16:56:25.857" v="513" actId="1076"/>
          <ac:spMkLst>
            <pc:docMk/>
            <pc:sldMk cId="4092030658" sldId="2147378821"/>
            <ac:spMk id="265" creationId="{227A5A9A-799C-ECB8-7008-24C9690AC5A3}"/>
          </ac:spMkLst>
        </pc:spChg>
        <pc:spChg chg="mod">
          <ac:chgData name="Alexis Pallain" userId="c36ed1c7-ded9-4db6-a024-7557c6c16aab" providerId="ADAL" clId="{850367E2-D1DC-4F4F-AB68-F97A22BA04E8}" dt="2023-03-07T16:56:25.857" v="513" actId="1076"/>
          <ac:spMkLst>
            <pc:docMk/>
            <pc:sldMk cId="4092030658" sldId="2147378821"/>
            <ac:spMk id="266" creationId="{FDEBA34A-A3EA-41F6-66E6-B5C3B591CB8E}"/>
          </ac:spMkLst>
        </pc:spChg>
        <pc:spChg chg="mod">
          <ac:chgData name="Alexis Pallain" userId="c36ed1c7-ded9-4db6-a024-7557c6c16aab" providerId="ADAL" clId="{850367E2-D1DC-4F4F-AB68-F97A22BA04E8}" dt="2023-03-07T16:56:25.857" v="513" actId="1076"/>
          <ac:spMkLst>
            <pc:docMk/>
            <pc:sldMk cId="4092030658" sldId="2147378821"/>
            <ac:spMk id="267" creationId="{61EFC16B-FB6A-23D9-3997-2674F9E78133}"/>
          </ac:spMkLst>
        </pc:spChg>
        <pc:spChg chg="add del mod">
          <ac:chgData name="Alexis Pallain" userId="c36ed1c7-ded9-4db6-a024-7557c6c16aab" providerId="ADAL" clId="{850367E2-D1DC-4F4F-AB68-F97A22BA04E8}" dt="2023-03-07T16:56:13.847" v="509" actId="478"/>
          <ac:spMkLst>
            <pc:docMk/>
            <pc:sldMk cId="4092030658" sldId="2147378821"/>
            <ac:spMk id="268" creationId="{A1F55D67-9D64-9BF6-B7D6-94FF2A3DA00A}"/>
          </ac:spMkLst>
        </pc:spChg>
        <pc:grpChg chg="add mod">
          <ac:chgData name="Alexis Pallain" userId="c36ed1c7-ded9-4db6-a024-7557c6c16aab" providerId="ADAL" clId="{850367E2-D1DC-4F4F-AB68-F97A22BA04E8}" dt="2023-03-07T16:56:25.857" v="513" actId="1076"/>
          <ac:grpSpMkLst>
            <pc:docMk/>
            <pc:sldMk cId="4092030658" sldId="2147378821"/>
            <ac:grpSpMk id="6" creationId="{F994B18D-146E-1D35-D08C-4BB2A41C6B07}"/>
          </ac:grpSpMkLst>
        </pc:grpChg>
        <pc:grpChg chg="mod">
          <ac:chgData name="Alexis Pallain" userId="c36ed1c7-ded9-4db6-a024-7557c6c16aab" providerId="ADAL" clId="{850367E2-D1DC-4F4F-AB68-F97A22BA04E8}" dt="2023-03-07T16:56:25.857" v="513" actId="1076"/>
          <ac:grpSpMkLst>
            <pc:docMk/>
            <pc:sldMk cId="4092030658" sldId="2147378821"/>
            <ac:grpSpMk id="8" creationId="{2227E2C5-E034-B2CA-1264-B9B308EB5D72}"/>
          </ac:grpSpMkLst>
        </pc:grpChg>
        <pc:grpChg chg="add mod">
          <ac:chgData name="Alexis Pallain" userId="c36ed1c7-ded9-4db6-a024-7557c6c16aab" providerId="ADAL" clId="{850367E2-D1DC-4F4F-AB68-F97A22BA04E8}" dt="2023-03-07T16:56:25.857" v="513" actId="1076"/>
          <ac:grpSpMkLst>
            <pc:docMk/>
            <pc:sldMk cId="4092030658" sldId="2147378821"/>
            <ac:grpSpMk id="12" creationId="{8F3A1F4C-B185-482B-C4B5-61B6CD2DC4E7}"/>
          </ac:grpSpMkLst>
        </pc:grpChg>
        <pc:grpChg chg="mod">
          <ac:chgData name="Alexis Pallain" userId="c36ed1c7-ded9-4db6-a024-7557c6c16aab" providerId="ADAL" clId="{850367E2-D1DC-4F4F-AB68-F97A22BA04E8}" dt="2023-03-07T16:56:25.857" v="513" actId="1076"/>
          <ac:grpSpMkLst>
            <pc:docMk/>
            <pc:sldMk cId="4092030658" sldId="2147378821"/>
            <ac:grpSpMk id="14" creationId="{85387BC2-3094-F1F0-351C-D8EA5F008097}"/>
          </ac:grpSpMkLst>
        </pc:grpChg>
        <pc:grpChg chg="mod">
          <ac:chgData name="Alexis Pallain" userId="c36ed1c7-ded9-4db6-a024-7557c6c16aab" providerId="ADAL" clId="{850367E2-D1DC-4F4F-AB68-F97A22BA04E8}" dt="2023-03-07T16:56:25.857" v="513" actId="1076"/>
          <ac:grpSpMkLst>
            <pc:docMk/>
            <pc:sldMk cId="4092030658" sldId="2147378821"/>
            <ac:grpSpMk id="40" creationId="{5B2FFC0B-3559-16BF-298C-96471B061CE6}"/>
          </ac:grpSpMkLst>
        </pc:grpChg>
        <pc:grpChg chg="mod">
          <ac:chgData name="Alexis Pallain" userId="c36ed1c7-ded9-4db6-a024-7557c6c16aab" providerId="ADAL" clId="{850367E2-D1DC-4F4F-AB68-F97A22BA04E8}" dt="2023-03-07T16:56:25.857" v="513" actId="1076"/>
          <ac:grpSpMkLst>
            <pc:docMk/>
            <pc:sldMk cId="4092030658" sldId="2147378821"/>
            <ac:grpSpMk id="44" creationId="{FD58F417-8F41-D3B1-B922-987766FBC822}"/>
          </ac:grpSpMkLst>
        </pc:grpChg>
        <pc:grpChg chg="mod">
          <ac:chgData name="Alexis Pallain" userId="c36ed1c7-ded9-4db6-a024-7557c6c16aab" providerId="ADAL" clId="{850367E2-D1DC-4F4F-AB68-F97A22BA04E8}" dt="2023-03-07T16:56:25.857" v="513" actId="1076"/>
          <ac:grpSpMkLst>
            <pc:docMk/>
            <pc:sldMk cId="4092030658" sldId="2147378821"/>
            <ac:grpSpMk id="84" creationId="{B744B085-DCED-2D1C-3F3B-64BD72655FC4}"/>
          </ac:grpSpMkLst>
        </pc:grpChg>
        <pc:grpChg chg="mod">
          <ac:chgData name="Alexis Pallain" userId="c36ed1c7-ded9-4db6-a024-7557c6c16aab" providerId="ADAL" clId="{850367E2-D1DC-4F4F-AB68-F97A22BA04E8}" dt="2023-03-07T16:56:25.857" v="513" actId="1076"/>
          <ac:grpSpMkLst>
            <pc:docMk/>
            <pc:sldMk cId="4092030658" sldId="2147378821"/>
            <ac:grpSpMk id="85" creationId="{0AFA6FFA-98B5-3C5E-6274-4B477DABDB54}"/>
          </ac:grpSpMkLst>
        </pc:grpChg>
        <pc:grpChg chg="mod">
          <ac:chgData name="Alexis Pallain" userId="c36ed1c7-ded9-4db6-a024-7557c6c16aab" providerId="ADAL" clId="{850367E2-D1DC-4F4F-AB68-F97A22BA04E8}" dt="2023-03-07T16:56:25.857" v="513" actId="1076"/>
          <ac:grpSpMkLst>
            <pc:docMk/>
            <pc:sldMk cId="4092030658" sldId="2147378821"/>
            <ac:grpSpMk id="87" creationId="{48EF6761-E014-026B-DDC6-946CA14BF764}"/>
          </ac:grpSpMkLst>
        </pc:grpChg>
        <pc:grpChg chg="mod">
          <ac:chgData name="Alexis Pallain" userId="c36ed1c7-ded9-4db6-a024-7557c6c16aab" providerId="ADAL" clId="{850367E2-D1DC-4F4F-AB68-F97A22BA04E8}" dt="2023-03-07T16:56:25.857" v="513" actId="1076"/>
          <ac:grpSpMkLst>
            <pc:docMk/>
            <pc:sldMk cId="4092030658" sldId="2147378821"/>
            <ac:grpSpMk id="89" creationId="{9FDBD759-3693-BB58-4BAA-A88DEE64F61F}"/>
          </ac:grpSpMkLst>
        </pc:grpChg>
        <pc:grpChg chg="mod">
          <ac:chgData name="Alexis Pallain" userId="c36ed1c7-ded9-4db6-a024-7557c6c16aab" providerId="ADAL" clId="{850367E2-D1DC-4F4F-AB68-F97A22BA04E8}" dt="2023-03-07T16:56:25.857" v="513" actId="1076"/>
          <ac:grpSpMkLst>
            <pc:docMk/>
            <pc:sldMk cId="4092030658" sldId="2147378821"/>
            <ac:grpSpMk id="94" creationId="{9BD51063-536C-CB9E-F7E2-E453B3DA73AC}"/>
          </ac:grpSpMkLst>
        </pc:grpChg>
        <pc:grpChg chg="mod">
          <ac:chgData name="Alexis Pallain" userId="c36ed1c7-ded9-4db6-a024-7557c6c16aab" providerId="ADAL" clId="{850367E2-D1DC-4F4F-AB68-F97A22BA04E8}" dt="2023-03-07T16:56:25.857" v="513" actId="1076"/>
          <ac:grpSpMkLst>
            <pc:docMk/>
            <pc:sldMk cId="4092030658" sldId="2147378821"/>
            <ac:grpSpMk id="96" creationId="{5610478F-0046-0223-D1C4-B9554A48DC1E}"/>
          </ac:grpSpMkLst>
        </pc:grpChg>
        <pc:grpChg chg="mod">
          <ac:chgData name="Alexis Pallain" userId="c36ed1c7-ded9-4db6-a024-7557c6c16aab" providerId="ADAL" clId="{850367E2-D1DC-4F4F-AB68-F97A22BA04E8}" dt="2023-03-07T16:56:25.857" v="513" actId="1076"/>
          <ac:grpSpMkLst>
            <pc:docMk/>
            <pc:sldMk cId="4092030658" sldId="2147378821"/>
            <ac:grpSpMk id="197" creationId="{FBE63EDC-BECC-025F-45AC-2CAF263FA981}"/>
          </ac:grpSpMkLst>
        </pc:grpChg>
        <pc:grpChg chg="mod">
          <ac:chgData name="Alexis Pallain" userId="c36ed1c7-ded9-4db6-a024-7557c6c16aab" providerId="ADAL" clId="{850367E2-D1DC-4F4F-AB68-F97A22BA04E8}" dt="2023-03-07T16:56:25.857" v="513" actId="1076"/>
          <ac:grpSpMkLst>
            <pc:docMk/>
            <pc:sldMk cId="4092030658" sldId="2147378821"/>
            <ac:grpSpMk id="206" creationId="{61FA7A0F-45D4-076E-CBC2-EE244C513345}"/>
          </ac:grpSpMkLst>
        </pc:grpChg>
        <pc:grpChg chg="mod">
          <ac:chgData name="Alexis Pallain" userId="c36ed1c7-ded9-4db6-a024-7557c6c16aab" providerId="ADAL" clId="{850367E2-D1DC-4F4F-AB68-F97A22BA04E8}" dt="2023-03-07T16:56:25.857" v="513" actId="1076"/>
          <ac:grpSpMkLst>
            <pc:docMk/>
            <pc:sldMk cId="4092030658" sldId="2147378821"/>
            <ac:grpSpMk id="231" creationId="{1B275C91-47E2-8095-1757-F676A89D664F}"/>
          </ac:grpSpMkLst>
        </pc:grpChg>
        <pc:grpChg chg="mod">
          <ac:chgData name="Alexis Pallain" userId="c36ed1c7-ded9-4db6-a024-7557c6c16aab" providerId="ADAL" clId="{850367E2-D1DC-4F4F-AB68-F97A22BA04E8}" dt="2023-03-07T16:56:25.857" v="513" actId="1076"/>
          <ac:grpSpMkLst>
            <pc:docMk/>
            <pc:sldMk cId="4092030658" sldId="2147378821"/>
            <ac:grpSpMk id="245" creationId="{C2914BE1-FA9E-9C89-0580-B0C5D754758A}"/>
          </ac:grpSpMkLst>
        </pc:grpChg>
        <pc:picChg chg="add mod">
          <ac:chgData name="Alexis Pallain" userId="c36ed1c7-ded9-4db6-a024-7557c6c16aab" providerId="ADAL" clId="{850367E2-D1DC-4F4F-AB68-F97A22BA04E8}" dt="2023-03-07T16:56:28.278" v="514" actId="1076"/>
          <ac:picMkLst>
            <pc:docMk/>
            <pc:sldMk cId="4092030658" sldId="2147378821"/>
            <ac:picMk id="270" creationId="{5CB60AE9-5E0B-6B6A-B951-B76C3A05EECB}"/>
          </ac:picMkLst>
        </pc:picChg>
      </pc:sldChg>
      <pc:sldChg chg="modSp new del mod">
        <pc:chgData name="Alexis Pallain" userId="c36ed1c7-ded9-4db6-a024-7557c6c16aab" providerId="ADAL" clId="{850367E2-D1DC-4F4F-AB68-F97A22BA04E8}" dt="2023-03-07T16:37:35.616" v="428" actId="47"/>
        <pc:sldMkLst>
          <pc:docMk/>
          <pc:sldMk cId="862670361" sldId="2147378822"/>
        </pc:sldMkLst>
        <pc:spChg chg="mod">
          <ac:chgData name="Alexis Pallain" userId="c36ed1c7-ded9-4db6-a024-7557c6c16aab" providerId="ADAL" clId="{850367E2-D1DC-4F4F-AB68-F97A22BA04E8}" dt="2023-03-07T16:36:07.227" v="309" actId="20577"/>
          <ac:spMkLst>
            <pc:docMk/>
            <pc:sldMk cId="862670361" sldId="2147378822"/>
            <ac:spMk id="2" creationId="{4D7DF899-AF08-ABA6-8A70-FA926FA8F3DE}"/>
          </ac:spMkLst>
        </pc:spChg>
        <pc:spChg chg="mod">
          <ac:chgData name="Alexis Pallain" userId="c36ed1c7-ded9-4db6-a024-7557c6c16aab" providerId="ADAL" clId="{850367E2-D1DC-4F4F-AB68-F97A22BA04E8}" dt="2023-03-07T16:37:23.710" v="427" actId="20577"/>
          <ac:spMkLst>
            <pc:docMk/>
            <pc:sldMk cId="862670361" sldId="2147378822"/>
            <ac:spMk id="3" creationId="{DFF71B13-CCEB-22A0-69BE-80E14A735DD1}"/>
          </ac:spMkLst>
        </pc:spChg>
      </pc:sldChg>
      <pc:sldChg chg="addSp delSp modSp new del mod">
        <pc:chgData name="Alexis Pallain" userId="c36ed1c7-ded9-4db6-a024-7557c6c16aab" providerId="ADAL" clId="{850367E2-D1DC-4F4F-AB68-F97A22BA04E8}" dt="2023-03-07T17:04:25.533" v="573" actId="47"/>
        <pc:sldMkLst>
          <pc:docMk/>
          <pc:sldMk cId="3030672021" sldId="2147378822"/>
        </pc:sldMkLst>
        <pc:spChg chg="del mod">
          <ac:chgData name="Alexis Pallain" userId="c36ed1c7-ded9-4db6-a024-7557c6c16aab" providerId="ADAL" clId="{850367E2-D1DC-4F4F-AB68-F97A22BA04E8}" dt="2023-03-07T16:38:29.793" v="441" actId="478"/>
          <ac:spMkLst>
            <pc:docMk/>
            <pc:sldMk cId="3030672021" sldId="2147378822"/>
            <ac:spMk id="2" creationId="{D253A0A7-DD1B-A063-247A-CFD400AC754D}"/>
          </ac:spMkLst>
        </pc:spChg>
        <pc:spChg chg="del">
          <ac:chgData name="Alexis Pallain" userId="c36ed1c7-ded9-4db6-a024-7557c6c16aab" providerId="ADAL" clId="{850367E2-D1DC-4F4F-AB68-F97A22BA04E8}" dt="2023-03-07T16:38:11.709" v="432" actId="478"/>
          <ac:spMkLst>
            <pc:docMk/>
            <pc:sldMk cId="3030672021" sldId="2147378822"/>
            <ac:spMk id="3" creationId="{BE52DE30-58A5-47E1-5A2C-DAF4BD510816}"/>
          </ac:spMkLst>
        </pc:spChg>
        <pc:spChg chg="add del mod">
          <ac:chgData name="Alexis Pallain" userId="c36ed1c7-ded9-4db6-a024-7557c6c16aab" providerId="ADAL" clId="{850367E2-D1DC-4F4F-AB68-F97A22BA04E8}" dt="2023-03-07T16:38:37.647" v="442" actId="478"/>
          <ac:spMkLst>
            <pc:docMk/>
            <pc:sldMk cId="3030672021" sldId="2147378822"/>
            <ac:spMk id="5" creationId="{97237807-FF5D-33DB-3E8E-706EFF0F942C}"/>
          </ac:spMkLst>
        </pc:spChg>
        <pc:spChg chg="add mod">
          <ac:chgData name="Alexis Pallain" userId="c36ed1c7-ded9-4db6-a024-7557c6c16aab" providerId="ADAL" clId="{850367E2-D1DC-4F4F-AB68-F97A22BA04E8}" dt="2023-03-07T16:51:03.935" v="472" actId="20577"/>
          <ac:spMkLst>
            <pc:docMk/>
            <pc:sldMk cId="3030672021" sldId="2147378822"/>
            <ac:spMk id="6" creationId="{E664AE79-A6C7-0B29-C077-F9F52FC93E1F}"/>
          </ac:spMkLst>
        </pc:spChg>
        <pc:picChg chg="add">
          <ac:chgData name="Alexis Pallain" userId="c36ed1c7-ded9-4db6-a024-7557c6c16aab" providerId="ADAL" clId="{850367E2-D1DC-4F4F-AB68-F97A22BA04E8}" dt="2023-03-07T16:50:53.524" v="463" actId="22"/>
          <ac:picMkLst>
            <pc:docMk/>
            <pc:sldMk cId="3030672021" sldId="2147378822"/>
            <ac:picMk id="8" creationId="{24A7094A-A7E9-9291-AB12-917D2080060B}"/>
          </ac:picMkLst>
        </pc:picChg>
        <pc:picChg chg="add del mod">
          <ac:chgData name="Alexis Pallain" userId="c36ed1c7-ded9-4db6-a024-7557c6c16aab" providerId="ADAL" clId="{850367E2-D1DC-4F4F-AB68-F97A22BA04E8}" dt="2023-03-07T16:50:53.071" v="462" actId="478"/>
          <ac:picMkLst>
            <pc:docMk/>
            <pc:sldMk cId="3030672021" sldId="2147378822"/>
            <ac:picMk id="1026" creationId="{532BF33D-4CF5-EB26-C9C0-C66CD2F95042}"/>
          </ac:picMkLst>
        </pc:picChg>
      </pc:sldChg>
      <pc:sldChg chg="new del">
        <pc:chgData name="Alexis Pallain" userId="c36ed1c7-ded9-4db6-a024-7557c6c16aab" providerId="ADAL" clId="{850367E2-D1DC-4F4F-AB68-F97A22BA04E8}" dt="2023-03-07T17:03:13.870" v="539" actId="47"/>
        <pc:sldMkLst>
          <pc:docMk/>
          <pc:sldMk cId="3427433969" sldId="2147378823"/>
        </pc:sldMkLst>
      </pc:sldChg>
      <pc:sldChg chg="addSp modSp new mod modClrScheme chgLayout">
        <pc:chgData name="Alexis Pallain" userId="c36ed1c7-ded9-4db6-a024-7557c6c16aab" providerId="ADAL" clId="{850367E2-D1DC-4F4F-AB68-F97A22BA04E8}" dt="2023-03-08T14:14:19.104" v="1315" actId="14100"/>
        <pc:sldMkLst>
          <pc:docMk/>
          <pc:sldMk cId="470958028" sldId="2147378824"/>
        </pc:sldMkLst>
        <pc:spChg chg="mod">
          <ac:chgData name="Alexis Pallain" userId="c36ed1c7-ded9-4db6-a024-7557c6c16aab" providerId="ADAL" clId="{850367E2-D1DC-4F4F-AB68-F97A22BA04E8}" dt="2023-03-07T17:03:23.083" v="542" actId="26606"/>
          <ac:spMkLst>
            <pc:docMk/>
            <pc:sldMk cId="470958028" sldId="2147378824"/>
            <ac:spMk id="2" creationId="{371E1076-9CA2-89F1-99B2-AFEF85E24DB1}"/>
          </ac:spMkLst>
        </pc:spChg>
        <pc:spChg chg="mod">
          <ac:chgData name="Alexis Pallain" userId="c36ed1c7-ded9-4db6-a024-7557c6c16aab" providerId="ADAL" clId="{850367E2-D1DC-4F4F-AB68-F97A22BA04E8}" dt="2023-03-07T17:03:23.083" v="542" actId="26606"/>
          <ac:spMkLst>
            <pc:docMk/>
            <pc:sldMk cId="470958028" sldId="2147378824"/>
            <ac:spMk id="3" creationId="{4F8CB6F7-6681-43ED-6CE5-D579DAF8272C}"/>
          </ac:spMkLst>
        </pc:spChg>
        <pc:spChg chg="mod">
          <ac:chgData name="Alexis Pallain" userId="c36ed1c7-ded9-4db6-a024-7557c6c16aab" providerId="ADAL" clId="{850367E2-D1DC-4F4F-AB68-F97A22BA04E8}" dt="2023-03-07T17:03:23.083" v="542" actId="26606"/>
          <ac:spMkLst>
            <pc:docMk/>
            <pc:sldMk cId="470958028" sldId="2147378824"/>
            <ac:spMk id="4" creationId="{DCAEA7EA-3858-8E93-B531-2D5C81F0312B}"/>
          </ac:spMkLst>
        </pc:spChg>
        <pc:picChg chg="add mod ord">
          <ac:chgData name="Alexis Pallain" userId="c36ed1c7-ded9-4db6-a024-7557c6c16aab" providerId="ADAL" clId="{850367E2-D1DC-4F4F-AB68-F97A22BA04E8}" dt="2023-03-08T14:14:19.104" v="1315" actId="14100"/>
          <ac:picMkLst>
            <pc:docMk/>
            <pc:sldMk cId="470958028" sldId="2147378824"/>
            <ac:picMk id="5" creationId="{C0CAF89B-2DC2-4ACC-8628-73943227788C}"/>
          </ac:picMkLst>
        </pc:picChg>
      </pc:sldChg>
      <pc:sldChg chg="new del">
        <pc:chgData name="Alexis Pallain" userId="c36ed1c7-ded9-4db6-a024-7557c6c16aab" providerId="ADAL" clId="{850367E2-D1DC-4F4F-AB68-F97A22BA04E8}" dt="2023-03-07T17:03:48.600" v="549" actId="680"/>
        <pc:sldMkLst>
          <pc:docMk/>
          <pc:sldMk cId="2112242086" sldId="2147378825"/>
        </pc:sldMkLst>
      </pc:sldChg>
      <pc:sldChg chg="addSp modSp new mod">
        <pc:chgData name="Alexis Pallain" userId="c36ed1c7-ded9-4db6-a024-7557c6c16aab" providerId="ADAL" clId="{850367E2-D1DC-4F4F-AB68-F97A22BA04E8}" dt="2023-03-07T17:04:21.115" v="572"/>
        <pc:sldMkLst>
          <pc:docMk/>
          <pc:sldMk cId="3078460102" sldId="2147378825"/>
        </pc:sldMkLst>
        <pc:spChg chg="mod">
          <ac:chgData name="Alexis Pallain" userId="c36ed1c7-ded9-4db6-a024-7557c6c16aab" providerId="ADAL" clId="{850367E2-D1DC-4F4F-AB68-F97A22BA04E8}" dt="2023-03-07T17:04:17.711" v="571" actId="14100"/>
          <ac:spMkLst>
            <pc:docMk/>
            <pc:sldMk cId="3078460102" sldId="2147378825"/>
            <ac:spMk id="4" creationId="{3FE01BB9-D657-EEBE-4460-CCF401419E55}"/>
          </ac:spMkLst>
        </pc:spChg>
        <pc:picChg chg="add mod">
          <ac:chgData name="Alexis Pallain" userId="c36ed1c7-ded9-4db6-a024-7557c6c16aab" providerId="ADAL" clId="{850367E2-D1DC-4F4F-AB68-F97A22BA04E8}" dt="2023-03-07T17:04:21.115" v="572"/>
          <ac:picMkLst>
            <pc:docMk/>
            <pc:sldMk cId="3078460102" sldId="2147378825"/>
            <ac:picMk id="5" creationId="{7FCF433F-B4BF-B0B1-3AA4-8BFC28B98926}"/>
          </ac:picMkLst>
        </pc:picChg>
      </pc:sldChg>
      <pc:sldChg chg="add del">
        <pc:chgData name="Alexis Pallain" userId="c36ed1c7-ded9-4db6-a024-7557c6c16aab" providerId="ADAL" clId="{850367E2-D1DC-4F4F-AB68-F97A22BA04E8}" dt="2023-03-08T08:58:44.446" v="780" actId="47"/>
        <pc:sldMkLst>
          <pc:docMk/>
          <pc:sldMk cId="3119403520" sldId="2147378826"/>
        </pc:sldMkLst>
      </pc:sldChg>
      <pc:sldChg chg="add del">
        <pc:chgData name="Alexis Pallain" userId="c36ed1c7-ded9-4db6-a024-7557c6c16aab" providerId="ADAL" clId="{850367E2-D1DC-4F4F-AB68-F97A22BA04E8}" dt="2023-03-07T17:24:26.057" v="599"/>
        <pc:sldMkLst>
          <pc:docMk/>
          <pc:sldMk cId="4191350381" sldId="2147378826"/>
        </pc:sldMkLst>
      </pc:sldChg>
      <pc:sldChg chg="add del">
        <pc:chgData name="Alexis Pallain" userId="c36ed1c7-ded9-4db6-a024-7557c6c16aab" providerId="ADAL" clId="{850367E2-D1DC-4F4F-AB68-F97A22BA04E8}" dt="2023-03-07T17:24:26.057" v="599"/>
        <pc:sldMkLst>
          <pc:docMk/>
          <pc:sldMk cId="3713866335" sldId="2147378827"/>
        </pc:sldMkLst>
      </pc:sldChg>
      <pc:sldChg chg="add del">
        <pc:chgData name="Alexis Pallain" userId="c36ed1c7-ded9-4db6-a024-7557c6c16aab" providerId="ADAL" clId="{850367E2-D1DC-4F4F-AB68-F97A22BA04E8}" dt="2023-03-08T08:58:44.446" v="780" actId="47"/>
        <pc:sldMkLst>
          <pc:docMk/>
          <pc:sldMk cId="4155735156" sldId="2147378827"/>
        </pc:sldMkLst>
      </pc:sldChg>
      <pc:sldChg chg="add del">
        <pc:chgData name="Alexis Pallain" userId="c36ed1c7-ded9-4db6-a024-7557c6c16aab" providerId="ADAL" clId="{850367E2-D1DC-4F4F-AB68-F97A22BA04E8}" dt="2023-03-08T08:58:44.446" v="780" actId="47"/>
        <pc:sldMkLst>
          <pc:docMk/>
          <pc:sldMk cId="122700068" sldId="2147378828"/>
        </pc:sldMkLst>
      </pc:sldChg>
      <pc:sldChg chg="modSp add mod">
        <pc:chgData name="Alexis Pallain" userId="c36ed1c7-ded9-4db6-a024-7557c6c16aab" providerId="ADAL" clId="{850367E2-D1DC-4F4F-AB68-F97A22BA04E8}" dt="2023-03-08T08:55:02.634" v="774" actId="14100"/>
        <pc:sldMkLst>
          <pc:docMk/>
          <pc:sldMk cId="3818289999" sldId="2147378829"/>
        </pc:sldMkLst>
        <pc:spChg chg="mod">
          <ac:chgData name="Alexis Pallain" userId="c36ed1c7-ded9-4db6-a024-7557c6c16aab" providerId="ADAL" clId="{850367E2-D1DC-4F4F-AB68-F97A22BA04E8}" dt="2023-03-08T08:53:28.564" v="736" actId="20577"/>
          <ac:spMkLst>
            <pc:docMk/>
            <pc:sldMk cId="3818289999" sldId="2147378829"/>
            <ac:spMk id="2" creationId="{00000000-0000-0000-0000-000000000000}"/>
          </ac:spMkLst>
        </pc:spChg>
        <pc:spChg chg="mod">
          <ac:chgData name="Alexis Pallain" userId="c36ed1c7-ded9-4db6-a024-7557c6c16aab" providerId="ADAL" clId="{850367E2-D1DC-4F4F-AB68-F97A22BA04E8}" dt="2023-03-08T08:55:02.634" v="774" actId="14100"/>
          <ac:spMkLst>
            <pc:docMk/>
            <pc:sldMk cId="3818289999" sldId="2147378829"/>
            <ac:spMk id="6" creationId="{4A46C37D-4637-46E0-99BE-2B6B42CE6ED0}"/>
          </ac:spMkLst>
        </pc:spChg>
      </pc:sldChg>
      <pc:sldChg chg="add del">
        <pc:chgData name="Alexis Pallain" userId="c36ed1c7-ded9-4db6-a024-7557c6c16aab" providerId="ADAL" clId="{850367E2-D1DC-4F4F-AB68-F97A22BA04E8}" dt="2023-03-08T08:53:22.311" v="729"/>
        <pc:sldMkLst>
          <pc:docMk/>
          <pc:sldMk cId="4279192714" sldId="2147378829"/>
        </pc:sldMkLst>
      </pc:sldChg>
      <pc:sldChg chg="addSp modSp new mod">
        <pc:chgData name="Alexis Pallain" userId="c36ed1c7-ded9-4db6-a024-7557c6c16aab" providerId="ADAL" clId="{850367E2-D1DC-4F4F-AB68-F97A22BA04E8}" dt="2023-03-08T09:17:25.557" v="867" actId="1076"/>
        <pc:sldMkLst>
          <pc:docMk/>
          <pc:sldMk cId="400922107" sldId="2147378830"/>
        </pc:sldMkLst>
        <pc:spChg chg="mod">
          <ac:chgData name="Alexis Pallain" userId="c36ed1c7-ded9-4db6-a024-7557c6c16aab" providerId="ADAL" clId="{850367E2-D1DC-4F4F-AB68-F97A22BA04E8}" dt="2023-03-08T09:17:13.506" v="865" actId="20577"/>
          <ac:spMkLst>
            <pc:docMk/>
            <pc:sldMk cId="400922107" sldId="2147378830"/>
            <ac:spMk id="4" creationId="{16279D74-E900-CED6-C55F-2F6624D9F0E0}"/>
          </ac:spMkLst>
        </pc:spChg>
        <pc:graphicFrameChg chg="add mod">
          <ac:chgData name="Alexis Pallain" userId="c36ed1c7-ded9-4db6-a024-7557c6c16aab" providerId="ADAL" clId="{850367E2-D1DC-4F4F-AB68-F97A22BA04E8}" dt="2023-03-08T09:17:25.557" v="867" actId="1076"/>
          <ac:graphicFrameMkLst>
            <pc:docMk/>
            <pc:sldMk cId="400922107" sldId="2147378830"/>
            <ac:graphicFrameMk id="5" creationId="{E64C96BA-8D3F-9C33-F285-747FCE50EBB7}"/>
          </ac:graphicFrameMkLst>
        </pc:graphicFrameChg>
      </pc:sldChg>
      <pc:sldChg chg="addSp delSp modSp add del mod">
        <pc:chgData name="Alexis Pallain" userId="c36ed1c7-ded9-4db6-a024-7557c6c16aab" providerId="ADAL" clId="{850367E2-D1DC-4F4F-AB68-F97A22BA04E8}" dt="2023-03-22T16:46:16.339" v="1429" actId="14100"/>
        <pc:sldMkLst>
          <pc:docMk/>
          <pc:sldMk cId="3693928197" sldId="2147379066"/>
        </pc:sldMkLst>
        <pc:spChg chg="mod">
          <ac:chgData name="Alexis Pallain" userId="c36ed1c7-ded9-4db6-a024-7557c6c16aab" providerId="ADAL" clId="{850367E2-D1DC-4F4F-AB68-F97A22BA04E8}" dt="2023-03-08T14:40:18.433" v="1416" actId="1076"/>
          <ac:spMkLst>
            <pc:docMk/>
            <pc:sldMk cId="3693928197" sldId="2147379066"/>
            <ac:spMk id="19" creationId="{B9FF3146-0055-CF54-F633-E553E57CD8F3}"/>
          </ac:spMkLst>
        </pc:spChg>
        <pc:spChg chg="mod">
          <ac:chgData name="Alexis Pallain" userId="c36ed1c7-ded9-4db6-a024-7557c6c16aab" providerId="ADAL" clId="{850367E2-D1DC-4F4F-AB68-F97A22BA04E8}" dt="2023-03-08T14:40:09.370" v="1414" actId="1076"/>
          <ac:spMkLst>
            <pc:docMk/>
            <pc:sldMk cId="3693928197" sldId="2147379066"/>
            <ac:spMk id="31" creationId="{35E515AF-7899-B1F7-D4D6-6EB37C316386}"/>
          </ac:spMkLst>
        </pc:spChg>
        <pc:spChg chg="mod">
          <ac:chgData name="Alexis Pallain" userId="c36ed1c7-ded9-4db6-a024-7557c6c16aab" providerId="ADAL" clId="{850367E2-D1DC-4F4F-AB68-F97A22BA04E8}" dt="2023-03-08T14:07:14.794" v="1261" actId="108"/>
          <ac:spMkLst>
            <pc:docMk/>
            <pc:sldMk cId="3693928197" sldId="2147379066"/>
            <ac:spMk id="67" creationId="{0A876F6B-7AF9-1749-1B72-60752D6AFE94}"/>
          </ac:spMkLst>
        </pc:spChg>
        <pc:spChg chg="mod">
          <ac:chgData name="Alexis Pallain" userId="c36ed1c7-ded9-4db6-a024-7557c6c16aab" providerId="ADAL" clId="{850367E2-D1DC-4F4F-AB68-F97A22BA04E8}" dt="2023-03-08T14:42:21.554" v="1418" actId="20577"/>
          <ac:spMkLst>
            <pc:docMk/>
            <pc:sldMk cId="3693928197" sldId="2147379066"/>
            <ac:spMk id="95" creationId="{7EF478FA-7529-6177-100C-9AB7D938B051}"/>
          </ac:spMkLst>
        </pc:spChg>
        <pc:picChg chg="add mod">
          <ac:chgData name="Alexis Pallain" userId="c36ed1c7-ded9-4db6-a024-7557c6c16aab" providerId="ADAL" clId="{850367E2-D1DC-4F4F-AB68-F97A22BA04E8}" dt="2023-03-08T14:06:07.305" v="1251" actId="1076"/>
          <ac:picMkLst>
            <pc:docMk/>
            <pc:sldMk cId="3693928197" sldId="2147379066"/>
            <ac:picMk id="6" creationId="{73A1E3B0-6AC2-1C80-EB69-1B0C2DB91DA2}"/>
          </ac:picMkLst>
        </pc:picChg>
        <pc:picChg chg="add mod">
          <ac:chgData name="Alexis Pallain" userId="c36ed1c7-ded9-4db6-a024-7557c6c16aab" providerId="ADAL" clId="{850367E2-D1DC-4F4F-AB68-F97A22BA04E8}" dt="2023-03-08T14:06:21.073" v="1255" actId="1076"/>
          <ac:picMkLst>
            <pc:docMk/>
            <pc:sldMk cId="3693928197" sldId="2147379066"/>
            <ac:picMk id="7" creationId="{F83031BF-0147-1810-64C0-95C9A7CFF95D}"/>
          </ac:picMkLst>
        </pc:picChg>
        <pc:picChg chg="add del mod">
          <ac:chgData name="Alexis Pallain" userId="c36ed1c7-ded9-4db6-a024-7557c6c16aab" providerId="ADAL" clId="{850367E2-D1DC-4F4F-AB68-F97A22BA04E8}" dt="2023-03-08T14:39:41.723" v="1408" actId="478"/>
          <ac:picMkLst>
            <pc:docMk/>
            <pc:sldMk cId="3693928197" sldId="2147379066"/>
            <ac:picMk id="10" creationId="{57CC9F30-035A-BFDA-26FA-EA1A4E0FF166}"/>
          </ac:picMkLst>
        </pc:picChg>
        <pc:picChg chg="del">
          <ac:chgData name="Alexis Pallain" userId="c36ed1c7-ded9-4db6-a024-7557c6c16aab" providerId="ADAL" clId="{850367E2-D1DC-4F4F-AB68-F97A22BA04E8}" dt="2023-03-08T14:39:32.748" v="1405" actId="478"/>
          <ac:picMkLst>
            <pc:docMk/>
            <pc:sldMk cId="3693928197" sldId="2147379066"/>
            <ac:picMk id="17" creationId="{4621B02C-CE6F-6A06-17F0-520C35B03BBF}"/>
          </ac:picMkLst>
        </pc:picChg>
        <pc:picChg chg="add mod">
          <ac:chgData name="Alexis Pallain" userId="c36ed1c7-ded9-4db6-a024-7557c6c16aab" providerId="ADAL" clId="{850367E2-D1DC-4F4F-AB68-F97A22BA04E8}" dt="2023-03-08T14:40:12.002" v="1415" actId="14100"/>
          <ac:picMkLst>
            <pc:docMk/>
            <pc:sldMk cId="3693928197" sldId="2147379066"/>
            <ac:picMk id="18" creationId="{AADBAF7E-F7A1-63AA-95E9-0B4D96772FD9}"/>
          </ac:picMkLst>
        </pc:picChg>
        <pc:picChg chg="add mod">
          <ac:chgData name="Alexis Pallain" userId="c36ed1c7-ded9-4db6-a024-7557c6c16aab" providerId="ADAL" clId="{850367E2-D1DC-4F4F-AB68-F97A22BA04E8}" dt="2023-03-08T14:42:47.849" v="1424" actId="1076"/>
          <ac:picMkLst>
            <pc:docMk/>
            <pc:sldMk cId="3693928197" sldId="2147379066"/>
            <ac:picMk id="21" creationId="{00166E3C-7B62-AF6C-9C42-B9C8F563B143}"/>
          </ac:picMkLst>
        </pc:picChg>
        <pc:picChg chg="mod">
          <ac:chgData name="Alexis Pallain" userId="c36ed1c7-ded9-4db6-a024-7557c6c16aab" providerId="ADAL" clId="{850367E2-D1DC-4F4F-AB68-F97A22BA04E8}" dt="2023-03-08T14:40:05.808" v="1413" actId="1076"/>
          <ac:picMkLst>
            <pc:docMk/>
            <pc:sldMk cId="3693928197" sldId="2147379066"/>
            <ac:picMk id="30" creationId="{17A7BA3B-3A07-7486-D33D-055CBCD70B44}"/>
          </ac:picMkLst>
        </pc:picChg>
        <pc:picChg chg="del">
          <ac:chgData name="Alexis Pallain" userId="c36ed1c7-ded9-4db6-a024-7557c6c16aab" providerId="ADAL" clId="{850367E2-D1DC-4F4F-AB68-F97A22BA04E8}" dt="2023-03-08T14:06:10.745" v="1252" actId="478"/>
          <ac:picMkLst>
            <pc:docMk/>
            <pc:sldMk cId="3693928197" sldId="2147379066"/>
            <ac:picMk id="68" creationId="{3BD3A820-4935-A7AB-7C2B-7E8BF98FDF78}"/>
          </ac:picMkLst>
        </pc:picChg>
        <pc:picChg chg="del">
          <ac:chgData name="Alexis Pallain" userId="c36ed1c7-ded9-4db6-a024-7557c6c16aab" providerId="ADAL" clId="{850367E2-D1DC-4F4F-AB68-F97A22BA04E8}" dt="2023-03-08T14:06:02.858" v="1250" actId="478"/>
          <ac:picMkLst>
            <pc:docMk/>
            <pc:sldMk cId="3693928197" sldId="2147379066"/>
            <ac:picMk id="90" creationId="{29D56E89-1DC6-8F8C-B1FE-EB7F019C9C60}"/>
          </ac:picMkLst>
        </pc:picChg>
        <pc:picChg chg="del">
          <ac:chgData name="Alexis Pallain" userId="c36ed1c7-ded9-4db6-a024-7557c6c16aab" providerId="ADAL" clId="{850367E2-D1DC-4F4F-AB68-F97A22BA04E8}" dt="2023-03-08T14:42:35.178" v="1419" actId="478"/>
          <ac:picMkLst>
            <pc:docMk/>
            <pc:sldMk cId="3693928197" sldId="2147379066"/>
            <ac:picMk id="94" creationId="{7DD1201F-6549-BE87-7EF9-9CC2E83F270E}"/>
          </ac:picMkLst>
        </pc:picChg>
        <pc:picChg chg="mod">
          <ac:chgData name="Alexis Pallain" userId="c36ed1c7-ded9-4db6-a024-7557c6c16aab" providerId="ADAL" clId="{850367E2-D1DC-4F4F-AB68-F97A22BA04E8}" dt="2023-03-22T16:46:16.339" v="1429" actId="14100"/>
          <ac:picMkLst>
            <pc:docMk/>
            <pc:sldMk cId="3693928197" sldId="2147379066"/>
            <ac:picMk id="1036" creationId="{C556EFCD-41D2-FA57-AAE2-37B5958796F1}"/>
          </ac:picMkLst>
        </pc:picChg>
        <pc:picChg chg="mod">
          <ac:chgData name="Alexis Pallain" userId="c36ed1c7-ded9-4db6-a024-7557c6c16aab" providerId="ADAL" clId="{850367E2-D1DC-4F4F-AB68-F97A22BA04E8}" dt="2023-03-08T14:42:52.513" v="1425" actId="1076"/>
          <ac:picMkLst>
            <pc:docMk/>
            <pc:sldMk cId="3693928197" sldId="2147379066"/>
            <ac:picMk id="223247" creationId="{174D7764-1D2E-E9A7-55F0-D4854D903520}"/>
          </ac:picMkLst>
        </pc:picChg>
      </pc:sldChg>
      <pc:sldChg chg="addSp delSp modSp add mod ord">
        <pc:chgData name="Alexis Pallain" userId="c36ed1c7-ded9-4db6-a024-7557c6c16aab" providerId="ADAL" clId="{850367E2-D1DC-4F4F-AB68-F97A22BA04E8}" dt="2023-03-08T14:12:44.057" v="1313" actId="732"/>
        <pc:sldMkLst>
          <pc:docMk/>
          <pc:sldMk cId="3098091831" sldId="2147379067"/>
        </pc:sldMkLst>
        <pc:spChg chg="mod">
          <ac:chgData name="Alexis Pallain" userId="c36ed1c7-ded9-4db6-a024-7557c6c16aab" providerId="ADAL" clId="{850367E2-D1DC-4F4F-AB68-F97A22BA04E8}" dt="2023-03-08T14:11:46.825" v="1309" actId="20577"/>
          <ac:spMkLst>
            <pc:docMk/>
            <pc:sldMk cId="3098091831" sldId="2147379067"/>
            <ac:spMk id="4" creationId="{3FE01BB9-D657-EEBE-4460-CCF401419E55}"/>
          </ac:spMkLst>
        </pc:spChg>
        <pc:picChg chg="del">
          <ac:chgData name="Alexis Pallain" userId="c36ed1c7-ded9-4db6-a024-7557c6c16aab" providerId="ADAL" clId="{850367E2-D1DC-4F4F-AB68-F97A22BA04E8}" dt="2023-03-08T14:11:17.450" v="1263" actId="478"/>
          <ac:picMkLst>
            <pc:docMk/>
            <pc:sldMk cId="3098091831" sldId="2147379067"/>
            <ac:picMk id="5" creationId="{7FCF433F-B4BF-B0B1-3AA4-8BFC28B98926}"/>
          </ac:picMkLst>
        </pc:picChg>
        <pc:picChg chg="add mod modCrop">
          <ac:chgData name="Alexis Pallain" userId="c36ed1c7-ded9-4db6-a024-7557c6c16aab" providerId="ADAL" clId="{850367E2-D1DC-4F4F-AB68-F97A22BA04E8}" dt="2023-03-08T14:12:44.057" v="1313" actId="732"/>
          <ac:picMkLst>
            <pc:docMk/>
            <pc:sldMk cId="3098091831" sldId="2147379067"/>
            <ac:picMk id="6" creationId="{0F731716-86A4-DA5F-656C-FC1952767E34}"/>
          </ac:picMkLst>
        </pc:picChg>
      </pc:sldChg>
      <pc:sldMasterChg chg="delSldLayout">
        <pc:chgData name="Alexis Pallain" userId="c36ed1c7-ded9-4db6-a024-7557c6c16aab" providerId="ADAL" clId="{850367E2-D1DC-4F4F-AB68-F97A22BA04E8}" dt="2023-03-08T09:21:47.029" v="915" actId="47"/>
        <pc:sldMasterMkLst>
          <pc:docMk/>
          <pc:sldMasterMk cId="3244311322" sldId="2147483714"/>
        </pc:sldMasterMkLst>
        <pc:sldLayoutChg chg="del">
          <pc:chgData name="Alexis Pallain" userId="c36ed1c7-ded9-4db6-a024-7557c6c16aab" providerId="ADAL" clId="{850367E2-D1DC-4F4F-AB68-F97A22BA04E8}" dt="2023-03-08T09:21:47.029" v="915" actId="47"/>
          <pc:sldLayoutMkLst>
            <pc:docMk/>
            <pc:sldMasterMk cId="3244311322" sldId="2147483714"/>
            <pc:sldLayoutMk cId="1786797045" sldId="214748383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C5B31EDB-2B11-1F43-A71F-A8DF542F5DAA}" type="datetimeFigureOut">
              <a:rPr lang="en-GB" smtClean="0"/>
              <a:pPr/>
              <a:t>07/08/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75681A11-3955-4C4A-B883-8F3EA58F0D8B}" type="slidenum">
              <a:rPr lang="en-GB" smtClean="0"/>
              <a:pPr/>
              <a:t>‹#›</a:t>
            </a:fld>
            <a:endParaRPr lang="en-GB"/>
          </a:p>
        </p:txBody>
      </p:sp>
    </p:spTree>
    <p:extLst>
      <p:ext uri="{BB962C8B-B14F-4D97-AF65-F5344CB8AC3E}">
        <p14:creationId xmlns:p14="http://schemas.microsoft.com/office/powerpoint/2010/main" val="29758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681A11-3955-4C4A-B883-8F3EA58F0D8B}"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93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p:spPr>
      </p:sp>
      <p:sp>
        <p:nvSpPr>
          <p:cNvPr id="71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Count rate &gt; 10Mcps</a:t>
            </a:r>
          </a:p>
          <a:p>
            <a:pPr eaLnBrk="1" hangingPunct="1">
              <a:spcBef>
                <a:spcPct val="0"/>
              </a:spcBef>
            </a:pPr>
            <a:endParaRPr lang="en-US" dirty="0"/>
          </a:p>
        </p:txBody>
      </p:sp>
      <p:sp>
        <p:nvSpPr>
          <p:cNvPr id="717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5F2AAD0-7B0A-4E6B-A4CD-1E0E304C8E87}" type="slidenum">
              <a:rPr lang="en-GB" smtClean="0"/>
              <a:pPr/>
              <a:t>10</a:t>
            </a:fld>
            <a:endParaRPr lang="en-GB"/>
          </a:p>
        </p:txBody>
      </p:sp>
    </p:spTree>
    <p:extLst>
      <p:ext uri="{BB962C8B-B14F-4D97-AF65-F5344CB8AC3E}">
        <p14:creationId xmlns:p14="http://schemas.microsoft.com/office/powerpoint/2010/main" val="31830404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a:solidFill>
                  <a:schemeClr val="tx1"/>
                </a:solidFill>
                <a:effectLst/>
                <a:latin typeface="+mn-lt"/>
                <a:ea typeface="+mn-ea"/>
                <a:cs typeface="+mn-cs"/>
              </a:rPr>
              <a:t>Bulk Elemental Composition Analyzer </a:t>
            </a:r>
          </a:p>
          <a:p>
            <a:r>
              <a:rPr lang="en-US" sz="1100" b="0" i="0" kern="1200" dirty="0">
                <a:solidFill>
                  <a:schemeClr val="tx1"/>
                </a:solidFill>
                <a:effectLst/>
                <a:latin typeface="+mn-lt"/>
                <a:ea typeface="+mn-ea"/>
                <a:cs typeface="+mn-cs"/>
              </a:rPr>
              <a:t>IEEE 2016</a:t>
            </a:r>
            <a:endParaRPr lang="en-US" sz="1100" dirty="0"/>
          </a:p>
        </p:txBody>
      </p:sp>
      <p:sp>
        <p:nvSpPr>
          <p:cNvPr id="4" name="Slide Number Placeholder 3"/>
          <p:cNvSpPr>
            <a:spLocks noGrp="1"/>
          </p:cNvSpPr>
          <p:nvPr>
            <p:ph type="sldNum" sz="quarter" idx="5"/>
          </p:nvPr>
        </p:nvSpPr>
        <p:spPr/>
        <p:txBody>
          <a:bodyPr/>
          <a:lstStyle/>
          <a:p>
            <a:fld id="{B832CC15-3A9B-41D7-A738-F0A00BFD4A86}" type="slidenum">
              <a:rPr lang="en-US" smtClean="0"/>
              <a:t>16</a:t>
            </a:fld>
            <a:endParaRPr lang="en-US"/>
          </a:p>
        </p:txBody>
      </p:sp>
    </p:spTree>
    <p:extLst>
      <p:ext uri="{BB962C8B-B14F-4D97-AF65-F5344CB8AC3E}">
        <p14:creationId xmlns:p14="http://schemas.microsoft.com/office/powerpoint/2010/main" val="3073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911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1944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None/>
            </a:pPr>
            <a:endParaRPr lang="en-US" dirty="0"/>
          </a:p>
          <a:p>
            <a:r>
              <a:rPr lang="en-US" dirty="0"/>
              <a:t> </a:t>
            </a:r>
          </a:p>
        </p:txBody>
      </p:sp>
    </p:spTree>
    <p:extLst>
      <p:ext uri="{BB962C8B-B14F-4D97-AF65-F5344CB8AC3E}">
        <p14:creationId xmlns:p14="http://schemas.microsoft.com/office/powerpoint/2010/main" val="1053813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xfrm>
            <a:off x="685800" y="1143000"/>
            <a:ext cx="5486400" cy="3086100"/>
          </a:xfrm>
          <a:ln/>
        </p:spPr>
      </p:sp>
      <p:sp>
        <p:nvSpPr>
          <p:cNvPr id="44035" name="Notes Placeholder 2"/>
          <p:cNvSpPr>
            <a:spLocks noGrp="1"/>
          </p:cNvSpPr>
          <p:nvPr>
            <p:ph type="body" idx="1"/>
          </p:nvPr>
        </p:nvSpPr>
        <p:spPr>
          <a:noFill/>
          <a:ln/>
        </p:spPr>
        <p:txBody>
          <a:bodyPr/>
          <a:lstStyle/>
          <a:p>
            <a:endParaRPr lang="en-US" dirty="0">
              <a:latin typeface="Arial" charset="0"/>
            </a:endParaRPr>
          </a:p>
        </p:txBody>
      </p:sp>
      <p:sp>
        <p:nvSpPr>
          <p:cNvPr id="5" name="Date Placeholder 4"/>
          <p:cNvSpPr>
            <a:spLocks noGrp="1"/>
          </p:cNvSpPr>
          <p:nvPr>
            <p:ph type="dt" idx="10"/>
          </p:nvPr>
        </p:nvSpPr>
        <p:spPr/>
        <p:txBody>
          <a:bodyPr/>
          <a:lstStyle/>
          <a:p>
            <a:pPr>
              <a:defRPr/>
            </a:pPr>
            <a:fld id="{E7F0A929-B698-4B56-9918-1A8CAF7B7471}" type="datetime1">
              <a:rPr lang="en-US" smtClean="0"/>
              <a:pPr>
                <a:defRPr/>
              </a:pPr>
              <a:t>8/7/2023</a:t>
            </a:fld>
            <a:endParaRPr lang="en-US"/>
          </a:p>
        </p:txBody>
      </p:sp>
    </p:spTree>
    <p:extLst>
      <p:ext uri="{BB962C8B-B14F-4D97-AF65-F5344CB8AC3E}">
        <p14:creationId xmlns:p14="http://schemas.microsoft.com/office/powerpoint/2010/main" val="3054694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asurement and processing happens in 4 main steps. First one is acquisition of capture gamma rays.</a:t>
            </a:r>
          </a:p>
          <a:p>
            <a:r>
              <a:rPr lang="en-US" dirty="0"/>
              <a:t>Spectroscopy relies on the analysis of gamma ray spectra. How are gamma rays produced and measured?</a:t>
            </a:r>
          </a:p>
          <a:p>
            <a:r>
              <a:rPr lang="en-US" dirty="0"/>
              <a:t>-Schematic view of the tool</a:t>
            </a:r>
          </a:p>
          <a:p>
            <a:r>
              <a:rPr lang="en-US" dirty="0"/>
              <a:t>-fast neutrons scattering, then capture by nuclei</a:t>
            </a:r>
          </a:p>
          <a:p>
            <a:r>
              <a:rPr lang="en-US" dirty="0"/>
              <a:t>-Capture gamma rays are characteristic of the emitting nucleus (characteristic energies)</a:t>
            </a:r>
          </a:p>
          <a:p>
            <a:r>
              <a:rPr lang="en-US" dirty="0"/>
              <a:t>-Detector converts gamma rays in UV light inside scintillation crystal, </a:t>
            </a:r>
          </a:p>
          <a:p>
            <a:endParaRPr lang="en-US" dirty="0"/>
          </a:p>
          <a:p>
            <a:r>
              <a:rPr lang="en-US" dirty="0"/>
              <a:t>Schematic view of the tool with the neutron generator and gamma ray spectroscopy detector. 14 MeV neutrons emitted by the generator, scatter off nuclei in formation, slow down until absorbed by a nucleus. After capture, nucleus in an excited state, decays to fundamental state by releasing excess energy in form of one or several gamma rays (capture gamma ray). Some of these gamma rays will reach the detector scintillation crystal in the tool, deposit some or all of their energy, which gets released by the crystal in form of UV light. These UV photons are then converted into electrons in the PMT photocathode, and the photoelectrons are multiplied in the same PMT to form a measurable electrical signal. </a:t>
            </a:r>
          </a:p>
          <a:p>
            <a:r>
              <a:rPr lang="en-US" dirty="0"/>
              <a:t>Electrical signal at detector output is proportional to the energy deposited by the incoming gamma ray. </a:t>
            </a:r>
          </a:p>
          <a:p>
            <a:r>
              <a:rPr lang="en-US" dirty="0"/>
              <a:t>A pulse height analyzer is used to produce and histogram of the amplitude of the electrical pulses coming from the detector, which provides the energy distribution of the detected gamma rays. This is called a gamma ray spectrum (capture spectrum here). This is the first step of the spectroscopy measurement.</a:t>
            </a:r>
          </a:p>
        </p:txBody>
      </p:sp>
      <p:sp>
        <p:nvSpPr>
          <p:cNvPr id="4" name="Slide Number Placeholder 3"/>
          <p:cNvSpPr>
            <a:spLocks noGrp="1"/>
          </p:cNvSpPr>
          <p:nvPr>
            <p:ph type="sldNum" sz="quarter" idx="5"/>
          </p:nvPr>
        </p:nvSpPr>
        <p:spPr/>
        <p:txBody>
          <a:bodyPr/>
          <a:lstStyle/>
          <a:p>
            <a:fld id="{9B29FCBE-F713-431E-B904-54772D8E2D60}" type="slidenum">
              <a:rPr lang="en-US" smtClean="0"/>
              <a:t>6</a:t>
            </a:fld>
            <a:endParaRPr lang="en-US"/>
          </a:p>
        </p:txBody>
      </p:sp>
    </p:spTree>
    <p:extLst>
      <p:ext uri="{BB962C8B-B14F-4D97-AF65-F5344CB8AC3E}">
        <p14:creationId xmlns:p14="http://schemas.microsoft.com/office/powerpoint/2010/main" val="816443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onstruction of measured spectrum using linear combination of elemental standard spectra</a:t>
            </a:r>
          </a:p>
          <a:p>
            <a:r>
              <a:rPr lang="en-US" dirty="0"/>
              <a:t>-What are standard spectra</a:t>
            </a:r>
          </a:p>
          <a:p>
            <a:r>
              <a:rPr lang="en-US" dirty="0"/>
              <a:t>-TB is special: composition match parts around detector to minimize environmental effects on TB spectrum shape</a:t>
            </a:r>
          </a:p>
          <a:p>
            <a:r>
              <a:rPr lang="en-US" dirty="0"/>
              <a:t>-All present elements need to be included for reconstruction</a:t>
            </a:r>
          </a:p>
          <a:p>
            <a:r>
              <a:rPr lang="en-US" dirty="0"/>
              <a:t>-Closure: sensitivities vary from one element to another. Some elements not measured. Considered in closure model. Not all elements can be measured, common associations known. Most elements exist in form of oxyde in sedimentary rocks, sum of the rock forming oxides is 1.</a:t>
            </a:r>
          </a:p>
          <a:p>
            <a:r>
              <a:rPr lang="en-US" dirty="0"/>
              <a:t>-Mineralogy: neural network model. Data=4000 rock samples from 50 different reservoirs. Each sample characterized in lab for elemental and mineral composition. Map dry weights and minerals.</a:t>
            </a:r>
          </a:p>
          <a:p>
            <a:endParaRPr lang="en-US" dirty="0"/>
          </a:p>
          <a:p>
            <a:r>
              <a:rPr lang="en-US" dirty="0"/>
              <a:t>Second step is decomposition of measured spectrum. Basic assumption is that gamma ray spectrum can be reconstructed as a linear combination of elemental gamma ray standards spectra. These standard spectra represent the response of the tool for one single element (Mg, Si, </a:t>
            </a:r>
            <a:r>
              <a:rPr lang="en-US" dirty="0" err="1"/>
              <a:t>etc</a:t>
            </a:r>
            <a:r>
              <a:rPr lang="en-US" dirty="0"/>
              <a:t>…). This decomposition is done using a weighted least square fit of the measured spectrum with the elemental standard spectra. At this step, temperature effects on the detector (resolution and linearity change) as well as tool-to-tool variations need to be accounted for. The spectral stripping provides the relative contribution of each individual elemental standard spectrum in the fit to the measured spectrum, AKA “spectral yields” which are unitless.</a:t>
            </a:r>
          </a:p>
          <a:p>
            <a:endParaRPr lang="en-US" dirty="0"/>
          </a:p>
          <a:p>
            <a:r>
              <a:rPr lang="en-US" dirty="0"/>
              <a:t>In a third step, the spectral yields are converted into actual element mass fractions, or Dry-Weights. This is done using a simplified geological model that relies on the assumption that all rock formations are composed of oxides, and it also relies on commonly observed mineralogical associations between the measured elements and elements that cannot be measured directly or accurately. The model used is called an oxide closure model, which type can be selected here depending on whether Mg is expected in the formation or not (WALK2 or </a:t>
            </a:r>
            <a:r>
              <a:rPr lang="en-US" dirty="0" err="1"/>
              <a:t>Mgwalk</a:t>
            </a:r>
            <a:r>
              <a:rPr lang="en-US" dirty="0"/>
              <a:t>). Those models have been derived from an analysis of thousands of rock samples from various locations and lithologies. </a:t>
            </a:r>
          </a:p>
          <a:p>
            <a:endParaRPr lang="en-US" dirty="0"/>
          </a:p>
          <a:p>
            <a:r>
              <a:rPr lang="en-US" dirty="0"/>
              <a:t>Finally, in a fourth step, the elemental dry-weight are used to determine the minerals weight and volumetric fractions, as well as the rock matrix properties, such as matrix density, matrix sigma, and matrix thermal and epithermal neutron responses.  For this last step, a neural network-based model, described in detail in previous publications, is used to convert the elemental dry weights into the mineral weight and volumetric fraction and derive the matrix properties. This neural network has been trained on the large set of rock samples also used  for deriving the closure model. It is worth saying that this new mineralogy model does not require any user input, therefore making the interpretation of the results easier and making them more consistent.</a:t>
            </a:r>
          </a:p>
        </p:txBody>
      </p:sp>
      <p:sp>
        <p:nvSpPr>
          <p:cNvPr id="4" name="Slide Number Placeholder 3"/>
          <p:cNvSpPr>
            <a:spLocks noGrp="1"/>
          </p:cNvSpPr>
          <p:nvPr>
            <p:ph type="sldNum" sz="quarter" idx="5"/>
          </p:nvPr>
        </p:nvSpPr>
        <p:spPr/>
        <p:txBody>
          <a:bodyPr/>
          <a:lstStyle/>
          <a:p>
            <a:fld id="{9B29FCBE-F713-431E-B904-54772D8E2D60}" type="slidenum">
              <a:rPr lang="en-US" smtClean="0"/>
              <a:t>7</a:t>
            </a:fld>
            <a:endParaRPr lang="en-US"/>
          </a:p>
        </p:txBody>
      </p:sp>
    </p:spTree>
    <p:extLst>
      <p:ext uri="{BB962C8B-B14F-4D97-AF65-F5344CB8AC3E}">
        <p14:creationId xmlns:p14="http://schemas.microsoft.com/office/powerpoint/2010/main" val="2132807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0" i="0" dirty="0">
                <a:solidFill>
                  <a:srgbClr val="202122"/>
                </a:solidFill>
                <a:effectLst/>
                <a:latin typeface="Arial" panose="020B0604020202020204" pitchFamily="34" charset="0"/>
              </a:rPr>
              <a:t> Herron, S.L. and Herron, M.M. 1996. Quantitative Lithology—An Application for Open and Cased Hole Spectroscopy. Paper E presented at the 1996 SPWLA Annual Logging Symposium.</a:t>
            </a:r>
          </a:p>
          <a:p>
            <a:br>
              <a:rPr lang="en-US" dirty="0"/>
            </a:br>
            <a:endParaRPr lang="en-US" dirty="0"/>
          </a:p>
        </p:txBody>
      </p:sp>
      <p:sp>
        <p:nvSpPr>
          <p:cNvPr id="4" name="Slide Number Placeholder 3"/>
          <p:cNvSpPr>
            <a:spLocks noGrp="1"/>
          </p:cNvSpPr>
          <p:nvPr>
            <p:ph type="sldNum" sz="quarter" idx="5"/>
          </p:nvPr>
        </p:nvSpPr>
        <p:spPr/>
        <p:txBody>
          <a:bodyPr/>
          <a:lstStyle/>
          <a:p>
            <a:fld id="{75681A11-3955-4C4A-B883-8F3EA58F0D8B}" type="slidenum">
              <a:rPr lang="en-GB" smtClean="0"/>
              <a:pPr/>
              <a:t>8</a:t>
            </a:fld>
            <a:endParaRPr lang="en-GB"/>
          </a:p>
        </p:txBody>
      </p:sp>
    </p:spTree>
    <p:extLst>
      <p:ext uri="{BB962C8B-B14F-4D97-AF65-F5344CB8AC3E}">
        <p14:creationId xmlns:p14="http://schemas.microsoft.com/office/powerpoint/2010/main" val="2853401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US" b="0" i="0" dirty="0">
                <a:solidFill>
                  <a:srgbClr val="202122"/>
                </a:solidFill>
                <a:effectLst/>
                <a:latin typeface="Arial" panose="020B0604020202020204" pitchFamily="34" charset="0"/>
              </a:rPr>
              <a:t> Herron, S.L. and Herron, M.M. 1996. Quantitative Lithology—An Application for Open and Cased Hole Spectroscopy. Paper E presented at the 1996 SPWLA Annual Logging Symposium.</a:t>
            </a:r>
          </a:p>
          <a:p>
            <a:br>
              <a:rPr lang="en-US" dirty="0"/>
            </a:br>
            <a:endParaRPr lang="en-US" dirty="0"/>
          </a:p>
        </p:txBody>
      </p:sp>
      <p:sp>
        <p:nvSpPr>
          <p:cNvPr id="4" name="Slide Number Placeholder 3"/>
          <p:cNvSpPr>
            <a:spLocks noGrp="1"/>
          </p:cNvSpPr>
          <p:nvPr>
            <p:ph type="sldNum" sz="quarter" idx="5"/>
          </p:nvPr>
        </p:nvSpPr>
        <p:spPr/>
        <p:txBody>
          <a:bodyPr/>
          <a:lstStyle/>
          <a:p>
            <a:fld id="{75681A11-3955-4C4A-B883-8F3EA58F0D8B}" type="slidenum">
              <a:rPr lang="en-GB" smtClean="0"/>
              <a:pPr/>
              <a:t>9</a:t>
            </a:fld>
            <a:endParaRPr lang="en-GB"/>
          </a:p>
        </p:txBody>
      </p:sp>
    </p:spTree>
    <p:extLst>
      <p:ext uri="{BB962C8B-B14F-4D97-AF65-F5344CB8AC3E}">
        <p14:creationId xmlns:p14="http://schemas.microsoft.com/office/powerpoint/2010/main" val="25100501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31ED342-3D5F-E744-5C02-ED60F13F3A32}"/>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p:nvPr>
        </p:nvSpPr>
        <p:spPr>
          <a:xfrm>
            <a:off x="457200" y="975334"/>
            <a:ext cx="9144000" cy="3439236"/>
          </a:xfrm>
        </p:spPr>
        <p:txBody>
          <a:bodyPr anchor="b">
            <a:noAutofit/>
          </a:bodyPr>
          <a:lstStyle>
            <a:lvl1pPr algn="l">
              <a:lnSpc>
                <a:spcPct val="80000"/>
              </a:lnSpc>
              <a:defRPr sz="88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pic>
        <p:nvPicPr>
          <p:cNvPr id="5" name="Graphic 4">
            <a:extLst>
              <a:ext uri="{FF2B5EF4-FFF2-40B4-BE49-F238E27FC236}">
                <a16:creationId xmlns:a16="http://schemas.microsoft.com/office/drawing/2014/main" id="{AC1A5716-3608-4053-4CC8-84BF92B5D6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3015867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Blu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50BD1E-00A9-4F45-5A21-3A16C0123F69}"/>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5" name="Graphic 4">
            <a:extLst>
              <a:ext uri="{FF2B5EF4-FFF2-40B4-BE49-F238E27FC236}">
                <a16:creationId xmlns:a16="http://schemas.microsoft.com/office/drawing/2014/main" id="{DB5DA967-430E-FD94-6B0C-7C66CB6678D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7855965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F53DD-0966-0BFD-B778-F487FDD28A20}"/>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Text Placeholder 8">
            <a:extLst>
              <a:ext uri="{FF2B5EF4-FFF2-40B4-BE49-F238E27FC236}">
                <a16:creationId xmlns:a16="http://schemas.microsoft.com/office/drawing/2014/main" id="{ECA6186D-802B-AA5D-226E-496C143AC661}"/>
              </a:ext>
            </a:extLst>
          </p:cNvPr>
          <p:cNvSpPr>
            <a:spLocks noGrp="1"/>
          </p:cNvSpPr>
          <p:nvPr>
            <p:ph type="body" sz="quarter" idx="13"/>
          </p:nvPr>
        </p:nvSpPr>
        <p:spPr>
          <a:xfrm>
            <a:off x="8223250" y="4568825"/>
            <a:ext cx="3968750" cy="2289175"/>
          </a:xfrm>
          <a:solidFill>
            <a:schemeClr val="bg2"/>
          </a:solidFill>
        </p:spPr>
        <p:txBody>
          <a:bodyPr lIns="468000" tIns="468000" rIns="36000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141BAAD1-B2B6-51E6-5B60-1808F5AC81C2}"/>
              </a:ext>
            </a:extLst>
          </p:cNvPr>
          <p:cNvSpPr>
            <a:spLocks noGrp="1"/>
          </p:cNvSpPr>
          <p:nvPr>
            <p:ph type="chart" sz="quarter" idx="14"/>
          </p:nvPr>
        </p:nvSpPr>
        <p:spPr>
          <a:xfrm>
            <a:off x="8680450" y="457200"/>
            <a:ext cx="3192463" cy="3651250"/>
          </a:xfrm>
        </p:spPr>
        <p:txBody>
          <a:bodyPr/>
          <a:lstStyle/>
          <a:p>
            <a:r>
              <a:rPr lang="en-US"/>
              <a:t>Click icon to add chart</a:t>
            </a:r>
            <a:endParaRPr lang="en-GB"/>
          </a:p>
        </p:txBody>
      </p:sp>
      <p:pic>
        <p:nvPicPr>
          <p:cNvPr id="5" name="Graphic 4">
            <a:extLst>
              <a:ext uri="{FF2B5EF4-FFF2-40B4-BE49-F238E27FC236}">
                <a16:creationId xmlns:a16="http://schemas.microsoft.com/office/drawing/2014/main" id="{BCBC916D-681F-B16B-82E0-C83AEC5C63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07207809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and Image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8080376"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9998670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Content Placeholder 2">
            <a:extLst>
              <a:ext uri="{FF2B5EF4-FFF2-40B4-BE49-F238E27FC236}">
                <a16:creationId xmlns:a16="http://schemas.microsoft.com/office/drawing/2014/main" id="{7C38C3D6-67EC-0336-DD99-56DDA5E52710}"/>
              </a:ext>
            </a:extLst>
          </p:cNvPr>
          <p:cNvSpPr>
            <a:spLocks noGrp="1"/>
          </p:cNvSpPr>
          <p:nvPr>
            <p:ph sz="half" idx="13"/>
          </p:nvPr>
        </p:nvSpPr>
        <p:spPr>
          <a:xfrm>
            <a:off x="4572000" y="2279650"/>
            <a:ext cx="73009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437768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and 2 Image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4111625"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1828800"/>
            <a:ext cx="3968750" cy="5022850"/>
          </a:xfrm>
        </p:spPr>
        <p:txBody>
          <a:bodyPr/>
          <a:lstStyle/>
          <a:p>
            <a:r>
              <a:rPr lang="en-US"/>
              <a:t>Click icon to add picture</a:t>
            </a:r>
            <a:endParaRPr lang="en-GB"/>
          </a:p>
        </p:txBody>
      </p:sp>
    </p:spTree>
    <p:extLst>
      <p:ext uri="{BB962C8B-B14F-4D97-AF65-F5344CB8AC3E}">
        <p14:creationId xmlns:p14="http://schemas.microsoft.com/office/powerpoint/2010/main" val="489604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9350847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2 Im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5797550" cy="3197225"/>
          </a:xfrm>
        </p:spPr>
        <p:txBody>
          <a:bodyPr/>
          <a:lstStyle/>
          <a:p>
            <a:r>
              <a:rPr lang="en-US"/>
              <a:t>Click icon to add picture</a:t>
            </a:r>
            <a:endParaRPr lang="en-GB"/>
          </a:p>
        </p:txBody>
      </p:sp>
    </p:spTree>
    <p:extLst>
      <p:ext uri="{BB962C8B-B14F-4D97-AF65-F5344CB8AC3E}">
        <p14:creationId xmlns:p14="http://schemas.microsoft.com/office/powerpoint/2010/main" val="326067019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3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9594850" y="3654425"/>
            <a:ext cx="2597150" cy="3197225"/>
          </a:xfrm>
        </p:spPr>
        <p:txBody>
          <a:bodyPr/>
          <a:lstStyle/>
          <a:p>
            <a:r>
              <a:rPr lang="en-US"/>
              <a:t>Click icon to add picture</a:t>
            </a:r>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3200400" cy="3197225"/>
          </a:xfrm>
        </p:spPr>
        <p:txBody>
          <a:bodyPr/>
          <a:lstStyle/>
          <a:p>
            <a:r>
              <a:rPr lang="en-US"/>
              <a:t>Click icon to add picture</a:t>
            </a:r>
            <a:endParaRPr lang="en-GB"/>
          </a:p>
        </p:txBody>
      </p:sp>
    </p:spTree>
    <p:extLst>
      <p:ext uri="{BB962C8B-B14F-4D97-AF65-F5344CB8AC3E}">
        <p14:creationId xmlns:p14="http://schemas.microsoft.com/office/powerpoint/2010/main" val="38588975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ey Number">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6" name="Rectangle 5">
            <a:extLst>
              <a:ext uri="{FF2B5EF4-FFF2-40B4-BE49-F238E27FC236}">
                <a16:creationId xmlns:a16="http://schemas.microsoft.com/office/drawing/2014/main" id="{DB0C50D2-043C-36A1-1B56-B01E9B752648}"/>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F802C4B2-937C-CC88-1104-BE3049DA47FA}"/>
              </a:ext>
            </a:extLst>
          </p:cNvPr>
          <p:cNvSpPr>
            <a:spLocks noGrp="1"/>
          </p:cNvSpPr>
          <p:nvPr>
            <p:ph type="body" sz="quarter" idx="12" hasCustomPrompt="1"/>
          </p:nvPr>
        </p:nvSpPr>
        <p:spPr>
          <a:xfrm>
            <a:off x="8680450" y="457200"/>
            <a:ext cx="3192463" cy="1371600"/>
          </a:xfrm>
        </p:spPr>
        <p:txBody>
          <a:bodyPr>
            <a:noAutofit/>
          </a:bodyPr>
          <a:lstStyle>
            <a:lvl1pPr>
              <a:lnSpc>
                <a:spcPct val="80000"/>
              </a:lnSpc>
              <a:defRPr sz="14400" b="0">
                <a:solidFill>
                  <a:schemeClr val="bg1"/>
                </a:solidFill>
                <a:latin typeface="+mj-lt"/>
              </a:defRPr>
            </a:lvl1pPr>
          </a:lstStyle>
          <a:p>
            <a:pPr lvl="0"/>
            <a:r>
              <a:rPr lang="en-GB"/>
              <a:t>##</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8223250" y="2279650"/>
            <a:ext cx="3968750" cy="45783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pic>
        <p:nvPicPr>
          <p:cNvPr id="5" name="Graphic 4">
            <a:extLst>
              <a:ext uri="{FF2B5EF4-FFF2-40B4-BE49-F238E27FC236}">
                <a16:creationId xmlns:a16="http://schemas.microsoft.com/office/drawing/2014/main" id="{C2A43E3D-583C-C3D3-EB91-4B474E93AA7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1986922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mage on Blue">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hasCustomPrompt="1"/>
          </p:nvPr>
        </p:nvSpPr>
        <p:spPr>
          <a:xfrm>
            <a:off x="4572000" y="457199"/>
            <a:ext cx="3194050" cy="13716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4108450" y="2279650"/>
            <a:ext cx="8083550" cy="4578350"/>
          </a:xfrm>
        </p:spPr>
        <p:txBody>
          <a:bodyPr/>
          <a:lstStyle/>
          <a:p>
            <a:r>
              <a:rPr lang="en-US"/>
              <a:t>Click icon to add picture</a:t>
            </a:r>
            <a:endParaRPr lang="en-GB"/>
          </a:p>
        </p:txBody>
      </p:sp>
      <p:sp>
        <p:nvSpPr>
          <p:cNvPr id="11" name="Content Placeholder 2">
            <a:extLst>
              <a:ext uri="{FF2B5EF4-FFF2-40B4-BE49-F238E27FC236}">
                <a16:creationId xmlns:a16="http://schemas.microsoft.com/office/drawing/2014/main" id="{09ABDF0F-4BA7-B82C-7345-64CE6436A7E1}"/>
              </a:ext>
            </a:extLst>
          </p:cNvPr>
          <p:cNvSpPr>
            <a:spLocks noGrp="1"/>
          </p:cNvSpPr>
          <p:nvPr>
            <p:ph sz="half" idx="14" hasCustomPrompt="1"/>
          </p:nvPr>
        </p:nvSpPr>
        <p:spPr>
          <a:xfrm>
            <a:off x="8678863" y="457199"/>
            <a:ext cx="3194050" cy="13716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3E9F08A9-468B-A902-D68B-8E0B8D9536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5747039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Multi Layou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D70BFD0F-01A4-774A-DFA5-C9069D2CA6D4}"/>
              </a:ext>
            </a:extLst>
          </p:cNvPr>
          <p:cNvSpPr/>
          <p:nvPr userDrawn="1"/>
        </p:nvSpPr>
        <p:spPr>
          <a:xfrm>
            <a:off x="4108450" y="3194050"/>
            <a:ext cx="8083550" cy="3663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7301E557-BFAD-DC7D-FAEB-CD9F2F26938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921632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3455895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ulti Layout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7CC2D35B-A55A-CCD1-4EDA-D1E8C50801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3522809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55633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9680587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3654425"/>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4572000" y="3654425"/>
            <a:ext cx="7620000" cy="3197225"/>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97021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4108450" cy="6857999"/>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8680450" y="2743200"/>
            <a:ext cx="3511550" cy="4108451"/>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
        <p:nvSpPr>
          <p:cNvPr id="2" name="Picture Placeholder 7">
            <a:extLst>
              <a:ext uri="{FF2B5EF4-FFF2-40B4-BE49-F238E27FC236}">
                <a16:creationId xmlns:a16="http://schemas.microsoft.com/office/drawing/2014/main" id="{15843B81-9280-B787-925B-D94E5BB1E76C}"/>
              </a:ext>
            </a:extLst>
          </p:cNvPr>
          <p:cNvSpPr>
            <a:spLocks noGrp="1"/>
          </p:cNvSpPr>
          <p:nvPr>
            <p:ph type="pic" sz="quarter" idx="16"/>
          </p:nvPr>
        </p:nvSpPr>
        <p:spPr>
          <a:xfrm>
            <a:off x="8680450" y="1"/>
            <a:ext cx="3511550" cy="2743200"/>
          </a:xfrm>
        </p:spPr>
        <p:txBody>
          <a:bodyPr/>
          <a:lstStyle/>
          <a:p>
            <a:r>
              <a:rPr lang="en-US"/>
              <a:t>Click icon to add picture</a:t>
            </a:r>
            <a:endParaRPr lang="en-GB"/>
          </a:p>
        </p:txBody>
      </p:sp>
    </p:spTree>
    <p:extLst>
      <p:ext uri="{BB962C8B-B14F-4D97-AF65-F5344CB8AC3E}">
        <p14:creationId xmlns:p14="http://schemas.microsoft.com/office/powerpoint/2010/main" val="35767086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CB92480-F2BB-6E4D-0B48-BC5E95A858B5}"/>
              </a:ext>
            </a:extLst>
          </p:cNvPr>
          <p:cNvSpPr>
            <a:spLocks noGrp="1"/>
          </p:cNvSpPr>
          <p:nvPr>
            <p:ph type="ftr" sz="quarter" idx="11"/>
          </p:nvPr>
        </p:nvSpPr>
        <p:spPr/>
        <p:txBody>
          <a:bodyPr/>
          <a:lstStyle/>
          <a:p>
            <a:r>
              <a:rPr lang="en-GB"/>
              <a:t>Global footer where sharing status is set. Internal use only.</a:t>
            </a:r>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479917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D5D703-D8EA-9994-BA95-384890B498F7}"/>
              </a:ext>
            </a:extLst>
          </p:cNvPr>
          <p:cNvSpPr>
            <a:spLocks noGrp="1"/>
          </p:cNvSpPr>
          <p:nvPr>
            <p:ph type="ftr" sz="quarter" idx="11"/>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53DCE458-D9A3-4DEA-87B5-6B6AE0C5F74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901135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Content with Captio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26AAED2-4CDB-410F-9334-73F34EA0CB97}"/>
              </a:ext>
            </a:extLst>
          </p:cNvPr>
          <p:cNvGrpSpPr/>
          <p:nvPr userDrawn="1"/>
        </p:nvGrpSpPr>
        <p:grpSpPr>
          <a:xfrm>
            <a:off x="0" y="1451"/>
            <a:ext cx="12188203" cy="6856549"/>
            <a:chOff x="0" y="1451"/>
            <a:chExt cx="12188203" cy="6856549"/>
          </a:xfrm>
        </p:grpSpPr>
        <p:grpSp>
          <p:nvGrpSpPr>
            <p:cNvPr id="9" name="Group 8">
              <a:extLst>
                <a:ext uri="{FF2B5EF4-FFF2-40B4-BE49-F238E27FC236}">
                  <a16:creationId xmlns:a16="http://schemas.microsoft.com/office/drawing/2014/main" id="{DB034F24-2C49-4CAE-89FF-767FF74DBDBB}"/>
                </a:ext>
              </a:extLst>
            </p:cNvPr>
            <p:cNvGrpSpPr/>
            <p:nvPr userDrawn="1"/>
          </p:nvGrpSpPr>
          <p:grpSpPr>
            <a:xfrm>
              <a:off x="0" y="1451"/>
              <a:ext cx="12188203" cy="6856549"/>
              <a:chOff x="0" y="1451"/>
              <a:chExt cx="12188203" cy="6856549"/>
            </a:xfrm>
          </p:grpSpPr>
          <p:grpSp>
            <p:nvGrpSpPr>
              <p:cNvPr id="3" name="Group 2">
                <a:extLst>
                  <a:ext uri="{FF2B5EF4-FFF2-40B4-BE49-F238E27FC236}">
                    <a16:creationId xmlns:a16="http://schemas.microsoft.com/office/drawing/2014/main" id="{9FCEEB91-05DF-4FFB-AA73-3B0FF37BA8D4}"/>
                  </a:ext>
                </a:extLst>
              </p:cNvPr>
              <p:cNvGrpSpPr/>
              <p:nvPr userDrawn="1"/>
            </p:nvGrpSpPr>
            <p:grpSpPr>
              <a:xfrm>
                <a:off x="0" y="1451"/>
                <a:ext cx="12188203" cy="6856549"/>
                <a:chOff x="0" y="1451"/>
                <a:chExt cx="12188203" cy="6856549"/>
              </a:xfrm>
            </p:grpSpPr>
            <p:grpSp>
              <p:nvGrpSpPr>
                <p:cNvPr id="2" name="Group 1">
                  <a:extLst>
                    <a:ext uri="{FF2B5EF4-FFF2-40B4-BE49-F238E27FC236}">
                      <a16:creationId xmlns:a16="http://schemas.microsoft.com/office/drawing/2014/main" id="{337C191C-7FA7-4590-AE8A-332173AD18B2}"/>
                    </a:ext>
                  </a:extLst>
                </p:cNvPr>
                <p:cNvGrpSpPr/>
                <p:nvPr userDrawn="1"/>
              </p:nvGrpSpPr>
              <p:grpSpPr>
                <a:xfrm>
                  <a:off x="0" y="1451"/>
                  <a:ext cx="12188203" cy="6856549"/>
                  <a:chOff x="0" y="1451"/>
                  <a:chExt cx="12188203" cy="6856549"/>
                </a:xfrm>
              </p:grpSpPr>
              <p:grpSp>
                <p:nvGrpSpPr>
                  <p:cNvPr id="17" name="Group 16">
                    <a:extLst>
                      <a:ext uri="{FF2B5EF4-FFF2-40B4-BE49-F238E27FC236}">
                        <a16:creationId xmlns:a16="http://schemas.microsoft.com/office/drawing/2014/main" id="{E3224FC3-92ED-4FAE-AFD0-DFA813244BD8}"/>
                      </a:ext>
                    </a:extLst>
                  </p:cNvPr>
                  <p:cNvGrpSpPr/>
                  <p:nvPr userDrawn="1"/>
                </p:nvGrpSpPr>
                <p:grpSpPr>
                  <a:xfrm>
                    <a:off x="0" y="1451"/>
                    <a:ext cx="12188203" cy="6856549"/>
                    <a:chOff x="1898" y="1451"/>
                    <a:chExt cx="12188203" cy="6856549"/>
                  </a:xfrm>
                </p:grpSpPr>
                <p:pic>
                  <p:nvPicPr>
                    <p:cNvPr id="7" name="Picture 6">
                      <a:extLst>
                        <a:ext uri="{FF2B5EF4-FFF2-40B4-BE49-F238E27FC236}">
                          <a16:creationId xmlns:a16="http://schemas.microsoft.com/office/drawing/2014/main" id="{E80365D9-F04E-4CE0-A094-5DCCAA62A74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898" y="1451"/>
                      <a:ext cx="12188203" cy="6856549"/>
                    </a:xfrm>
                    <a:prstGeom prst="rect">
                      <a:avLst/>
                    </a:prstGeom>
                  </p:spPr>
                </p:pic>
                <p:grpSp>
                  <p:nvGrpSpPr>
                    <p:cNvPr id="12" name="Graphic 20">
                      <a:extLst>
                        <a:ext uri="{FF2B5EF4-FFF2-40B4-BE49-F238E27FC236}">
                          <a16:creationId xmlns:a16="http://schemas.microsoft.com/office/drawing/2014/main" id="{88C470F1-B9E8-4D91-80D4-1455BF209F3F}"/>
                        </a:ext>
                      </a:extLst>
                    </p:cNvPr>
                    <p:cNvGrpSpPr/>
                    <p:nvPr/>
                  </p:nvGrpSpPr>
                  <p:grpSpPr>
                    <a:xfrm>
                      <a:off x="251733" y="6401520"/>
                      <a:ext cx="269460" cy="179250"/>
                      <a:chOff x="2002291" y="5890977"/>
                      <a:chExt cx="1805299" cy="1200923"/>
                    </a:xfrm>
                    <a:solidFill>
                      <a:schemeClr val="bg1"/>
                    </a:solidFill>
                  </p:grpSpPr>
                  <p:sp>
                    <p:nvSpPr>
                      <p:cNvPr id="13" name="Freeform: Shape 12">
                        <a:extLst>
                          <a:ext uri="{FF2B5EF4-FFF2-40B4-BE49-F238E27FC236}">
                            <a16:creationId xmlns:a16="http://schemas.microsoft.com/office/drawing/2014/main" id="{170D1C03-916F-4FD1-B985-DFFA52481E1D}"/>
                          </a:ext>
                        </a:extLst>
                      </p:cNvPr>
                      <p:cNvSpPr/>
                      <p:nvPr/>
                    </p:nvSpPr>
                    <p:spPr>
                      <a:xfrm>
                        <a:off x="2013751" y="5890977"/>
                        <a:ext cx="1793839" cy="1200923"/>
                      </a:xfrm>
                      <a:custGeom>
                        <a:avLst/>
                        <a:gdLst>
                          <a:gd name="connsiteX0" fmla="*/ 983435 w 1793838"/>
                          <a:gd name="connsiteY0" fmla="*/ 1201808 h 1200923"/>
                          <a:gd name="connsiteX1" fmla="*/ 988610 w 1793838"/>
                          <a:gd name="connsiteY1" fmla="*/ 1201808 h 1200923"/>
                          <a:gd name="connsiteX2" fmla="*/ 986023 w 1793838"/>
                          <a:gd name="connsiteY2" fmla="*/ 1202077 h 1200923"/>
                          <a:gd name="connsiteX3" fmla="*/ 983435 w 1793838"/>
                          <a:gd name="connsiteY3" fmla="*/ 1201808 h 1200923"/>
                          <a:gd name="connsiteX4" fmla="*/ 972409 w 1793838"/>
                          <a:gd name="connsiteY4" fmla="*/ 1201139 h 1200923"/>
                          <a:gd name="connsiteX5" fmla="*/ 974479 w 1793838"/>
                          <a:gd name="connsiteY5" fmla="*/ 1201164 h 1200923"/>
                          <a:gd name="connsiteX6" fmla="*/ 973258 w 1793838"/>
                          <a:gd name="connsiteY6" fmla="*/ 1201482 h 1200923"/>
                          <a:gd name="connsiteX7" fmla="*/ 972409 w 1793838"/>
                          <a:gd name="connsiteY7" fmla="*/ 1201139 h 1200923"/>
                          <a:gd name="connsiteX8" fmla="*/ 996889 w 1793838"/>
                          <a:gd name="connsiteY8" fmla="*/ 1201164 h 1200923"/>
                          <a:gd name="connsiteX9" fmla="*/ 998613 w 1793838"/>
                          <a:gd name="connsiteY9" fmla="*/ 1201164 h 1200923"/>
                          <a:gd name="connsiteX10" fmla="*/ 997751 w 1793838"/>
                          <a:gd name="connsiteY10" fmla="*/ 1201514 h 1200923"/>
                          <a:gd name="connsiteX11" fmla="*/ 996889 w 1793838"/>
                          <a:gd name="connsiteY11" fmla="*/ 1201164 h 1200923"/>
                          <a:gd name="connsiteX12" fmla="*/ 967265 w 1793838"/>
                          <a:gd name="connsiteY12" fmla="*/ 1200455 h 1200923"/>
                          <a:gd name="connsiteX13" fmla="*/ 968587 w 1793838"/>
                          <a:gd name="connsiteY13" fmla="*/ 1200512 h 1200923"/>
                          <a:gd name="connsiteX14" fmla="*/ 967682 w 1793838"/>
                          <a:gd name="connsiteY14" fmla="*/ 1200879 h 1200923"/>
                          <a:gd name="connsiteX15" fmla="*/ 967265 w 1793838"/>
                          <a:gd name="connsiteY15" fmla="*/ 1200463 h 1200923"/>
                          <a:gd name="connsiteX16" fmla="*/ 1002452 w 1793838"/>
                          <a:gd name="connsiteY16" fmla="*/ 1200455 h 1200923"/>
                          <a:gd name="connsiteX17" fmla="*/ 1003774 w 1793838"/>
                          <a:gd name="connsiteY17" fmla="*/ 1200512 h 1200923"/>
                          <a:gd name="connsiteX18" fmla="*/ 1002869 w 1793838"/>
                          <a:gd name="connsiteY18" fmla="*/ 1200879 h 1200923"/>
                          <a:gd name="connsiteX19" fmla="*/ 1002452 w 1793838"/>
                          <a:gd name="connsiteY19" fmla="*/ 1200463 h 1200923"/>
                          <a:gd name="connsiteX20" fmla="*/ 696750 w 1793838"/>
                          <a:gd name="connsiteY20" fmla="*/ 1194914 h 1200923"/>
                          <a:gd name="connsiteX21" fmla="*/ 701580 w 1793838"/>
                          <a:gd name="connsiteY21" fmla="*/ 1194906 h 1200923"/>
                          <a:gd name="connsiteX22" fmla="*/ 699353 w 1793838"/>
                          <a:gd name="connsiteY22" fmla="*/ 1195183 h 1200923"/>
                          <a:gd name="connsiteX23" fmla="*/ 696750 w 1793838"/>
                          <a:gd name="connsiteY23" fmla="*/ 1194914 h 1200923"/>
                          <a:gd name="connsiteX24" fmla="*/ 688530 w 1793838"/>
                          <a:gd name="connsiteY24" fmla="*/ 1194246 h 1200923"/>
                          <a:gd name="connsiteX25" fmla="*/ 689852 w 1793838"/>
                          <a:gd name="connsiteY25" fmla="*/ 1194303 h 1200923"/>
                          <a:gd name="connsiteX26" fmla="*/ 688946 w 1793838"/>
                          <a:gd name="connsiteY26" fmla="*/ 1194669 h 1200923"/>
                          <a:gd name="connsiteX27" fmla="*/ 688530 w 1793838"/>
                          <a:gd name="connsiteY27" fmla="*/ 1194254 h 1200923"/>
                          <a:gd name="connsiteX28" fmla="*/ 975501 w 1793838"/>
                          <a:gd name="connsiteY28" fmla="*/ 1165284 h 1200923"/>
                          <a:gd name="connsiteX29" fmla="*/ 977226 w 1793838"/>
                          <a:gd name="connsiteY29" fmla="*/ 1165284 h 1200923"/>
                          <a:gd name="connsiteX30" fmla="*/ 976363 w 1793838"/>
                          <a:gd name="connsiteY30" fmla="*/ 1165635 h 1200923"/>
                          <a:gd name="connsiteX31" fmla="*/ 975501 w 1793838"/>
                          <a:gd name="connsiteY31" fmla="*/ 1165284 h 1200923"/>
                          <a:gd name="connsiteX32" fmla="*/ 697441 w 1793838"/>
                          <a:gd name="connsiteY32" fmla="*/ 1159034 h 1200923"/>
                          <a:gd name="connsiteX33" fmla="*/ 702270 w 1793838"/>
                          <a:gd name="connsiteY33" fmla="*/ 1159026 h 1200923"/>
                          <a:gd name="connsiteX34" fmla="*/ 700043 w 1793838"/>
                          <a:gd name="connsiteY34" fmla="*/ 1159303 h 1200923"/>
                          <a:gd name="connsiteX35" fmla="*/ 697441 w 1793838"/>
                          <a:gd name="connsiteY35" fmla="*/ 1159034 h 1200923"/>
                          <a:gd name="connsiteX36" fmla="*/ 550522 w 1793838"/>
                          <a:gd name="connsiteY36" fmla="*/ 1141775 h 1200923"/>
                          <a:gd name="connsiteX37" fmla="*/ 557421 w 1793838"/>
                          <a:gd name="connsiteY37" fmla="*/ 1141775 h 1200923"/>
                          <a:gd name="connsiteX38" fmla="*/ 553776 w 1793838"/>
                          <a:gd name="connsiteY38" fmla="*/ 1142028 h 1200923"/>
                          <a:gd name="connsiteX39" fmla="*/ 550522 w 1793838"/>
                          <a:gd name="connsiteY39" fmla="*/ 1141767 h 1200923"/>
                          <a:gd name="connsiteX40" fmla="*/ 540840 w 1793838"/>
                          <a:gd name="connsiteY40" fmla="*/ 1141139 h 1200923"/>
                          <a:gd name="connsiteX41" fmla="*/ 542565 w 1793838"/>
                          <a:gd name="connsiteY41" fmla="*/ 1141139 h 1200923"/>
                          <a:gd name="connsiteX42" fmla="*/ 541702 w 1793838"/>
                          <a:gd name="connsiteY42" fmla="*/ 1141482 h 1200923"/>
                          <a:gd name="connsiteX43" fmla="*/ 540840 w 1793838"/>
                          <a:gd name="connsiteY43" fmla="*/ 1141139 h 1200923"/>
                          <a:gd name="connsiteX44" fmla="*/ 1050931 w 1793838"/>
                          <a:gd name="connsiteY44" fmla="*/ 1120490 h 1200923"/>
                          <a:gd name="connsiteX45" fmla="*/ 1051348 w 1793838"/>
                          <a:gd name="connsiteY45" fmla="*/ 1120074 h 1200923"/>
                          <a:gd name="connsiteX46" fmla="*/ 1051293 w 1793838"/>
                          <a:gd name="connsiteY46" fmla="*/ 1121395 h 1200923"/>
                          <a:gd name="connsiteX47" fmla="*/ 1050931 w 1793838"/>
                          <a:gd name="connsiteY47" fmla="*/ 1120490 h 1200923"/>
                          <a:gd name="connsiteX48" fmla="*/ 1050931 w 1793838"/>
                          <a:gd name="connsiteY48" fmla="*/ 1111526 h 1200923"/>
                          <a:gd name="connsiteX49" fmla="*/ 1051348 w 1793838"/>
                          <a:gd name="connsiteY49" fmla="*/ 1111103 h 1200923"/>
                          <a:gd name="connsiteX50" fmla="*/ 1051293 w 1793838"/>
                          <a:gd name="connsiteY50" fmla="*/ 1112431 h 1200923"/>
                          <a:gd name="connsiteX51" fmla="*/ 1050931 w 1793838"/>
                          <a:gd name="connsiteY51" fmla="*/ 1111518 h 1200923"/>
                          <a:gd name="connsiteX52" fmla="*/ 645302 w 1793838"/>
                          <a:gd name="connsiteY52" fmla="*/ 1110548 h 1200923"/>
                          <a:gd name="connsiteX53" fmla="*/ 645650 w 1793838"/>
                          <a:gd name="connsiteY53" fmla="*/ 1109685 h 1200923"/>
                          <a:gd name="connsiteX54" fmla="*/ 645650 w 1793838"/>
                          <a:gd name="connsiteY54" fmla="*/ 1111404 h 1200923"/>
                          <a:gd name="connsiteX55" fmla="*/ 645302 w 1793838"/>
                          <a:gd name="connsiteY55" fmla="*/ 1110548 h 1200923"/>
                          <a:gd name="connsiteX56" fmla="*/ 1102807 w 1793838"/>
                          <a:gd name="connsiteY56" fmla="*/ 1111445 h 1200923"/>
                          <a:gd name="connsiteX57" fmla="*/ 1104877 w 1793838"/>
                          <a:gd name="connsiteY57" fmla="*/ 1111469 h 1200923"/>
                          <a:gd name="connsiteX58" fmla="*/ 1103655 w 1793838"/>
                          <a:gd name="connsiteY58" fmla="*/ 1111787 h 1200923"/>
                          <a:gd name="connsiteX59" fmla="*/ 1102807 w 1793838"/>
                          <a:gd name="connsiteY59" fmla="*/ 1111445 h 1200923"/>
                          <a:gd name="connsiteX60" fmla="*/ 1134922 w 1793838"/>
                          <a:gd name="connsiteY60" fmla="*/ 1111453 h 1200923"/>
                          <a:gd name="connsiteX61" fmla="*/ 1136242 w 1793838"/>
                          <a:gd name="connsiteY61" fmla="*/ 1111510 h 1200923"/>
                          <a:gd name="connsiteX62" fmla="*/ 1135338 w 1793838"/>
                          <a:gd name="connsiteY62" fmla="*/ 1111877 h 1200923"/>
                          <a:gd name="connsiteX63" fmla="*/ 1134922 w 1793838"/>
                          <a:gd name="connsiteY63" fmla="*/ 1111453 h 1200923"/>
                          <a:gd name="connsiteX64" fmla="*/ 1097666 w 1793838"/>
                          <a:gd name="connsiteY64" fmla="*/ 1110760 h 1200923"/>
                          <a:gd name="connsiteX65" fmla="*/ 1098986 w 1793838"/>
                          <a:gd name="connsiteY65" fmla="*/ 1110817 h 1200923"/>
                          <a:gd name="connsiteX66" fmla="*/ 1098081 w 1793838"/>
                          <a:gd name="connsiteY66" fmla="*/ 1111184 h 1200923"/>
                          <a:gd name="connsiteX67" fmla="*/ 1097666 w 1793838"/>
                          <a:gd name="connsiteY67" fmla="*/ 1110768 h 1200923"/>
                          <a:gd name="connsiteX68" fmla="*/ 552554 w 1793838"/>
                          <a:gd name="connsiteY68" fmla="*/ 1105904 h 1200923"/>
                          <a:gd name="connsiteX69" fmla="*/ 557383 w 1793838"/>
                          <a:gd name="connsiteY69" fmla="*/ 1105904 h 1200923"/>
                          <a:gd name="connsiteX70" fmla="*/ 555156 w 1793838"/>
                          <a:gd name="connsiteY70" fmla="*/ 1106181 h 1200923"/>
                          <a:gd name="connsiteX71" fmla="*/ 552554 w 1793838"/>
                          <a:gd name="connsiteY71" fmla="*/ 1105904 h 1200923"/>
                          <a:gd name="connsiteX72" fmla="*/ 543643 w 1793838"/>
                          <a:gd name="connsiteY72" fmla="*/ 1105244 h 1200923"/>
                          <a:gd name="connsiteX73" fmla="*/ 544965 w 1793838"/>
                          <a:gd name="connsiteY73" fmla="*/ 1105300 h 1200923"/>
                          <a:gd name="connsiteX74" fmla="*/ 544059 w 1793838"/>
                          <a:gd name="connsiteY74" fmla="*/ 1105667 h 1200923"/>
                          <a:gd name="connsiteX75" fmla="*/ 543643 w 1793838"/>
                          <a:gd name="connsiteY75" fmla="*/ 1105244 h 1200923"/>
                          <a:gd name="connsiteX76" fmla="*/ 562961 w 1793838"/>
                          <a:gd name="connsiteY76" fmla="*/ 1105244 h 1200923"/>
                          <a:gd name="connsiteX77" fmla="*/ 564283 w 1793838"/>
                          <a:gd name="connsiteY77" fmla="*/ 1105300 h 1200923"/>
                          <a:gd name="connsiteX78" fmla="*/ 563378 w 1793838"/>
                          <a:gd name="connsiteY78" fmla="*/ 1105667 h 1200923"/>
                          <a:gd name="connsiteX79" fmla="*/ 562961 w 1793838"/>
                          <a:gd name="connsiteY79" fmla="*/ 1105244 h 1200923"/>
                          <a:gd name="connsiteX80" fmla="*/ 645247 w 1793838"/>
                          <a:gd name="connsiteY80" fmla="*/ 1098415 h 1200923"/>
                          <a:gd name="connsiteX81" fmla="*/ 645664 w 1793838"/>
                          <a:gd name="connsiteY81" fmla="*/ 1097999 h 1200923"/>
                          <a:gd name="connsiteX82" fmla="*/ 645610 w 1793838"/>
                          <a:gd name="connsiteY82" fmla="*/ 1099319 h 1200923"/>
                          <a:gd name="connsiteX83" fmla="*/ 645247 w 1793838"/>
                          <a:gd name="connsiteY83" fmla="*/ 1098415 h 1200923"/>
                          <a:gd name="connsiteX84" fmla="*/ 1116595 w 1793838"/>
                          <a:gd name="connsiteY84" fmla="*/ 1076934 h 1200923"/>
                          <a:gd name="connsiteX85" fmla="*/ 1120385 w 1793838"/>
                          <a:gd name="connsiteY85" fmla="*/ 1076934 h 1200923"/>
                          <a:gd name="connsiteX86" fmla="*/ 1118494 w 1793838"/>
                          <a:gd name="connsiteY86" fmla="*/ 1077219 h 1200923"/>
                          <a:gd name="connsiteX87" fmla="*/ 1116595 w 1793838"/>
                          <a:gd name="connsiteY87" fmla="*/ 1076934 h 1200923"/>
                          <a:gd name="connsiteX88" fmla="*/ 1125575 w 1793838"/>
                          <a:gd name="connsiteY88" fmla="*/ 1076934 h 1200923"/>
                          <a:gd name="connsiteX89" fmla="*/ 1129022 w 1793838"/>
                          <a:gd name="connsiteY89" fmla="*/ 1076942 h 1200923"/>
                          <a:gd name="connsiteX90" fmla="*/ 1127116 w 1793838"/>
                          <a:gd name="connsiteY90" fmla="*/ 1077228 h 1200923"/>
                          <a:gd name="connsiteX91" fmla="*/ 1125575 w 1793838"/>
                          <a:gd name="connsiteY91" fmla="*/ 1076934 h 1200923"/>
                          <a:gd name="connsiteX92" fmla="*/ 1109392 w 1793838"/>
                          <a:gd name="connsiteY92" fmla="*/ 1076266 h 1200923"/>
                          <a:gd name="connsiteX93" fmla="*/ 1110712 w 1793838"/>
                          <a:gd name="connsiteY93" fmla="*/ 1076323 h 1200923"/>
                          <a:gd name="connsiteX94" fmla="*/ 1109807 w 1793838"/>
                          <a:gd name="connsiteY94" fmla="*/ 1076690 h 1200923"/>
                          <a:gd name="connsiteX95" fmla="*/ 1109392 w 1793838"/>
                          <a:gd name="connsiteY95" fmla="*/ 1076274 h 1200923"/>
                          <a:gd name="connsiteX96" fmla="*/ 415283 w 1793838"/>
                          <a:gd name="connsiteY96" fmla="*/ 1056228 h 1200923"/>
                          <a:gd name="connsiteX97" fmla="*/ 419423 w 1793838"/>
                          <a:gd name="connsiteY97" fmla="*/ 1056236 h 1200923"/>
                          <a:gd name="connsiteX98" fmla="*/ 417168 w 1793838"/>
                          <a:gd name="connsiteY98" fmla="*/ 1056513 h 1200923"/>
                          <a:gd name="connsiteX99" fmla="*/ 415283 w 1793838"/>
                          <a:gd name="connsiteY99" fmla="*/ 1056228 h 1200923"/>
                          <a:gd name="connsiteX100" fmla="*/ 406302 w 1793838"/>
                          <a:gd name="connsiteY100" fmla="*/ 1055584 h 1200923"/>
                          <a:gd name="connsiteX101" fmla="*/ 408027 w 1793838"/>
                          <a:gd name="connsiteY101" fmla="*/ 1055584 h 1200923"/>
                          <a:gd name="connsiteX102" fmla="*/ 407164 w 1793838"/>
                          <a:gd name="connsiteY102" fmla="*/ 1055935 h 1200923"/>
                          <a:gd name="connsiteX103" fmla="*/ 406302 w 1793838"/>
                          <a:gd name="connsiteY103" fmla="*/ 1055584 h 1200923"/>
                          <a:gd name="connsiteX104" fmla="*/ 430492 w 1793838"/>
                          <a:gd name="connsiteY104" fmla="*/ 1055568 h 1200923"/>
                          <a:gd name="connsiteX105" fmla="*/ 431815 w 1793838"/>
                          <a:gd name="connsiteY105" fmla="*/ 1055625 h 1200923"/>
                          <a:gd name="connsiteX106" fmla="*/ 430910 w 1793838"/>
                          <a:gd name="connsiteY106" fmla="*/ 1055984 h 1200923"/>
                          <a:gd name="connsiteX107" fmla="*/ 430492 w 1793838"/>
                          <a:gd name="connsiteY107" fmla="*/ 1055568 h 1200923"/>
                          <a:gd name="connsiteX108" fmla="*/ 492771 w 1793838"/>
                          <a:gd name="connsiteY108" fmla="*/ 1053563 h 1200923"/>
                          <a:gd name="connsiteX109" fmla="*/ 493187 w 1793838"/>
                          <a:gd name="connsiteY109" fmla="*/ 1053148 h 1200923"/>
                          <a:gd name="connsiteX110" fmla="*/ 493133 w 1793838"/>
                          <a:gd name="connsiteY110" fmla="*/ 1054468 h 1200923"/>
                          <a:gd name="connsiteX111" fmla="*/ 492771 w 1793838"/>
                          <a:gd name="connsiteY111" fmla="*/ 1053563 h 1200923"/>
                          <a:gd name="connsiteX112" fmla="*/ 492247 w 1793838"/>
                          <a:gd name="connsiteY112" fmla="*/ 1044999 h 1200923"/>
                          <a:gd name="connsiteX113" fmla="*/ 492526 w 1793838"/>
                          <a:gd name="connsiteY113" fmla="*/ 1042758 h 1200923"/>
                          <a:gd name="connsiteX114" fmla="*/ 492526 w 1793838"/>
                          <a:gd name="connsiteY114" fmla="*/ 1047240 h 1200923"/>
                          <a:gd name="connsiteX115" fmla="*/ 492247 w 1793838"/>
                          <a:gd name="connsiteY115" fmla="*/ 1044999 h 1200923"/>
                          <a:gd name="connsiteX116" fmla="*/ 492771 w 1793838"/>
                          <a:gd name="connsiteY116" fmla="*/ 1035628 h 1200923"/>
                          <a:gd name="connsiteX117" fmla="*/ 493187 w 1793838"/>
                          <a:gd name="connsiteY117" fmla="*/ 1035212 h 1200923"/>
                          <a:gd name="connsiteX118" fmla="*/ 493133 w 1793838"/>
                          <a:gd name="connsiteY118" fmla="*/ 1036532 h 1200923"/>
                          <a:gd name="connsiteX119" fmla="*/ 492771 w 1793838"/>
                          <a:gd name="connsiteY119" fmla="*/ 1035628 h 1200923"/>
                          <a:gd name="connsiteX120" fmla="*/ 812213 w 1793838"/>
                          <a:gd name="connsiteY120" fmla="*/ 1035628 h 1200923"/>
                          <a:gd name="connsiteX121" fmla="*/ 812629 w 1793838"/>
                          <a:gd name="connsiteY121" fmla="*/ 1035212 h 1200923"/>
                          <a:gd name="connsiteX122" fmla="*/ 812574 w 1793838"/>
                          <a:gd name="connsiteY122" fmla="*/ 1036532 h 1200923"/>
                          <a:gd name="connsiteX123" fmla="*/ 812212 w 1793838"/>
                          <a:gd name="connsiteY123" fmla="*/ 1035628 h 1200923"/>
                          <a:gd name="connsiteX124" fmla="*/ 812267 w 1793838"/>
                          <a:gd name="connsiteY124" fmla="*/ 1021538 h 1200923"/>
                          <a:gd name="connsiteX125" fmla="*/ 812615 w 1793838"/>
                          <a:gd name="connsiteY125" fmla="*/ 1020683 h 1200923"/>
                          <a:gd name="connsiteX126" fmla="*/ 812615 w 1793838"/>
                          <a:gd name="connsiteY126" fmla="*/ 1022402 h 1200923"/>
                          <a:gd name="connsiteX127" fmla="*/ 812267 w 1793838"/>
                          <a:gd name="connsiteY127" fmla="*/ 1021538 h 1200923"/>
                          <a:gd name="connsiteX128" fmla="*/ 415946 w 1793838"/>
                          <a:gd name="connsiteY128" fmla="*/ 1020357 h 1200923"/>
                          <a:gd name="connsiteX129" fmla="*/ 420775 w 1793838"/>
                          <a:gd name="connsiteY129" fmla="*/ 1020349 h 1200923"/>
                          <a:gd name="connsiteX130" fmla="*/ 418549 w 1793838"/>
                          <a:gd name="connsiteY130" fmla="*/ 1020626 h 1200923"/>
                          <a:gd name="connsiteX131" fmla="*/ 415946 w 1793838"/>
                          <a:gd name="connsiteY131" fmla="*/ 1020349 h 1200923"/>
                          <a:gd name="connsiteX132" fmla="*/ 848144 w 1793838"/>
                          <a:gd name="connsiteY132" fmla="*/ 1019468 h 1200923"/>
                          <a:gd name="connsiteX133" fmla="*/ 848491 w 1793838"/>
                          <a:gd name="connsiteY133" fmla="*/ 1018613 h 1200923"/>
                          <a:gd name="connsiteX134" fmla="*/ 848491 w 1793838"/>
                          <a:gd name="connsiteY134" fmla="*/ 1020332 h 1200923"/>
                          <a:gd name="connsiteX135" fmla="*/ 848144 w 1793838"/>
                          <a:gd name="connsiteY135" fmla="*/ 1019468 h 1200923"/>
                          <a:gd name="connsiteX136" fmla="*/ 409105 w 1793838"/>
                          <a:gd name="connsiteY136" fmla="*/ 1019688 h 1200923"/>
                          <a:gd name="connsiteX137" fmla="*/ 410427 w 1793838"/>
                          <a:gd name="connsiteY137" fmla="*/ 1019745 h 1200923"/>
                          <a:gd name="connsiteX138" fmla="*/ 409521 w 1793838"/>
                          <a:gd name="connsiteY138" fmla="*/ 1020112 h 1200923"/>
                          <a:gd name="connsiteX139" fmla="*/ 409105 w 1793838"/>
                          <a:gd name="connsiteY139" fmla="*/ 1019688 h 1200923"/>
                          <a:gd name="connsiteX140" fmla="*/ 1229677 w 1793838"/>
                          <a:gd name="connsiteY140" fmla="*/ 1018784 h 1200923"/>
                          <a:gd name="connsiteX141" fmla="*/ 1230028 w 1793838"/>
                          <a:gd name="connsiteY141" fmla="*/ 1017920 h 1200923"/>
                          <a:gd name="connsiteX142" fmla="*/ 1230028 w 1793838"/>
                          <a:gd name="connsiteY142" fmla="*/ 1019640 h 1200923"/>
                          <a:gd name="connsiteX143" fmla="*/ 1229677 w 1793838"/>
                          <a:gd name="connsiteY143" fmla="*/ 1018784 h 1200923"/>
                          <a:gd name="connsiteX144" fmla="*/ 1193749 w 1793838"/>
                          <a:gd name="connsiteY144" fmla="*/ 1018376 h 1200923"/>
                          <a:gd name="connsiteX145" fmla="*/ 1194164 w 1793838"/>
                          <a:gd name="connsiteY145" fmla="*/ 1017961 h 1200923"/>
                          <a:gd name="connsiteX146" fmla="*/ 1194107 w 1793838"/>
                          <a:gd name="connsiteY146" fmla="*/ 1019281 h 1200923"/>
                          <a:gd name="connsiteX147" fmla="*/ 1193749 w 1793838"/>
                          <a:gd name="connsiteY147" fmla="*/ 1018376 h 1200923"/>
                          <a:gd name="connsiteX148" fmla="*/ 847400 w 1793838"/>
                          <a:gd name="connsiteY148" fmla="*/ 1014237 h 1200923"/>
                          <a:gd name="connsiteX149" fmla="*/ 847816 w 1793838"/>
                          <a:gd name="connsiteY149" fmla="*/ 1013821 h 1200923"/>
                          <a:gd name="connsiteX150" fmla="*/ 847761 w 1793838"/>
                          <a:gd name="connsiteY150" fmla="*/ 1015141 h 1200923"/>
                          <a:gd name="connsiteX151" fmla="*/ 847399 w 1793838"/>
                          <a:gd name="connsiteY151" fmla="*/ 1014237 h 1200923"/>
                          <a:gd name="connsiteX152" fmla="*/ 1194442 w 1793838"/>
                          <a:gd name="connsiteY152" fmla="*/ 1011482 h 1200923"/>
                          <a:gd name="connsiteX153" fmla="*/ 1194857 w 1793838"/>
                          <a:gd name="connsiteY153" fmla="*/ 1011059 h 1200923"/>
                          <a:gd name="connsiteX154" fmla="*/ 1194800 w 1793838"/>
                          <a:gd name="connsiteY154" fmla="*/ 1012387 h 1200923"/>
                          <a:gd name="connsiteX155" fmla="*/ 1194433 w 1793838"/>
                          <a:gd name="connsiteY155" fmla="*/ 1011482 h 1200923"/>
                          <a:gd name="connsiteX156" fmla="*/ 1194548 w 1793838"/>
                          <a:gd name="connsiteY156" fmla="*/ 1007742 h 1200923"/>
                          <a:gd name="connsiteX157" fmla="*/ 1194857 w 1793838"/>
                          <a:gd name="connsiteY157" fmla="*/ 1006536 h 1200923"/>
                          <a:gd name="connsiteX158" fmla="*/ 1194857 w 1793838"/>
                          <a:gd name="connsiteY158" fmla="*/ 1008948 h 1200923"/>
                          <a:gd name="connsiteX159" fmla="*/ 1194548 w 1793838"/>
                          <a:gd name="connsiteY159" fmla="*/ 1007742 h 1200923"/>
                          <a:gd name="connsiteX160" fmla="*/ 1265622 w 1793838"/>
                          <a:gd name="connsiteY160" fmla="*/ 1001745 h 1200923"/>
                          <a:gd name="connsiteX161" fmla="*/ 1268034 w 1793838"/>
                          <a:gd name="connsiteY161" fmla="*/ 1001745 h 1200923"/>
                          <a:gd name="connsiteX162" fmla="*/ 1266828 w 1793838"/>
                          <a:gd name="connsiteY162" fmla="*/ 1002062 h 1200923"/>
                          <a:gd name="connsiteX163" fmla="*/ 1265622 w 1793838"/>
                          <a:gd name="connsiteY163" fmla="*/ 1001745 h 1200923"/>
                          <a:gd name="connsiteX164" fmla="*/ 1280461 w 1793838"/>
                          <a:gd name="connsiteY164" fmla="*/ 1001728 h 1200923"/>
                          <a:gd name="connsiteX165" fmla="*/ 1283224 w 1793838"/>
                          <a:gd name="connsiteY165" fmla="*/ 1001745 h 1200923"/>
                          <a:gd name="connsiteX166" fmla="*/ 1281659 w 1793838"/>
                          <a:gd name="connsiteY166" fmla="*/ 1002046 h 1200923"/>
                          <a:gd name="connsiteX167" fmla="*/ 1280461 w 1793838"/>
                          <a:gd name="connsiteY167" fmla="*/ 1001736 h 1200923"/>
                          <a:gd name="connsiteX168" fmla="*/ 1229628 w 1793838"/>
                          <a:gd name="connsiteY168" fmla="*/ 1000433 h 1200923"/>
                          <a:gd name="connsiteX169" fmla="*/ 1230044 w 1793838"/>
                          <a:gd name="connsiteY169" fmla="*/ 1000017 h 1200923"/>
                          <a:gd name="connsiteX170" fmla="*/ 1229987 w 1793838"/>
                          <a:gd name="connsiteY170" fmla="*/ 1001345 h 1200923"/>
                          <a:gd name="connsiteX171" fmla="*/ 1229620 w 1793838"/>
                          <a:gd name="connsiteY171" fmla="*/ 1000433 h 1200923"/>
                          <a:gd name="connsiteX172" fmla="*/ 1259796 w 1793838"/>
                          <a:gd name="connsiteY172" fmla="*/ 1001060 h 1200923"/>
                          <a:gd name="connsiteX173" fmla="*/ 1261124 w 1793838"/>
                          <a:gd name="connsiteY173" fmla="*/ 1001117 h 1200923"/>
                          <a:gd name="connsiteX174" fmla="*/ 1260219 w 1793838"/>
                          <a:gd name="connsiteY174" fmla="*/ 1001476 h 1200923"/>
                          <a:gd name="connsiteX175" fmla="*/ 1259796 w 1793838"/>
                          <a:gd name="connsiteY175" fmla="*/ 1001060 h 1200923"/>
                          <a:gd name="connsiteX176" fmla="*/ 1193749 w 1793838"/>
                          <a:gd name="connsiteY176" fmla="*/ 999748 h 1200923"/>
                          <a:gd name="connsiteX177" fmla="*/ 1194164 w 1793838"/>
                          <a:gd name="connsiteY177" fmla="*/ 999332 h 1200923"/>
                          <a:gd name="connsiteX178" fmla="*/ 1194107 w 1793838"/>
                          <a:gd name="connsiteY178" fmla="*/ 1000653 h 1200923"/>
                          <a:gd name="connsiteX179" fmla="*/ 1193749 w 1793838"/>
                          <a:gd name="connsiteY179" fmla="*/ 999748 h 1200923"/>
                          <a:gd name="connsiteX180" fmla="*/ 323046 w 1793838"/>
                          <a:gd name="connsiteY180" fmla="*/ 976980 h 1200923"/>
                          <a:gd name="connsiteX181" fmla="*/ 323463 w 1793838"/>
                          <a:gd name="connsiteY181" fmla="*/ 976565 h 1200923"/>
                          <a:gd name="connsiteX182" fmla="*/ 323409 w 1793838"/>
                          <a:gd name="connsiteY182" fmla="*/ 977885 h 1200923"/>
                          <a:gd name="connsiteX183" fmla="*/ 323046 w 1793838"/>
                          <a:gd name="connsiteY183" fmla="*/ 976980 h 1200923"/>
                          <a:gd name="connsiteX184" fmla="*/ 748554 w 1793838"/>
                          <a:gd name="connsiteY184" fmla="*/ 974152 h 1200923"/>
                          <a:gd name="connsiteX185" fmla="*/ 749877 w 1793838"/>
                          <a:gd name="connsiteY185" fmla="*/ 974210 h 1200923"/>
                          <a:gd name="connsiteX186" fmla="*/ 748972 w 1793838"/>
                          <a:gd name="connsiteY186" fmla="*/ 974568 h 1200923"/>
                          <a:gd name="connsiteX187" fmla="*/ 748554 w 1793838"/>
                          <a:gd name="connsiteY187" fmla="*/ 974152 h 1200923"/>
                          <a:gd name="connsiteX188" fmla="*/ 766493 w 1793838"/>
                          <a:gd name="connsiteY188" fmla="*/ 974152 h 1200923"/>
                          <a:gd name="connsiteX189" fmla="*/ 767815 w 1793838"/>
                          <a:gd name="connsiteY189" fmla="*/ 974210 h 1200923"/>
                          <a:gd name="connsiteX190" fmla="*/ 766910 w 1793838"/>
                          <a:gd name="connsiteY190" fmla="*/ 974568 h 1200923"/>
                          <a:gd name="connsiteX191" fmla="*/ 766493 w 1793838"/>
                          <a:gd name="connsiteY191" fmla="*/ 974152 h 1200923"/>
                          <a:gd name="connsiteX192" fmla="*/ 322356 w 1793838"/>
                          <a:gd name="connsiteY192" fmla="*/ 972841 h 1200923"/>
                          <a:gd name="connsiteX193" fmla="*/ 322773 w 1793838"/>
                          <a:gd name="connsiteY193" fmla="*/ 972425 h 1200923"/>
                          <a:gd name="connsiteX194" fmla="*/ 322718 w 1793838"/>
                          <a:gd name="connsiteY194" fmla="*/ 973753 h 1200923"/>
                          <a:gd name="connsiteX195" fmla="*/ 322356 w 1793838"/>
                          <a:gd name="connsiteY195" fmla="*/ 972849 h 1200923"/>
                          <a:gd name="connsiteX196" fmla="*/ 756085 w 1793838"/>
                          <a:gd name="connsiteY196" fmla="*/ 973435 h 1200923"/>
                          <a:gd name="connsiteX197" fmla="*/ 760915 w 1793838"/>
                          <a:gd name="connsiteY197" fmla="*/ 973435 h 1200923"/>
                          <a:gd name="connsiteX198" fmla="*/ 758688 w 1793838"/>
                          <a:gd name="connsiteY198" fmla="*/ 973712 h 1200923"/>
                          <a:gd name="connsiteX199" fmla="*/ 756085 w 1793838"/>
                          <a:gd name="connsiteY199" fmla="*/ 973435 h 1200923"/>
                          <a:gd name="connsiteX200" fmla="*/ 321746 w 1793838"/>
                          <a:gd name="connsiteY200" fmla="*/ 966004 h 1200923"/>
                          <a:gd name="connsiteX201" fmla="*/ 322090 w 1793838"/>
                          <a:gd name="connsiteY201" fmla="*/ 965156 h 1200923"/>
                          <a:gd name="connsiteX202" fmla="*/ 322064 w 1793838"/>
                          <a:gd name="connsiteY202" fmla="*/ 967226 h 1200923"/>
                          <a:gd name="connsiteX203" fmla="*/ 321746 w 1793838"/>
                          <a:gd name="connsiteY203" fmla="*/ 966004 h 1200923"/>
                          <a:gd name="connsiteX204" fmla="*/ 1267015 w 1793838"/>
                          <a:gd name="connsiteY204" fmla="*/ 966558 h 1200923"/>
                          <a:gd name="connsiteX205" fmla="*/ 1269085 w 1793838"/>
                          <a:gd name="connsiteY205" fmla="*/ 966582 h 1200923"/>
                          <a:gd name="connsiteX206" fmla="*/ 1267863 w 1793838"/>
                          <a:gd name="connsiteY206" fmla="*/ 966900 h 1200923"/>
                          <a:gd name="connsiteX207" fmla="*/ 1267015 w 1793838"/>
                          <a:gd name="connsiteY207" fmla="*/ 966558 h 1200923"/>
                          <a:gd name="connsiteX208" fmla="*/ 1279434 w 1793838"/>
                          <a:gd name="connsiteY208" fmla="*/ 966558 h 1200923"/>
                          <a:gd name="connsiteX209" fmla="*/ 1281504 w 1793838"/>
                          <a:gd name="connsiteY209" fmla="*/ 966582 h 1200923"/>
                          <a:gd name="connsiteX210" fmla="*/ 1280282 w 1793838"/>
                          <a:gd name="connsiteY210" fmla="*/ 966900 h 1200923"/>
                          <a:gd name="connsiteX211" fmla="*/ 1279434 w 1793838"/>
                          <a:gd name="connsiteY211" fmla="*/ 966558 h 1200923"/>
                          <a:gd name="connsiteX212" fmla="*/ 357623 w 1793838"/>
                          <a:gd name="connsiteY212" fmla="*/ 964626 h 1200923"/>
                          <a:gd name="connsiteX213" fmla="*/ 357966 w 1793838"/>
                          <a:gd name="connsiteY213" fmla="*/ 963771 h 1200923"/>
                          <a:gd name="connsiteX214" fmla="*/ 357941 w 1793838"/>
                          <a:gd name="connsiteY214" fmla="*/ 965841 h 1200923"/>
                          <a:gd name="connsiteX215" fmla="*/ 357623 w 1793838"/>
                          <a:gd name="connsiteY215" fmla="*/ 964626 h 1200923"/>
                          <a:gd name="connsiteX216" fmla="*/ 1261865 w 1793838"/>
                          <a:gd name="connsiteY216" fmla="*/ 965873 h 1200923"/>
                          <a:gd name="connsiteX217" fmla="*/ 1263194 w 1793838"/>
                          <a:gd name="connsiteY217" fmla="*/ 965930 h 1200923"/>
                          <a:gd name="connsiteX218" fmla="*/ 1262289 w 1793838"/>
                          <a:gd name="connsiteY218" fmla="*/ 966297 h 1200923"/>
                          <a:gd name="connsiteX219" fmla="*/ 1261865 w 1793838"/>
                          <a:gd name="connsiteY219" fmla="*/ 965881 h 1200923"/>
                          <a:gd name="connsiteX220" fmla="*/ 866028 w 1793838"/>
                          <a:gd name="connsiteY220" fmla="*/ 959737 h 1200923"/>
                          <a:gd name="connsiteX221" fmla="*/ 866444 w 1793838"/>
                          <a:gd name="connsiteY221" fmla="*/ 959321 h 1200923"/>
                          <a:gd name="connsiteX222" fmla="*/ 866390 w 1793838"/>
                          <a:gd name="connsiteY222" fmla="*/ 960642 h 1200923"/>
                          <a:gd name="connsiteX223" fmla="*/ 866027 w 1793838"/>
                          <a:gd name="connsiteY223" fmla="*/ 959737 h 1200923"/>
                          <a:gd name="connsiteX224" fmla="*/ 866082 w 1793838"/>
                          <a:gd name="connsiteY224" fmla="*/ 954620 h 1200923"/>
                          <a:gd name="connsiteX225" fmla="*/ 866430 w 1793838"/>
                          <a:gd name="connsiteY225" fmla="*/ 953756 h 1200923"/>
                          <a:gd name="connsiteX226" fmla="*/ 866430 w 1793838"/>
                          <a:gd name="connsiteY226" fmla="*/ 955483 h 1200923"/>
                          <a:gd name="connsiteX227" fmla="*/ 866082 w 1793838"/>
                          <a:gd name="connsiteY227" fmla="*/ 954620 h 1200923"/>
                          <a:gd name="connsiteX228" fmla="*/ 321746 w 1793838"/>
                          <a:gd name="connsiteY228" fmla="*/ 953585 h 1200923"/>
                          <a:gd name="connsiteX229" fmla="*/ 322090 w 1793838"/>
                          <a:gd name="connsiteY229" fmla="*/ 952737 h 1200923"/>
                          <a:gd name="connsiteX230" fmla="*/ 322064 w 1793838"/>
                          <a:gd name="connsiteY230" fmla="*/ 954807 h 1200923"/>
                          <a:gd name="connsiteX231" fmla="*/ 321746 w 1793838"/>
                          <a:gd name="connsiteY231" fmla="*/ 953585 h 1200923"/>
                          <a:gd name="connsiteX232" fmla="*/ 357623 w 1793838"/>
                          <a:gd name="connsiteY232" fmla="*/ 953585 h 1200923"/>
                          <a:gd name="connsiteX233" fmla="*/ 357966 w 1793838"/>
                          <a:gd name="connsiteY233" fmla="*/ 952737 h 1200923"/>
                          <a:gd name="connsiteX234" fmla="*/ 357941 w 1793838"/>
                          <a:gd name="connsiteY234" fmla="*/ 954807 h 1200923"/>
                          <a:gd name="connsiteX235" fmla="*/ 357623 w 1793838"/>
                          <a:gd name="connsiteY235" fmla="*/ 953585 h 1200923"/>
                          <a:gd name="connsiteX236" fmla="*/ 768519 w 1793838"/>
                          <a:gd name="connsiteY236" fmla="*/ 938289 h 1200923"/>
                          <a:gd name="connsiteX237" fmla="*/ 770244 w 1793838"/>
                          <a:gd name="connsiteY237" fmla="*/ 938289 h 1200923"/>
                          <a:gd name="connsiteX238" fmla="*/ 769382 w 1793838"/>
                          <a:gd name="connsiteY238" fmla="*/ 938640 h 1200923"/>
                          <a:gd name="connsiteX239" fmla="*/ 768519 w 1793838"/>
                          <a:gd name="connsiteY239" fmla="*/ 938289 h 1200923"/>
                          <a:gd name="connsiteX240" fmla="*/ 758516 w 1793838"/>
                          <a:gd name="connsiteY240" fmla="*/ 937564 h 1200923"/>
                          <a:gd name="connsiteX241" fmla="*/ 762310 w 1793838"/>
                          <a:gd name="connsiteY241" fmla="*/ 937564 h 1200923"/>
                          <a:gd name="connsiteX242" fmla="*/ 760413 w 1793838"/>
                          <a:gd name="connsiteY242" fmla="*/ 937857 h 1200923"/>
                          <a:gd name="connsiteX243" fmla="*/ 758516 w 1793838"/>
                          <a:gd name="connsiteY243" fmla="*/ 937564 h 1200923"/>
                          <a:gd name="connsiteX244" fmla="*/ 311098 w 1793838"/>
                          <a:gd name="connsiteY244" fmla="*/ 925846 h 1200923"/>
                          <a:gd name="connsiteX245" fmla="*/ 313858 w 1793838"/>
                          <a:gd name="connsiteY245" fmla="*/ 925862 h 1200923"/>
                          <a:gd name="connsiteX246" fmla="*/ 312297 w 1793838"/>
                          <a:gd name="connsiteY246" fmla="*/ 926156 h 1200923"/>
                          <a:gd name="connsiteX247" fmla="*/ 311098 w 1793838"/>
                          <a:gd name="connsiteY247" fmla="*/ 925846 h 1200923"/>
                          <a:gd name="connsiteX248" fmla="*/ 324889 w 1793838"/>
                          <a:gd name="connsiteY248" fmla="*/ 925879 h 1200923"/>
                          <a:gd name="connsiteX249" fmla="*/ 326614 w 1793838"/>
                          <a:gd name="connsiteY249" fmla="*/ 925879 h 1200923"/>
                          <a:gd name="connsiteX250" fmla="*/ 325751 w 1793838"/>
                          <a:gd name="connsiteY250" fmla="*/ 926221 h 1200923"/>
                          <a:gd name="connsiteX251" fmla="*/ 324889 w 1793838"/>
                          <a:gd name="connsiteY251" fmla="*/ 925879 h 1200923"/>
                          <a:gd name="connsiteX252" fmla="*/ 761847 w 1793838"/>
                          <a:gd name="connsiteY252" fmla="*/ 912131 h 1200923"/>
                          <a:gd name="connsiteX253" fmla="*/ 762263 w 1793838"/>
                          <a:gd name="connsiteY253" fmla="*/ 911716 h 1200923"/>
                          <a:gd name="connsiteX254" fmla="*/ 762209 w 1793838"/>
                          <a:gd name="connsiteY254" fmla="*/ 913036 h 1200923"/>
                          <a:gd name="connsiteX255" fmla="*/ 761847 w 1793838"/>
                          <a:gd name="connsiteY255" fmla="*/ 912131 h 1200923"/>
                          <a:gd name="connsiteX256" fmla="*/ 1380032 w 1793838"/>
                          <a:gd name="connsiteY256" fmla="*/ 907299 h 1200923"/>
                          <a:gd name="connsiteX257" fmla="*/ 1380448 w 1793838"/>
                          <a:gd name="connsiteY257" fmla="*/ 906883 h 1200923"/>
                          <a:gd name="connsiteX258" fmla="*/ 1380391 w 1793838"/>
                          <a:gd name="connsiteY258" fmla="*/ 908204 h 1200923"/>
                          <a:gd name="connsiteX259" fmla="*/ 1380032 w 1793838"/>
                          <a:gd name="connsiteY259" fmla="*/ 907299 h 1200923"/>
                          <a:gd name="connsiteX260" fmla="*/ 762680 w 1793838"/>
                          <a:gd name="connsiteY260" fmla="*/ 904602 h 1200923"/>
                          <a:gd name="connsiteX261" fmla="*/ 762977 w 1793838"/>
                          <a:gd name="connsiteY261" fmla="*/ 903053 h 1200923"/>
                          <a:gd name="connsiteX262" fmla="*/ 762967 w 1793838"/>
                          <a:gd name="connsiteY262" fmla="*/ 906509 h 1200923"/>
                          <a:gd name="connsiteX263" fmla="*/ 762679 w 1793838"/>
                          <a:gd name="connsiteY263" fmla="*/ 904602 h 1200923"/>
                          <a:gd name="connsiteX264" fmla="*/ 726765 w 1793838"/>
                          <a:gd name="connsiteY264" fmla="*/ 904251 h 1200923"/>
                          <a:gd name="connsiteX265" fmla="*/ 727081 w 1793838"/>
                          <a:gd name="connsiteY265" fmla="*/ 903045 h 1200923"/>
                          <a:gd name="connsiteX266" fmla="*/ 727081 w 1793838"/>
                          <a:gd name="connsiteY266" fmla="*/ 905466 h 1200923"/>
                          <a:gd name="connsiteX267" fmla="*/ 726765 w 1793838"/>
                          <a:gd name="connsiteY267" fmla="*/ 904251 h 1200923"/>
                          <a:gd name="connsiteX268" fmla="*/ 1380920 w 1793838"/>
                          <a:gd name="connsiteY268" fmla="*/ 895288 h 1200923"/>
                          <a:gd name="connsiteX269" fmla="*/ 1381173 w 1793838"/>
                          <a:gd name="connsiteY269" fmla="*/ 891661 h 1200923"/>
                          <a:gd name="connsiteX270" fmla="*/ 1381173 w 1793838"/>
                          <a:gd name="connsiteY270" fmla="*/ 898906 h 1200923"/>
                          <a:gd name="connsiteX271" fmla="*/ 1380920 w 1793838"/>
                          <a:gd name="connsiteY271" fmla="*/ 895288 h 1200923"/>
                          <a:gd name="connsiteX272" fmla="*/ 1345017 w 1793838"/>
                          <a:gd name="connsiteY272" fmla="*/ 896323 h 1200923"/>
                          <a:gd name="connsiteX273" fmla="*/ 1345294 w 1793838"/>
                          <a:gd name="connsiteY273" fmla="*/ 894090 h 1200923"/>
                          <a:gd name="connsiteX274" fmla="*/ 1345285 w 1793838"/>
                          <a:gd name="connsiteY274" fmla="*/ 898922 h 1200923"/>
                          <a:gd name="connsiteX275" fmla="*/ 1345017 w 1793838"/>
                          <a:gd name="connsiteY275" fmla="*/ 896323 h 1200923"/>
                          <a:gd name="connsiteX276" fmla="*/ 762670 w 1793838"/>
                          <a:gd name="connsiteY276" fmla="*/ 894595 h 1200923"/>
                          <a:gd name="connsiteX277" fmla="*/ 762969 w 1793838"/>
                          <a:gd name="connsiteY277" fmla="*/ 893047 h 1200923"/>
                          <a:gd name="connsiteX278" fmla="*/ 762969 w 1793838"/>
                          <a:gd name="connsiteY278" fmla="*/ 896151 h 1200923"/>
                          <a:gd name="connsiteX279" fmla="*/ 762670 w 1793838"/>
                          <a:gd name="connsiteY279" fmla="*/ 894595 h 1200923"/>
                          <a:gd name="connsiteX280" fmla="*/ 726765 w 1793838"/>
                          <a:gd name="connsiteY280" fmla="*/ 894595 h 1200923"/>
                          <a:gd name="connsiteX281" fmla="*/ 727081 w 1793838"/>
                          <a:gd name="connsiteY281" fmla="*/ 893389 h 1200923"/>
                          <a:gd name="connsiteX282" fmla="*/ 727081 w 1793838"/>
                          <a:gd name="connsiteY282" fmla="*/ 895801 h 1200923"/>
                          <a:gd name="connsiteX283" fmla="*/ 726765 w 1793838"/>
                          <a:gd name="connsiteY283" fmla="*/ 894595 h 1200923"/>
                          <a:gd name="connsiteX284" fmla="*/ 312470 w 1793838"/>
                          <a:gd name="connsiteY284" fmla="*/ 889999 h 1200923"/>
                          <a:gd name="connsiteX285" fmla="*/ 314195 w 1793838"/>
                          <a:gd name="connsiteY285" fmla="*/ 889999 h 1200923"/>
                          <a:gd name="connsiteX286" fmla="*/ 313332 w 1793838"/>
                          <a:gd name="connsiteY286" fmla="*/ 890341 h 1200923"/>
                          <a:gd name="connsiteX287" fmla="*/ 312470 w 1793838"/>
                          <a:gd name="connsiteY287" fmla="*/ 889999 h 1200923"/>
                          <a:gd name="connsiteX288" fmla="*/ 323552 w 1793838"/>
                          <a:gd name="connsiteY288" fmla="*/ 889983 h 1200923"/>
                          <a:gd name="connsiteX289" fmla="*/ 324875 w 1793838"/>
                          <a:gd name="connsiteY289" fmla="*/ 890040 h 1200923"/>
                          <a:gd name="connsiteX290" fmla="*/ 323969 w 1793838"/>
                          <a:gd name="connsiteY290" fmla="*/ 890398 h 1200923"/>
                          <a:gd name="connsiteX291" fmla="*/ 323552 w 1793838"/>
                          <a:gd name="connsiteY291" fmla="*/ 889983 h 1200923"/>
                          <a:gd name="connsiteX292" fmla="*/ 761902 w 1793838"/>
                          <a:gd name="connsiteY292" fmla="*/ 886316 h 1200923"/>
                          <a:gd name="connsiteX293" fmla="*/ 762249 w 1793838"/>
                          <a:gd name="connsiteY293" fmla="*/ 885452 h 1200923"/>
                          <a:gd name="connsiteX294" fmla="*/ 762249 w 1793838"/>
                          <a:gd name="connsiteY294" fmla="*/ 887171 h 1200923"/>
                          <a:gd name="connsiteX295" fmla="*/ 761902 w 1793838"/>
                          <a:gd name="connsiteY295" fmla="*/ 886316 h 1200923"/>
                          <a:gd name="connsiteX296" fmla="*/ 761157 w 1793838"/>
                          <a:gd name="connsiteY296" fmla="*/ 881769 h 1200923"/>
                          <a:gd name="connsiteX297" fmla="*/ 761574 w 1793838"/>
                          <a:gd name="connsiteY297" fmla="*/ 881353 h 1200923"/>
                          <a:gd name="connsiteX298" fmla="*/ 761519 w 1793838"/>
                          <a:gd name="connsiteY298" fmla="*/ 882673 h 1200923"/>
                          <a:gd name="connsiteX299" fmla="*/ 761157 w 1793838"/>
                          <a:gd name="connsiteY299" fmla="*/ 881769 h 1200923"/>
                          <a:gd name="connsiteX300" fmla="*/ 1379340 w 1793838"/>
                          <a:gd name="connsiteY300" fmla="*/ 877629 h 1200923"/>
                          <a:gd name="connsiteX301" fmla="*/ 1379755 w 1793838"/>
                          <a:gd name="connsiteY301" fmla="*/ 877213 h 1200923"/>
                          <a:gd name="connsiteX302" fmla="*/ 1379698 w 1793838"/>
                          <a:gd name="connsiteY302" fmla="*/ 878534 h 1200923"/>
                          <a:gd name="connsiteX303" fmla="*/ 1379340 w 1793838"/>
                          <a:gd name="connsiteY303" fmla="*/ 877629 h 1200923"/>
                          <a:gd name="connsiteX304" fmla="*/ 1395719 w 1793838"/>
                          <a:gd name="connsiteY304" fmla="*/ 857550 h 1200923"/>
                          <a:gd name="connsiteX305" fmla="*/ 1397039 w 1793838"/>
                          <a:gd name="connsiteY305" fmla="*/ 857607 h 1200923"/>
                          <a:gd name="connsiteX306" fmla="*/ 1396134 w 1793838"/>
                          <a:gd name="connsiteY306" fmla="*/ 857974 h 1200923"/>
                          <a:gd name="connsiteX307" fmla="*/ 1395719 w 1793838"/>
                          <a:gd name="connsiteY307" fmla="*/ 857558 h 1200923"/>
                          <a:gd name="connsiteX308" fmla="*/ 222395 w 1793838"/>
                          <a:gd name="connsiteY308" fmla="*/ 837675 h 1200923"/>
                          <a:gd name="connsiteX309" fmla="*/ 222739 w 1793838"/>
                          <a:gd name="connsiteY309" fmla="*/ 836828 h 1200923"/>
                          <a:gd name="connsiteX310" fmla="*/ 222713 w 1793838"/>
                          <a:gd name="connsiteY310" fmla="*/ 838897 h 1200923"/>
                          <a:gd name="connsiteX311" fmla="*/ 222395 w 1793838"/>
                          <a:gd name="connsiteY311" fmla="*/ 837675 h 1200923"/>
                          <a:gd name="connsiteX312" fmla="*/ 654723 w 1793838"/>
                          <a:gd name="connsiteY312" fmla="*/ 838930 h 1200923"/>
                          <a:gd name="connsiteX313" fmla="*/ 656045 w 1793838"/>
                          <a:gd name="connsiteY313" fmla="*/ 838987 h 1200923"/>
                          <a:gd name="connsiteX314" fmla="*/ 655140 w 1793838"/>
                          <a:gd name="connsiteY314" fmla="*/ 839346 h 1200923"/>
                          <a:gd name="connsiteX315" fmla="*/ 654723 w 1793838"/>
                          <a:gd name="connsiteY315" fmla="*/ 838930 h 1200923"/>
                          <a:gd name="connsiteX316" fmla="*/ 676111 w 1793838"/>
                          <a:gd name="connsiteY316" fmla="*/ 838930 h 1200923"/>
                          <a:gd name="connsiteX317" fmla="*/ 677433 w 1793838"/>
                          <a:gd name="connsiteY317" fmla="*/ 838987 h 1200923"/>
                          <a:gd name="connsiteX318" fmla="*/ 676527 w 1793838"/>
                          <a:gd name="connsiteY318" fmla="*/ 839346 h 1200923"/>
                          <a:gd name="connsiteX319" fmla="*/ 676111 w 1793838"/>
                          <a:gd name="connsiteY319" fmla="*/ 838930 h 1200923"/>
                          <a:gd name="connsiteX320" fmla="*/ 659177 w 1793838"/>
                          <a:gd name="connsiteY320" fmla="*/ 838229 h 1200923"/>
                          <a:gd name="connsiteX321" fmla="*/ 661247 w 1793838"/>
                          <a:gd name="connsiteY321" fmla="*/ 838254 h 1200923"/>
                          <a:gd name="connsiteX322" fmla="*/ 660027 w 1793838"/>
                          <a:gd name="connsiteY322" fmla="*/ 838571 h 1200923"/>
                          <a:gd name="connsiteX323" fmla="*/ 659177 w 1793838"/>
                          <a:gd name="connsiteY323" fmla="*/ 838229 h 1200923"/>
                          <a:gd name="connsiteX324" fmla="*/ 670591 w 1793838"/>
                          <a:gd name="connsiteY324" fmla="*/ 838237 h 1200923"/>
                          <a:gd name="connsiteX325" fmla="*/ 671913 w 1793838"/>
                          <a:gd name="connsiteY325" fmla="*/ 838294 h 1200923"/>
                          <a:gd name="connsiteX326" fmla="*/ 671008 w 1793838"/>
                          <a:gd name="connsiteY326" fmla="*/ 838661 h 1200923"/>
                          <a:gd name="connsiteX327" fmla="*/ 670591 w 1793838"/>
                          <a:gd name="connsiteY327" fmla="*/ 838237 h 1200923"/>
                          <a:gd name="connsiteX328" fmla="*/ 258246 w 1793838"/>
                          <a:gd name="connsiteY328" fmla="*/ 835947 h 1200923"/>
                          <a:gd name="connsiteX329" fmla="*/ 258594 w 1793838"/>
                          <a:gd name="connsiteY329" fmla="*/ 835084 h 1200923"/>
                          <a:gd name="connsiteX330" fmla="*/ 258594 w 1793838"/>
                          <a:gd name="connsiteY330" fmla="*/ 836811 h 1200923"/>
                          <a:gd name="connsiteX331" fmla="*/ 258246 w 1793838"/>
                          <a:gd name="connsiteY331" fmla="*/ 835947 h 1200923"/>
                          <a:gd name="connsiteX332" fmla="*/ 258192 w 1793838"/>
                          <a:gd name="connsiteY332" fmla="*/ 821744 h 1200923"/>
                          <a:gd name="connsiteX333" fmla="*/ 258609 w 1793838"/>
                          <a:gd name="connsiteY333" fmla="*/ 821328 h 1200923"/>
                          <a:gd name="connsiteX334" fmla="*/ 258554 w 1793838"/>
                          <a:gd name="connsiteY334" fmla="*/ 822657 h 1200923"/>
                          <a:gd name="connsiteX335" fmla="*/ 258192 w 1793838"/>
                          <a:gd name="connsiteY335" fmla="*/ 821752 h 1200923"/>
                          <a:gd name="connsiteX336" fmla="*/ 1371525 w 1793838"/>
                          <a:gd name="connsiteY336" fmla="*/ 822380 h 1200923"/>
                          <a:gd name="connsiteX337" fmla="*/ 1373252 w 1793838"/>
                          <a:gd name="connsiteY337" fmla="*/ 822380 h 1200923"/>
                          <a:gd name="connsiteX338" fmla="*/ 1372389 w 1793838"/>
                          <a:gd name="connsiteY338" fmla="*/ 822730 h 1200923"/>
                          <a:gd name="connsiteX339" fmla="*/ 1371525 w 1793838"/>
                          <a:gd name="connsiteY339" fmla="*/ 822380 h 1200923"/>
                          <a:gd name="connsiteX340" fmla="*/ 1388083 w 1793838"/>
                          <a:gd name="connsiteY340" fmla="*/ 822380 h 1200923"/>
                          <a:gd name="connsiteX341" fmla="*/ 1389811 w 1793838"/>
                          <a:gd name="connsiteY341" fmla="*/ 822380 h 1200923"/>
                          <a:gd name="connsiteX342" fmla="*/ 1388947 w 1793838"/>
                          <a:gd name="connsiteY342" fmla="*/ 822730 h 1200923"/>
                          <a:gd name="connsiteX343" fmla="*/ 1388083 w 1793838"/>
                          <a:gd name="connsiteY343" fmla="*/ 822380 h 1200923"/>
                          <a:gd name="connsiteX344" fmla="*/ 222369 w 1793838"/>
                          <a:gd name="connsiteY344" fmla="*/ 820082 h 1200923"/>
                          <a:gd name="connsiteX345" fmla="*/ 222718 w 1793838"/>
                          <a:gd name="connsiteY345" fmla="*/ 819218 h 1200923"/>
                          <a:gd name="connsiteX346" fmla="*/ 222718 w 1793838"/>
                          <a:gd name="connsiteY346" fmla="*/ 820945 h 1200923"/>
                          <a:gd name="connsiteX347" fmla="*/ 222369 w 1793838"/>
                          <a:gd name="connsiteY347" fmla="*/ 820082 h 1200923"/>
                          <a:gd name="connsiteX348" fmla="*/ 223005 w 1793838"/>
                          <a:gd name="connsiteY348" fmla="*/ 814157 h 1200923"/>
                          <a:gd name="connsiteX349" fmla="*/ 223422 w 1793838"/>
                          <a:gd name="connsiteY349" fmla="*/ 813742 h 1200923"/>
                          <a:gd name="connsiteX350" fmla="*/ 223367 w 1793838"/>
                          <a:gd name="connsiteY350" fmla="*/ 815062 h 1200923"/>
                          <a:gd name="connsiteX351" fmla="*/ 223005 w 1793838"/>
                          <a:gd name="connsiteY351" fmla="*/ 814157 h 1200923"/>
                          <a:gd name="connsiteX352" fmla="*/ 657797 w 1793838"/>
                          <a:gd name="connsiteY352" fmla="*/ 802358 h 1200923"/>
                          <a:gd name="connsiteX353" fmla="*/ 659867 w 1793838"/>
                          <a:gd name="connsiteY353" fmla="*/ 802382 h 1200923"/>
                          <a:gd name="connsiteX354" fmla="*/ 658646 w 1793838"/>
                          <a:gd name="connsiteY354" fmla="*/ 802700 h 1200923"/>
                          <a:gd name="connsiteX355" fmla="*/ 657797 w 1793838"/>
                          <a:gd name="connsiteY355" fmla="*/ 802350 h 1200923"/>
                          <a:gd name="connsiteX356" fmla="*/ 672618 w 1793838"/>
                          <a:gd name="connsiteY356" fmla="*/ 802382 h 1200923"/>
                          <a:gd name="connsiteX357" fmla="*/ 674343 w 1793838"/>
                          <a:gd name="connsiteY357" fmla="*/ 802382 h 1200923"/>
                          <a:gd name="connsiteX358" fmla="*/ 673480 w 1793838"/>
                          <a:gd name="connsiteY358" fmla="*/ 802725 h 1200923"/>
                          <a:gd name="connsiteX359" fmla="*/ 672618 w 1793838"/>
                          <a:gd name="connsiteY359" fmla="*/ 802382 h 1200923"/>
                          <a:gd name="connsiteX360" fmla="*/ 655596 w 1793838"/>
                          <a:gd name="connsiteY360" fmla="*/ 794152 h 1200923"/>
                          <a:gd name="connsiteX361" fmla="*/ 656013 w 1793838"/>
                          <a:gd name="connsiteY361" fmla="*/ 793736 h 1200923"/>
                          <a:gd name="connsiteX362" fmla="*/ 655959 w 1793838"/>
                          <a:gd name="connsiteY362" fmla="*/ 795056 h 1200923"/>
                          <a:gd name="connsiteX363" fmla="*/ 655596 w 1793838"/>
                          <a:gd name="connsiteY363" fmla="*/ 794152 h 1200923"/>
                          <a:gd name="connsiteX364" fmla="*/ 977915 w 1793838"/>
                          <a:gd name="connsiteY364" fmla="*/ 788546 h 1200923"/>
                          <a:gd name="connsiteX365" fmla="*/ 981710 w 1793838"/>
                          <a:gd name="connsiteY365" fmla="*/ 788546 h 1200923"/>
                          <a:gd name="connsiteX366" fmla="*/ 979813 w 1793838"/>
                          <a:gd name="connsiteY366" fmla="*/ 788831 h 1200923"/>
                          <a:gd name="connsiteX367" fmla="*/ 977915 w 1793838"/>
                          <a:gd name="connsiteY367" fmla="*/ 788546 h 1200923"/>
                          <a:gd name="connsiteX368" fmla="*/ 657174 w 1793838"/>
                          <a:gd name="connsiteY368" fmla="*/ 777650 h 1200923"/>
                          <a:gd name="connsiteX369" fmla="*/ 657431 w 1793838"/>
                          <a:gd name="connsiteY369" fmla="*/ 774399 h 1200923"/>
                          <a:gd name="connsiteX370" fmla="*/ 657431 w 1793838"/>
                          <a:gd name="connsiteY370" fmla="*/ 781301 h 1200923"/>
                          <a:gd name="connsiteX371" fmla="*/ 657177 w 1793838"/>
                          <a:gd name="connsiteY371" fmla="*/ 777650 h 1200923"/>
                          <a:gd name="connsiteX372" fmla="*/ 621099 w 1793838"/>
                          <a:gd name="connsiteY372" fmla="*/ 779663 h 1200923"/>
                          <a:gd name="connsiteX373" fmla="*/ 621516 w 1793838"/>
                          <a:gd name="connsiteY373" fmla="*/ 779248 h 1200923"/>
                          <a:gd name="connsiteX374" fmla="*/ 621461 w 1793838"/>
                          <a:gd name="connsiteY374" fmla="*/ 780568 h 1200923"/>
                          <a:gd name="connsiteX375" fmla="*/ 621099 w 1793838"/>
                          <a:gd name="connsiteY375" fmla="*/ 779663 h 1200923"/>
                          <a:gd name="connsiteX376" fmla="*/ 621242 w 1793838"/>
                          <a:gd name="connsiteY376" fmla="*/ 774896 h 1200923"/>
                          <a:gd name="connsiteX377" fmla="*/ 621540 w 1793838"/>
                          <a:gd name="connsiteY377" fmla="*/ 773348 h 1200923"/>
                          <a:gd name="connsiteX378" fmla="*/ 621531 w 1793838"/>
                          <a:gd name="connsiteY378" fmla="*/ 776803 h 1200923"/>
                          <a:gd name="connsiteX379" fmla="*/ 621242 w 1793838"/>
                          <a:gd name="connsiteY379" fmla="*/ 774896 h 1200923"/>
                          <a:gd name="connsiteX380" fmla="*/ 620409 w 1793838"/>
                          <a:gd name="connsiteY380" fmla="*/ 767937 h 1200923"/>
                          <a:gd name="connsiteX381" fmla="*/ 620827 w 1793838"/>
                          <a:gd name="connsiteY381" fmla="*/ 767521 h 1200923"/>
                          <a:gd name="connsiteX382" fmla="*/ 620772 w 1793838"/>
                          <a:gd name="connsiteY382" fmla="*/ 768841 h 1200923"/>
                          <a:gd name="connsiteX383" fmla="*/ 620409 w 1793838"/>
                          <a:gd name="connsiteY383" fmla="*/ 767937 h 1200923"/>
                          <a:gd name="connsiteX384" fmla="*/ 1450406 w 1793838"/>
                          <a:gd name="connsiteY384" fmla="*/ 763105 h 1200923"/>
                          <a:gd name="connsiteX385" fmla="*/ 1450822 w 1793838"/>
                          <a:gd name="connsiteY385" fmla="*/ 762689 h 1200923"/>
                          <a:gd name="connsiteX386" fmla="*/ 1450765 w 1793838"/>
                          <a:gd name="connsiteY386" fmla="*/ 764009 h 1200923"/>
                          <a:gd name="connsiteX387" fmla="*/ 1450406 w 1793838"/>
                          <a:gd name="connsiteY387" fmla="*/ 763105 h 1200923"/>
                          <a:gd name="connsiteX388" fmla="*/ 1451294 w 1793838"/>
                          <a:gd name="connsiteY388" fmla="*/ 752128 h 1200923"/>
                          <a:gd name="connsiteX389" fmla="*/ 1451547 w 1793838"/>
                          <a:gd name="connsiteY389" fmla="*/ 748869 h 1200923"/>
                          <a:gd name="connsiteX390" fmla="*/ 1451547 w 1793838"/>
                          <a:gd name="connsiteY390" fmla="*/ 755771 h 1200923"/>
                          <a:gd name="connsiteX391" fmla="*/ 1451294 w 1793838"/>
                          <a:gd name="connsiteY391" fmla="*/ 752128 h 1200923"/>
                          <a:gd name="connsiteX392" fmla="*/ 1487133 w 1793838"/>
                          <a:gd name="connsiteY392" fmla="*/ 753505 h 1200923"/>
                          <a:gd name="connsiteX393" fmla="*/ 1487418 w 1793838"/>
                          <a:gd name="connsiteY393" fmla="*/ 751623 h 1200923"/>
                          <a:gd name="connsiteX394" fmla="*/ 1487410 w 1793838"/>
                          <a:gd name="connsiteY394" fmla="*/ 755763 h 1200923"/>
                          <a:gd name="connsiteX395" fmla="*/ 1487133 w 1793838"/>
                          <a:gd name="connsiteY395" fmla="*/ 753505 h 1200923"/>
                          <a:gd name="connsiteX396" fmla="*/ 1450406 w 1793838"/>
                          <a:gd name="connsiteY396" fmla="*/ 741722 h 1200923"/>
                          <a:gd name="connsiteX397" fmla="*/ 1450822 w 1793838"/>
                          <a:gd name="connsiteY397" fmla="*/ 741298 h 1200923"/>
                          <a:gd name="connsiteX398" fmla="*/ 1450765 w 1793838"/>
                          <a:gd name="connsiteY398" fmla="*/ 742627 h 1200923"/>
                          <a:gd name="connsiteX399" fmla="*/ 1450406 w 1793838"/>
                          <a:gd name="connsiteY399" fmla="*/ 741714 h 1200923"/>
                          <a:gd name="connsiteX400" fmla="*/ 1486334 w 1793838"/>
                          <a:gd name="connsiteY400" fmla="*/ 740052 h 1200923"/>
                          <a:gd name="connsiteX401" fmla="*/ 1486685 w 1793838"/>
                          <a:gd name="connsiteY401" fmla="*/ 739188 h 1200923"/>
                          <a:gd name="connsiteX402" fmla="*/ 1486685 w 1793838"/>
                          <a:gd name="connsiteY402" fmla="*/ 740915 h 1200923"/>
                          <a:gd name="connsiteX403" fmla="*/ 1486334 w 1793838"/>
                          <a:gd name="connsiteY403" fmla="*/ 740052 h 1200923"/>
                          <a:gd name="connsiteX404" fmla="*/ 1485593 w 1793838"/>
                          <a:gd name="connsiteY404" fmla="*/ 734820 h 1200923"/>
                          <a:gd name="connsiteX405" fmla="*/ 1486008 w 1793838"/>
                          <a:gd name="connsiteY405" fmla="*/ 734404 h 1200923"/>
                          <a:gd name="connsiteX406" fmla="*/ 1485951 w 1793838"/>
                          <a:gd name="connsiteY406" fmla="*/ 735724 h 1200923"/>
                          <a:gd name="connsiteX407" fmla="*/ 1485593 w 1793838"/>
                          <a:gd name="connsiteY407" fmla="*/ 734820 h 1200923"/>
                          <a:gd name="connsiteX408" fmla="*/ 461829 w 1793838"/>
                          <a:gd name="connsiteY408" fmla="*/ 729010 h 1200923"/>
                          <a:gd name="connsiteX409" fmla="*/ 462145 w 1793838"/>
                          <a:gd name="connsiteY409" fmla="*/ 727804 h 1200923"/>
                          <a:gd name="connsiteX410" fmla="*/ 462145 w 1793838"/>
                          <a:gd name="connsiteY410" fmla="*/ 730216 h 1200923"/>
                          <a:gd name="connsiteX411" fmla="*/ 461829 w 1793838"/>
                          <a:gd name="connsiteY411" fmla="*/ 729010 h 1200923"/>
                          <a:gd name="connsiteX412" fmla="*/ 549852 w 1793838"/>
                          <a:gd name="connsiteY412" fmla="*/ 716811 h 1200923"/>
                          <a:gd name="connsiteX413" fmla="*/ 551174 w 1793838"/>
                          <a:gd name="connsiteY413" fmla="*/ 716868 h 1200923"/>
                          <a:gd name="connsiteX414" fmla="*/ 550269 w 1793838"/>
                          <a:gd name="connsiteY414" fmla="*/ 717226 h 1200923"/>
                          <a:gd name="connsiteX415" fmla="*/ 549852 w 1793838"/>
                          <a:gd name="connsiteY415" fmla="*/ 716811 h 1200923"/>
                          <a:gd name="connsiteX416" fmla="*/ 558763 w 1793838"/>
                          <a:gd name="connsiteY416" fmla="*/ 716094 h 1200923"/>
                          <a:gd name="connsiteX417" fmla="*/ 563592 w 1793838"/>
                          <a:gd name="connsiteY417" fmla="*/ 716086 h 1200923"/>
                          <a:gd name="connsiteX418" fmla="*/ 561365 w 1793838"/>
                          <a:gd name="connsiteY418" fmla="*/ 716363 h 1200923"/>
                          <a:gd name="connsiteX419" fmla="*/ 558763 w 1793838"/>
                          <a:gd name="connsiteY419" fmla="*/ 716094 h 1200923"/>
                          <a:gd name="connsiteX420" fmla="*/ 547049 w 1793838"/>
                          <a:gd name="connsiteY420" fmla="*/ 680948 h 1200923"/>
                          <a:gd name="connsiteX421" fmla="*/ 548774 w 1793838"/>
                          <a:gd name="connsiteY421" fmla="*/ 680948 h 1200923"/>
                          <a:gd name="connsiteX422" fmla="*/ 547911 w 1793838"/>
                          <a:gd name="connsiteY422" fmla="*/ 681298 h 1200923"/>
                          <a:gd name="connsiteX423" fmla="*/ 547049 w 1793838"/>
                          <a:gd name="connsiteY423" fmla="*/ 680948 h 1200923"/>
                          <a:gd name="connsiteX424" fmla="*/ 558088 w 1793838"/>
                          <a:gd name="connsiteY424" fmla="*/ 680214 h 1200923"/>
                          <a:gd name="connsiteX425" fmla="*/ 562573 w 1793838"/>
                          <a:gd name="connsiteY425" fmla="*/ 680214 h 1200923"/>
                          <a:gd name="connsiteX426" fmla="*/ 560330 w 1793838"/>
                          <a:gd name="connsiteY426" fmla="*/ 680491 h 1200923"/>
                          <a:gd name="connsiteX427" fmla="*/ 558088 w 1793838"/>
                          <a:gd name="connsiteY427" fmla="*/ 680214 h 1200923"/>
                          <a:gd name="connsiteX428" fmla="*/ 565721 w 1793838"/>
                          <a:gd name="connsiteY428" fmla="*/ 680239 h 1200923"/>
                          <a:gd name="connsiteX429" fmla="*/ 567043 w 1793838"/>
                          <a:gd name="connsiteY429" fmla="*/ 680296 h 1200923"/>
                          <a:gd name="connsiteX430" fmla="*/ 566138 w 1793838"/>
                          <a:gd name="connsiteY430" fmla="*/ 680662 h 1200923"/>
                          <a:gd name="connsiteX431" fmla="*/ 565721 w 1793838"/>
                          <a:gd name="connsiteY431" fmla="*/ 680239 h 1200923"/>
                          <a:gd name="connsiteX432" fmla="*/ 393883 w 1793838"/>
                          <a:gd name="connsiteY432" fmla="*/ 663004 h 1200923"/>
                          <a:gd name="connsiteX433" fmla="*/ 395608 w 1793838"/>
                          <a:gd name="connsiteY433" fmla="*/ 663004 h 1200923"/>
                          <a:gd name="connsiteX434" fmla="*/ 394745 w 1793838"/>
                          <a:gd name="connsiteY434" fmla="*/ 663354 h 1200923"/>
                          <a:gd name="connsiteX435" fmla="*/ 393883 w 1793838"/>
                          <a:gd name="connsiteY435" fmla="*/ 663004 h 1200923"/>
                          <a:gd name="connsiteX436" fmla="*/ 405970 w 1793838"/>
                          <a:gd name="connsiteY436" fmla="*/ 662979 h 1200923"/>
                          <a:gd name="connsiteX437" fmla="*/ 408040 w 1793838"/>
                          <a:gd name="connsiteY437" fmla="*/ 663004 h 1200923"/>
                          <a:gd name="connsiteX438" fmla="*/ 406819 w 1793838"/>
                          <a:gd name="connsiteY438" fmla="*/ 663322 h 1200923"/>
                          <a:gd name="connsiteX439" fmla="*/ 405970 w 1793838"/>
                          <a:gd name="connsiteY439" fmla="*/ 662979 h 1200923"/>
                          <a:gd name="connsiteX440" fmla="*/ 1034427 w 1793838"/>
                          <a:gd name="connsiteY440" fmla="*/ 641377 h 1200923"/>
                          <a:gd name="connsiteX441" fmla="*/ 1034775 w 1793838"/>
                          <a:gd name="connsiteY441" fmla="*/ 640521 h 1200923"/>
                          <a:gd name="connsiteX442" fmla="*/ 1034775 w 1793838"/>
                          <a:gd name="connsiteY442" fmla="*/ 642241 h 1200923"/>
                          <a:gd name="connsiteX443" fmla="*/ 1034427 w 1793838"/>
                          <a:gd name="connsiteY443" fmla="*/ 641377 h 1200923"/>
                          <a:gd name="connsiteX444" fmla="*/ 386337 w 1793838"/>
                          <a:gd name="connsiteY444" fmla="*/ 627801 h 1200923"/>
                          <a:gd name="connsiteX445" fmla="*/ 387659 w 1793838"/>
                          <a:gd name="connsiteY445" fmla="*/ 627858 h 1200923"/>
                          <a:gd name="connsiteX446" fmla="*/ 386753 w 1793838"/>
                          <a:gd name="connsiteY446" fmla="*/ 628216 h 1200923"/>
                          <a:gd name="connsiteX447" fmla="*/ 386337 w 1793838"/>
                          <a:gd name="connsiteY447" fmla="*/ 627801 h 1200923"/>
                          <a:gd name="connsiteX448" fmla="*/ 414624 w 1793838"/>
                          <a:gd name="connsiteY448" fmla="*/ 627801 h 1200923"/>
                          <a:gd name="connsiteX449" fmla="*/ 415947 w 1793838"/>
                          <a:gd name="connsiteY449" fmla="*/ 627858 h 1200923"/>
                          <a:gd name="connsiteX450" fmla="*/ 415041 w 1793838"/>
                          <a:gd name="connsiteY450" fmla="*/ 628216 h 1200923"/>
                          <a:gd name="connsiteX451" fmla="*/ 414624 w 1793838"/>
                          <a:gd name="connsiteY451" fmla="*/ 627801 h 1200923"/>
                          <a:gd name="connsiteX452" fmla="*/ 392546 w 1793838"/>
                          <a:gd name="connsiteY452" fmla="*/ 627108 h 1200923"/>
                          <a:gd name="connsiteX453" fmla="*/ 393868 w 1793838"/>
                          <a:gd name="connsiteY453" fmla="*/ 627165 h 1200923"/>
                          <a:gd name="connsiteX454" fmla="*/ 392963 w 1793838"/>
                          <a:gd name="connsiteY454" fmla="*/ 627532 h 1200923"/>
                          <a:gd name="connsiteX455" fmla="*/ 392546 w 1793838"/>
                          <a:gd name="connsiteY455" fmla="*/ 627116 h 1200923"/>
                          <a:gd name="connsiteX456" fmla="*/ 408415 w 1793838"/>
                          <a:gd name="connsiteY456" fmla="*/ 627108 h 1200923"/>
                          <a:gd name="connsiteX457" fmla="*/ 409737 w 1793838"/>
                          <a:gd name="connsiteY457" fmla="*/ 627165 h 1200923"/>
                          <a:gd name="connsiteX458" fmla="*/ 408832 w 1793838"/>
                          <a:gd name="connsiteY458" fmla="*/ 627532 h 1200923"/>
                          <a:gd name="connsiteX459" fmla="*/ 408415 w 1793838"/>
                          <a:gd name="connsiteY459" fmla="*/ 627116 h 1200923"/>
                          <a:gd name="connsiteX460" fmla="*/ 1052127 w 1793838"/>
                          <a:gd name="connsiteY460" fmla="*/ 622969 h 1200923"/>
                          <a:gd name="connsiteX461" fmla="*/ 1053450 w 1793838"/>
                          <a:gd name="connsiteY461" fmla="*/ 623025 h 1200923"/>
                          <a:gd name="connsiteX462" fmla="*/ 1052544 w 1793838"/>
                          <a:gd name="connsiteY462" fmla="*/ 623392 h 1200923"/>
                          <a:gd name="connsiteX463" fmla="*/ 1052127 w 1793838"/>
                          <a:gd name="connsiteY463" fmla="*/ 622977 h 1200923"/>
                          <a:gd name="connsiteX464" fmla="*/ 1793409 w 1793838"/>
                          <a:gd name="connsiteY464" fmla="*/ 539956 h 1200923"/>
                          <a:gd name="connsiteX465" fmla="*/ 1793726 w 1793838"/>
                          <a:gd name="connsiteY465" fmla="*/ 538750 h 1200923"/>
                          <a:gd name="connsiteX466" fmla="*/ 1793726 w 1793838"/>
                          <a:gd name="connsiteY466" fmla="*/ 541170 h 1200923"/>
                          <a:gd name="connsiteX467" fmla="*/ 1793409 w 1793838"/>
                          <a:gd name="connsiteY467" fmla="*/ 539956 h 1200923"/>
                          <a:gd name="connsiteX468" fmla="*/ 962 w 1793838"/>
                          <a:gd name="connsiteY468" fmla="*/ 521523 h 1200923"/>
                          <a:gd name="connsiteX469" fmla="*/ 4757 w 1793838"/>
                          <a:gd name="connsiteY469" fmla="*/ 521523 h 1200923"/>
                          <a:gd name="connsiteX470" fmla="*/ 2860 w 1793838"/>
                          <a:gd name="connsiteY470" fmla="*/ 521816 h 1200923"/>
                          <a:gd name="connsiteX471" fmla="*/ 962 w 1793838"/>
                          <a:gd name="connsiteY471" fmla="*/ 521523 h 1200923"/>
                          <a:gd name="connsiteX472" fmla="*/ 1774104 w 1793838"/>
                          <a:gd name="connsiteY472" fmla="*/ 521523 h 1200923"/>
                          <a:gd name="connsiteX473" fmla="*/ 1777901 w 1793838"/>
                          <a:gd name="connsiteY473" fmla="*/ 521523 h 1200923"/>
                          <a:gd name="connsiteX474" fmla="*/ 1776003 w 1793838"/>
                          <a:gd name="connsiteY474" fmla="*/ 521816 h 1200923"/>
                          <a:gd name="connsiteX475" fmla="*/ 1774104 w 1793838"/>
                          <a:gd name="connsiteY475" fmla="*/ 521523 h 1200923"/>
                          <a:gd name="connsiteX476" fmla="*/ 628505 w 1793838"/>
                          <a:gd name="connsiteY476" fmla="*/ 515346 h 1200923"/>
                          <a:gd name="connsiteX477" fmla="*/ 629827 w 1793838"/>
                          <a:gd name="connsiteY477" fmla="*/ 515403 h 1200923"/>
                          <a:gd name="connsiteX478" fmla="*/ 628922 w 1793838"/>
                          <a:gd name="connsiteY478" fmla="*/ 515770 h 1200923"/>
                          <a:gd name="connsiteX479" fmla="*/ 628505 w 1793838"/>
                          <a:gd name="connsiteY479" fmla="*/ 515346 h 1200923"/>
                          <a:gd name="connsiteX480" fmla="*/ 649850 w 1793838"/>
                          <a:gd name="connsiteY480" fmla="*/ 515363 h 1200923"/>
                          <a:gd name="connsiteX481" fmla="*/ 651575 w 1793838"/>
                          <a:gd name="connsiteY481" fmla="*/ 515363 h 1200923"/>
                          <a:gd name="connsiteX482" fmla="*/ 650713 w 1793838"/>
                          <a:gd name="connsiteY482" fmla="*/ 515713 h 1200923"/>
                          <a:gd name="connsiteX483" fmla="*/ 649850 w 1793838"/>
                          <a:gd name="connsiteY483" fmla="*/ 515363 h 1200923"/>
                          <a:gd name="connsiteX484" fmla="*/ 628820 w 1793838"/>
                          <a:gd name="connsiteY484" fmla="*/ 479467 h 1200923"/>
                          <a:gd name="connsiteX485" fmla="*/ 630890 w 1793838"/>
                          <a:gd name="connsiteY485" fmla="*/ 479491 h 1200923"/>
                          <a:gd name="connsiteX486" fmla="*/ 629669 w 1793838"/>
                          <a:gd name="connsiteY486" fmla="*/ 479809 h 1200923"/>
                          <a:gd name="connsiteX487" fmla="*/ 628820 w 1793838"/>
                          <a:gd name="connsiteY487" fmla="*/ 479467 h 1200923"/>
                          <a:gd name="connsiteX488" fmla="*/ 648138 w 1793838"/>
                          <a:gd name="connsiteY488" fmla="*/ 479467 h 1200923"/>
                          <a:gd name="connsiteX489" fmla="*/ 650208 w 1793838"/>
                          <a:gd name="connsiteY489" fmla="*/ 479491 h 1200923"/>
                          <a:gd name="connsiteX490" fmla="*/ 648987 w 1793838"/>
                          <a:gd name="connsiteY490" fmla="*/ 479809 h 1200923"/>
                          <a:gd name="connsiteX491" fmla="*/ 648138 w 1793838"/>
                          <a:gd name="connsiteY491" fmla="*/ 479467 h 1200923"/>
                          <a:gd name="connsiteX492" fmla="*/ 622985 w 1793838"/>
                          <a:gd name="connsiteY492" fmla="*/ 478782 h 1200923"/>
                          <a:gd name="connsiteX493" fmla="*/ 624308 w 1793838"/>
                          <a:gd name="connsiteY493" fmla="*/ 478839 h 1200923"/>
                          <a:gd name="connsiteX494" fmla="*/ 623402 w 1793838"/>
                          <a:gd name="connsiteY494" fmla="*/ 479198 h 1200923"/>
                          <a:gd name="connsiteX495" fmla="*/ 622985 w 1793838"/>
                          <a:gd name="connsiteY495" fmla="*/ 478782 h 1200923"/>
                          <a:gd name="connsiteX496" fmla="*/ 654032 w 1793838"/>
                          <a:gd name="connsiteY496" fmla="*/ 478782 h 1200923"/>
                          <a:gd name="connsiteX497" fmla="*/ 655355 w 1793838"/>
                          <a:gd name="connsiteY497" fmla="*/ 478839 h 1200923"/>
                          <a:gd name="connsiteX498" fmla="*/ 654450 w 1793838"/>
                          <a:gd name="connsiteY498" fmla="*/ 479198 h 1200923"/>
                          <a:gd name="connsiteX499" fmla="*/ 654032 w 1793838"/>
                          <a:gd name="connsiteY499" fmla="*/ 478782 h 1200923"/>
                          <a:gd name="connsiteX500" fmla="*/ 901366 w 1793838"/>
                          <a:gd name="connsiteY500" fmla="*/ 401466 h 1200923"/>
                          <a:gd name="connsiteX501" fmla="*/ 913095 w 1793838"/>
                          <a:gd name="connsiteY501" fmla="*/ 401466 h 1200923"/>
                          <a:gd name="connsiteX502" fmla="*/ 907024 w 1793838"/>
                          <a:gd name="connsiteY502" fmla="*/ 401694 h 1200923"/>
                          <a:gd name="connsiteX503" fmla="*/ 901366 w 1793838"/>
                          <a:gd name="connsiteY503" fmla="*/ 401466 h 1200923"/>
                          <a:gd name="connsiteX504" fmla="*/ 882367 w 1793838"/>
                          <a:gd name="connsiteY504" fmla="*/ 400806 h 1200923"/>
                          <a:gd name="connsiteX505" fmla="*/ 885127 w 1793838"/>
                          <a:gd name="connsiteY505" fmla="*/ 400822 h 1200923"/>
                          <a:gd name="connsiteX506" fmla="*/ 883567 w 1793838"/>
                          <a:gd name="connsiteY506" fmla="*/ 401115 h 1200923"/>
                          <a:gd name="connsiteX507" fmla="*/ 882367 w 1793838"/>
                          <a:gd name="connsiteY507" fmla="*/ 400806 h 1200923"/>
                          <a:gd name="connsiteX508" fmla="*/ 929275 w 1793838"/>
                          <a:gd name="connsiteY508" fmla="*/ 400806 h 1200923"/>
                          <a:gd name="connsiteX509" fmla="*/ 932379 w 1793838"/>
                          <a:gd name="connsiteY509" fmla="*/ 400806 h 1200923"/>
                          <a:gd name="connsiteX510" fmla="*/ 930827 w 1793838"/>
                          <a:gd name="connsiteY510" fmla="*/ 401099 h 1200923"/>
                          <a:gd name="connsiteX511" fmla="*/ 929275 w 1793838"/>
                          <a:gd name="connsiteY511" fmla="*/ 400806 h 1200923"/>
                          <a:gd name="connsiteX512" fmla="*/ 872053 w 1793838"/>
                          <a:gd name="connsiteY512" fmla="*/ 400129 h 1200923"/>
                          <a:gd name="connsiteX513" fmla="*/ 873376 w 1793838"/>
                          <a:gd name="connsiteY513" fmla="*/ 400186 h 1200923"/>
                          <a:gd name="connsiteX514" fmla="*/ 872470 w 1793838"/>
                          <a:gd name="connsiteY514" fmla="*/ 400545 h 1200923"/>
                          <a:gd name="connsiteX515" fmla="*/ 872053 w 1793838"/>
                          <a:gd name="connsiteY515" fmla="*/ 400129 h 1200923"/>
                          <a:gd name="connsiteX516" fmla="*/ 939982 w 1793838"/>
                          <a:gd name="connsiteY516" fmla="*/ 400121 h 1200923"/>
                          <a:gd name="connsiteX517" fmla="*/ 942052 w 1793838"/>
                          <a:gd name="connsiteY517" fmla="*/ 400146 h 1200923"/>
                          <a:gd name="connsiteX518" fmla="*/ 940831 w 1793838"/>
                          <a:gd name="connsiteY518" fmla="*/ 400463 h 1200923"/>
                          <a:gd name="connsiteX519" fmla="*/ 939982 w 1793838"/>
                          <a:gd name="connsiteY519" fmla="*/ 400121 h 1200923"/>
                          <a:gd name="connsiteX520" fmla="*/ 976234 w 1793838"/>
                          <a:gd name="connsiteY520" fmla="*/ 400129 h 1200923"/>
                          <a:gd name="connsiteX521" fmla="*/ 977556 w 1793838"/>
                          <a:gd name="connsiteY521" fmla="*/ 400186 h 1200923"/>
                          <a:gd name="connsiteX522" fmla="*/ 976651 w 1793838"/>
                          <a:gd name="connsiteY522" fmla="*/ 400545 h 1200923"/>
                          <a:gd name="connsiteX523" fmla="*/ 976234 w 1793838"/>
                          <a:gd name="connsiteY523" fmla="*/ 400129 h 1200923"/>
                          <a:gd name="connsiteX524" fmla="*/ 862709 w 1793838"/>
                          <a:gd name="connsiteY524" fmla="*/ 399428 h 1200923"/>
                          <a:gd name="connsiteX525" fmla="*/ 864779 w 1793838"/>
                          <a:gd name="connsiteY525" fmla="*/ 399453 h 1200923"/>
                          <a:gd name="connsiteX526" fmla="*/ 863558 w 1793838"/>
                          <a:gd name="connsiteY526" fmla="*/ 399771 h 1200923"/>
                          <a:gd name="connsiteX527" fmla="*/ 862709 w 1793838"/>
                          <a:gd name="connsiteY527" fmla="*/ 399428 h 1200923"/>
                          <a:gd name="connsiteX528" fmla="*/ 953768 w 1793838"/>
                          <a:gd name="connsiteY528" fmla="*/ 399396 h 1200923"/>
                          <a:gd name="connsiteX529" fmla="*/ 963082 w 1793838"/>
                          <a:gd name="connsiteY529" fmla="*/ 399396 h 1200923"/>
                          <a:gd name="connsiteX530" fmla="*/ 958425 w 1793838"/>
                          <a:gd name="connsiteY530" fmla="*/ 399640 h 1200923"/>
                          <a:gd name="connsiteX531" fmla="*/ 953768 w 1793838"/>
                          <a:gd name="connsiteY531" fmla="*/ 399396 h 1200923"/>
                          <a:gd name="connsiteX532" fmla="*/ 850622 w 1793838"/>
                          <a:gd name="connsiteY532" fmla="*/ 398068 h 1200923"/>
                          <a:gd name="connsiteX533" fmla="*/ 852347 w 1793838"/>
                          <a:gd name="connsiteY533" fmla="*/ 398068 h 1200923"/>
                          <a:gd name="connsiteX534" fmla="*/ 851485 w 1793838"/>
                          <a:gd name="connsiteY534" fmla="*/ 398418 h 1200923"/>
                          <a:gd name="connsiteX535" fmla="*/ 850622 w 1793838"/>
                          <a:gd name="connsiteY535" fmla="*/ 398068 h 1200923"/>
                          <a:gd name="connsiteX536" fmla="*/ 841307 w 1793838"/>
                          <a:gd name="connsiteY536" fmla="*/ 397359 h 1200923"/>
                          <a:gd name="connsiteX537" fmla="*/ 843723 w 1793838"/>
                          <a:gd name="connsiteY537" fmla="*/ 397359 h 1200923"/>
                          <a:gd name="connsiteX538" fmla="*/ 842515 w 1793838"/>
                          <a:gd name="connsiteY538" fmla="*/ 397676 h 1200923"/>
                          <a:gd name="connsiteX539" fmla="*/ 841307 w 1793838"/>
                          <a:gd name="connsiteY539" fmla="*/ 397359 h 1200923"/>
                          <a:gd name="connsiteX540" fmla="*/ 900608 w 1793838"/>
                          <a:gd name="connsiteY540" fmla="*/ 365586 h 1200923"/>
                          <a:gd name="connsiteX541" fmla="*/ 913027 w 1793838"/>
                          <a:gd name="connsiteY541" fmla="*/ 365586 h 1200923"/>
                          <a:gd name="connsiteX542" fmla="*/ 907024 w 1793838"/>
                          <a:gd name="connsiteY542" fmla="*/ 365814 h 1200923"/>
                          <a:gd name="connsiteX543" fmla="*/ 900608 w 1793838"/>
                          <a:gd name="connsiteY543" fmla="*/ 365586 h 1200923"/>
                          <a:gd name="connsiteX544" fmla="*/ 990033 w 1793838"/>
                          <a:gd name="connsiteY544" fmla="*/ 365627 h 1200923"/>
                          <a:gd name="connsiteX545" fmla="*/ 991355 w 1793838"/>
                          <a:gd name="connsiteY545" fmla="*/ 365684 h 1200923"/>
                          <a:gd name="connsiteX546" fmla="*/ 990450 w 1793838"/>
                          <a:gd name="connsiteY546" fmla="*/ 366051 h 1200923"/>
                          <a:gd name="connsiteX547" fmla="*/ 990033 w 1793838"/>
                          <a:gd name="connsiteY547" fmla="*/ 365627 h 1200923"/>
                          <a:gd name="connsiteX548" fmla="*/ 883092 w 1793838"/>
                          <a:gd name="connsiteY548" fmla="*/ 364934 h 1200923"/>
                          <a:gd name="connsiteX549" fmla="*/ 884414 w 1793838"/>
                          <a:gd name="connsiteY549" fmla="*/ 364991 h 1200923"/>
                          <a:gd name="connsiteX550" fmla="*/ 883509 w 1793838"/>
                          <a:gd name="connsiteY550" fmla="*/ 365358 h 1200923"/>
                          <a:gd name="connsiteX551" fmla="*/ 883092 w 1793838"/>
                          <a:gd name="connsiteY551" fmla="*/ 364942 h 1200923"/>
                          <a:gd name="connsiteX552" fmla="*/ 985893 w 1793838"/>
                          <a:gd name="connsiteY552" fmla="*/ 364934 h 1200923"/>
                          <a:gd name="connsiteX553" fmla="*/ 987216 w 1793838"/>
                          <a:gd name="connsiteY553" fmla="*/ 364991 h 1200923"/>
                          <a:gd name="connsiteX554" fmla="*/ 986310 w 1793838"/>
                          <a:gd name="connsiteY554" fmla="*/ 365358 h 1200923"/>
                          <a:gd name="connsiteX555" fmla="*/ 985893 w 1793838"/>
                          <a:gd name="connsiteY555" fmla="*/ 364942 h 1200923"/>
                          <a:gd name="connsiteX556" fmla="*/ 873433 w 1793838"/>
                          <a:gd name="connsiteY556" fmla="*/ 364250 h 1200923"/>
                          <a:gd name="connsiteX557" fmla="*/ 874755 w 1793838"/>
                          <a:gd name="connsiteY557" fmla="*/ 364307 h 1200923"/>
                          <a:gd name="connsiteX558" fmla="*/ 873850 w 1793838"/>
                          <a:gd name="connsiteY558" fmla="*/ 364665 h 1200923"/>
                          <a:gd name="connsiteX559" fmla="*/ 873433 w 1793838"/>
                          <a:gd name="connsiteY559" fmla="*/ 364250 h 1200923"/>
                          <a:gd name="connsiteX560" fmla="*/ 938244 w 1793838"/>
                          <a:gd name="connsiteY560" fmla="*/ 364266 h 1200923"/>
                          <a:gd name="connsiteX561" fmla="*/ 939969 w 1793838"/>
                          <a:gd name="connsiteY561" fmla="*/ 364266 h 1200923"/>
                          <a:gd name="connsiteX562" fmla="*/ 939106 w 1793838"/>
                          <a:gd name="connsiteY562" fmla="*/ 364608 h 1200923"/>
                          <a:gd name="connsiteX563" fmla="*/ 938244 w 1793838"/>
                          <a:gd name="connsiteY563" fmla="*/ 364266 h 1200923"/>
                          <a:gd name="connsiteX564" fmla="*/ 979309 w 1793838"/>
                          <a:gd name="connsiteY564" fmla="*/ 364242 h 1200923"/>
                          <a:gd name="connsiteX565" fmla="*/ 981379 w 1793838"/>
                          <a:gd name="connsiteY565" fmla="*/ 364266 h 1200923"/>
                          <a:gd name="connsiteX566" fmla="*/ 980158 w 1793838"/>
                          <a:gd name="connsiteY566" fmla="*/ 364584 h 1200923"/>
                          <a:gd name="connsiteX567" fmla="*/ 979309 w 1793838"/>
                          <a:gd name="connsiteY567" fmla="*/ 364233 h 1200923"/>
                          <a:gd name="connsiteX568" fmla="*/ 864421 w 1793838"/>
                          <a:gd name="connsiteY568" fmla="*/ 363573 h 1200923"/>
                          <a:gd name="connsiteX569" fmla="*/ 866145 w 1793838"/>
                          <a:gd name="connsiteY569" fmla="*/ 363573 h 1200923"/>
                          <a:gd name="connsiteX570" fmla="*/ 865283 w 1793838"/>
                          <a:gd name="connsiteY570" fmla="*/ 363916 h 1200923"/>
                          <a:gd name="connsiteX571" fmla="*/ 864421 w 1793838"/>
                          <a:gd name="connsiteY571" fmla="*/ 363573 h 1200923"/>
                          <a:gd name="connsiteX572" fmla="*/ 954112 w 1793838"/>
                          <a:gd name="connsiteY572" fmla="*/ 363516 h 1200923"/>
                          <a:gd name="connsiteX573" fmla="*/ 966877 w 1793838"/>
                          <a:gd name="connsiteY573" fmla="*/ 363516 h 1200923"/>
                          <a:gd name="connsiteX574" fmla="*/ 960495 w 1793838"/>
                          <a:gd name="connsiteY574" fmla="*/ 363736 h 1200923"/>
                          <a:gd name="connsiteX575" fmla="*/ 954112 w 1793838"/>
                          <a:gd name="connsiteY575" fmla="*/ 363516 h 1200923"/>
                          <a:gd name="connsiteX576" fmla="*/ 858944 w 1793838"/>
                          <a:gd name="connsiteY576" fmla="*/ 362864 h 1200923"/>
                          <a:gd name="connsiteX577" fmla="*/ 860267 w 1793838"/>
                          <a:gd name="connsiteY577" fmla="*/ 362921 h 1200923"/>
                          <a:gd name="connsiteX578" fmla="*/ 859361 w 1793838"/>
                          <a:gd name="connsiteY578" fmla="*/ 363288 h 1200923"/>
                          <a:gd name="connsiteX579" fmla="*/ 858944 w 1793838"/>
                          <a:gd name="connsiteY579" fmla="*/ 362873 h 1200923"/>
                          <a:gd name="connsiteX580" fmla="*/ 832727 w 1793838"/>
                          <a:gd name="connsiteY580" fmla="*/ 362172 h 1200923"/>
                          <a:gd name="connsiteX581" fmla="*/ 834049 w 1793838"/>
                          <a:gd name="connsiteY581" fmla="*/ 362229 h 1200923"/>
                          <a:gd name="connsiteX582" fmla="*/ 833144 w 1793838"/>
                          <a:gd name="connsiteY582" fmla="*/ 362596 h 1200923"/>
                          <a:gd name="connsiteX583" fmla="*/ 832727 w 1793838"/>
                          <a:gd name="connsiteY583" fmla="*/ 362180 h 1200923"/>
                          <a:gd name="connsiteX584" fmla="*/ 852002 w 1793838"/>
                          <a:gd name="connsiteY584" fmla="*/ 362188 h 1200923"/>
                          <a:gd name="connsiteX585" fmla="*/ 853726 w 1793838"/>
                          <a:gd name="connsiteY585" fmla="*/ 362188 h 1200923"/>
                          <a:gd name="connsiteX586" fmla="*/ 852864 w 1793838"/>
                          <a:gd name="connsiteY586" fmla="*/ 362538 h 1200923"/>
                          <a:gd name="connsiteX587" fmla="*/ 852002 w 1793838"/>
                          <a:gd name="connsiteY587" fmla="*/ 362188 h 1200923"/>
                          <a:gd name="connsiteX588" fmla="*/ 840963 w 1793838"/>
                          <a:gd name="connsiteY588" fmla="*/ 361471 h 1200923"/>
                          <a:gd name="connsiteX589" fmla="*/ 844067 w 1793838"/>
                          <a:gd name="connsiteY589" fmla="*/ 361471 h 1200923"/>
                          <a:gd name="connsiteX590" fmla="*/ 842515 w 1793838"/>
                          <a:gd name="connsiteY590" fmla="*/ 361772 h 1200923"/>
                          <a:gd name="connsiteX591" fmla="*/ 840963 w 1793838"/>
                          <a:gd name="connsiteY591" fmla="*/ 361471 h 1200923"/>
                          <a:gd name="connsiteX592" fmla="*/ 648643 w 1793838"/>
                          <a:gd name="connsiteY592" fmla="*/ 257781 h 1200923"/>
                          <a:gd name="connsiteX593" fmla="*/ 648429 w 1793838"/>
                          <a:gd name="connsiteY593" fmla="*/ 257102 h 1200923"/>
                          <a:gd name="connsiteX594" fmla="*/ 649678 w 1793838"/>
                          <a:gd name="connsiteY594" fmla="*/ 257781 h 1200923"/>
                          <a:gd name="connsiteX595" fmla="*/ 648643 w 1793838"/>
                          <a:gd name="connsiteY595" fmla="*/ 257781 h 1200923"/>
                          <a:gd name="connsiteX596" fmla="*/ 641570 w 1793838"/>
                          <a:gd name="connsiteY596" fmla="*/ 256634 h 1200923"/>
                          <a:gd name="connsiteX597" fmla="*/ 643295 w 1793838"/>
                          <a:gd name="connsiteY597" fmla="*/ 256634 h 1200923"/>
                          <a:gd name="connsiteX598" fmla="*/ 642433 w 1793838"/>
                          <a:gd name="connsiteY598" fmla="*/ 256982 h 1200923"/>
                          <a:gd name="connsiteX599" fmla="*/ 641570 w 1793838"/>
                          <a:gd name="connsiteY599" fmla="*/ 256634 h 1200923"/>
                          <a:gd name="connsiteX600" fmla="*/ 636094 w 1793838"/>
                          <a:gd name="connsiteY600" fmla="*/ 255930 h 1200923"/>
                          <a:gd name="connsiteX601" fmla="*/ 637417 w 1793838"/>
                          <a:gd name="connsiteY601" fmla="*/ 255985 h 1200923"/>
                          <a:gd name="connsiteX602" fmla="*/ 636511 w 1793838"/>
                          <a:gd name="connsiteY602" fmla="*/ 256346 h 1200923"/>
                          <a:gd name="connsiteX603" fmla="*/ 636094 w 1793838"/>
                          <a:gd name="connsiteY603" fmla="*/ 255930 h 1200923"/>
                          <a:gd name="connsiteX604" fmla="*/ 625745 w 1793838"/>
                          <a:gd name="connsiteY604" fmla="*/ 254550 h 1200923"/>
                          <a:gd name="connsiteX605" fmla="*/ 627068 w 1793838"/>
                          <a:gd name="connsiteY605" fmla="*/ 254604 h 1200923"/>
                          <a:gd name="connsiteX606" fmla="*/ 626162 w 1793838"/>
                          <a:gd name="connsiteY606" fmla="*/ 254967 h 1200923"/>
                          <a:gd name="connsiteX607" fmla="*/ 625745 w 1793838"/>
                          <a:gd name="connsiteY607" fmla="*/ 254550 h 1200923"/>
                          <a:gd name="connsiteX608" fmla="*/ 616776 w 1793838"/>
                          <a:gd name="connsiteY608" fmla="*/ 253170 h 1200923"/>
                          <a:gd name="connsiteX609" fmla="*/ 618098 w 1793838"/>
                          <a:gd name="connsiteY609" fmla="*/ 253225 h 1200923"/>
                          <a:gd name="connsiteX610" fmla="*/ 617193 w 1793838"/>
                          <a:gd name="connsiteY610" fmla="*/ 253587 h 1200923"/>
                          <a:gd name="connsiteX611" fmla="*/ 616776 w 1793838"/>
                          <a:gd name="connsiteY611" fmla="*/ 253170 h 1200923"/>
                          <a:gd name="connsiteX612" fmla="*/ 1228365 w 1793838"/>
                          <a:gd name="connsiteY612" fmla="*/ 228288 h 1200923"/>
                          <a:gd name="connsiteX613" fmla="*/ 1245959 w 1793838"/>
                          <a:gd name="connsiteY613" fmla="*/ 228288 h 1200923"/>
                          <a:gd name="connsiteX614" fmla="*/ 1237158 w 1793838"/>
                          <a:gd name="connsiteY614" fmla="*/ 228503 h 1200923"/>
                          <a:gd name="connsiteX615" fmla="*/ 1228365 w 1793838"/>
                          <a:gd name="connsiteY615" fmla="*/ 228288 h 1200923"/>
                          <a:gd name="connsiteX616" fmla="*/ 1208352 w 1793838"/>
                          <a:gd name="connsiteY616" fmla="*/ 227638 h 1200923"/>
                          <a:gd name="connsiteX617" fmla="*/ 1210772 w 1793838"/>
                          <a:gd name="connsiteY617" fmla="*/ 227638 h 1200923"/>
                          <a:gd name="connsiteX618" fmla="*/ 1209566 w 1793838"/>
                          <a:gd name="connsiteY618" fmla="*/ 227953 h 1200923"/>
                          <a:gd name="connsiteX619" fmla="*/ 1208352 w 1793838"/>
                          <a:gd name="connsiteY619" fmla="*/ 227638 h 1200923"/>
                          <a:gd name="connsiteX620" fmla="*/ 1263560 w 1793838"/>
                          <a:gd name="connsiteY620" fmla="*/ 227638 h 1200923"/>
                          <a:gd name="connsiteX621" fmla="*/ 1265630 w 1793838"/>
                          <a:gd name="connsiteY621" fmla="*/ 227663 h 1200923"/>
                          <a:gd name="connsiteX622" fmla="*/ 1264416 w 1793838"/>
                          <a:gd name="connsiteY622" fmla="*/ 227981 h 1200923"/>
                          <a:gd name="connsiteX623" fmla="*/ 1263560 w 1793838"/>
                          <a:gd name="connsiteY623" fmla="*/ 227638 h 1200923"/>
                          <a:gd name="connsiteX624" fmla="*/ 1196968 w 1793838"/>
                          <a:gd name="connsiteY624" fmla="*/ 226969 h 1200923"/>
                          <a:gd name="connsiteX625" fmla="*/ 1198695 w 1793838"/>
                          <a:gd name="connsiteY625" fmla="*/ 226969 h 1200923"/>
                          <a:gd name="connsiteX626" fmla="*/ 1197832 w 1793838"/>
                          <a:gd name="connsiteY626" fmla="*/ 227317 h 1200923"/>
                          <a:gd name="connsiteX627" fmla="*/ 1196968 w 1793838"/>
                          <a:gd name="connsiteY627" fmla="*/ 226969 h 1200923"/>
                          <a:gd name="connsiteX628" fmla="*/ 1274244 w 1793838"/>
                          <a:gd name="connsiteY628" fmla="*/ 226969 h 1200923"/>
                          <a:gd name="connsiteX629" fmla="*/ 1275971 w 1793838"/>
                          <a:gd name="connsiteY629" fmla="*/ 226969 h 1200923"/>
                          <a:gd name="connsiteX630" fmla="*/ 1275107 w 1793838"/>
                          <a:gd name="connsiteY630" fmla="*/ 227317 h 1200923"/>
                          <a:gd name="connsiteX631" fmla="*/ 1274244 w 1793838"/>
                          <a:gd name="connsiteY631" fmla="*/ 226969 h 1200923"/>
                          <a:gd name="connsiteX632" fmla="*/ 714359 w 1793838"/>
                          <a:gd name="connsiteY632" fmla="*/ 226242 h 1200923"/>
                          <a:gd name="connsiteX633" fmla="*/ 718153 w 1793838"/>
                          <a:gd name="connsiteY633" fmla="*/ 226242 h 1200923"/>
                          <a:gd name="connsiteX634" fmla="*/ 716256 w 1793838"/>
                          <a:gd name="connsiteY634" fmla="*/ 226530 h 1200923"/>
                          <a:gd name="connsiteX635" fmla="*/ 714359 w 1793838"/>
                          <a:gd name="connsiteY635" fmla="*/ 226242 h 1200923"/>
                          <a:gd name="connsiteX636" fmla="*/ 1189047 w 1793838"/>
                          <a:gd name="connsiteY636" fmla="*/ 226257 h 1200923"/>
                          <a:gd name="connsiteX637" fmla="*/ 1191117 w 1793838"/>
                          <a:gd name="connsiteY637" fmla="*/ 226283 h 1200923"/>
                          <a:gd name="connsiteX638" fmla="*/ 1189903 w 1793838"/>
                          <a:gd name="connsiteY638" fmla="*/ 226601 h 1200923"/>
                          <a:gd name="connsiteX639" fmla="*/ 1189047 w 1793838"/>
                          <a:gd name="connsiteY639" fmla="*/ 226257 h 1200923"/>
                          <a:gd name="connsiteX640" fmla="*/ 1282881 w 1793838"/>
                          <a:gd name="connsiteY640" fmla="*/ 226257 h 1200923"/>
                          <a:gd name="connsiteX641" fmla="*/ 1284951 w 1793838"/>
                          <a:gd name="connsiteY641" fmla="*/ 226283 h 1200923"/>
                          <a:gd name="connsiteX642" fmla="*/ 1283729 w 1793838"/>
                          <a:gd name="connsiteY642" fmla="*/ 226601 h 1200923"/>
                          <a:gd name="connsiteX643" fmla="*/ 1282881 w 1793838"/>
                          <a:gd name="connsiteY643" fmla="*/ 226257 h 1200923"/>
                          <a:gd name="connsiteX644" fmla="*/ 700223 w 1793838"/>
                          <a:gd name="connsiteY644" fmla="*/ 225557 h 1200923"/>
                          <a:gd name="connsiteX645" fmla="*/ 702983 w 1793838"/>
                          <a:gd name="connsiteY645" fmla="*/ 225571 h 1200923"/>
                          <a:gd name="connsiteX646" fmla="*/ 701423 w 1793838"/>
                          <a:gd name="connsiteY646" fmla="*/ 225871 h 1200923"/>
                          <a:gd name="connsiteX647" fmla="*/ 700223 w 1793838"/>
                          <a:gd name="connsiteY647" fmla="*/ 225557 h 1200923"/>
                          <a:gd name="connsiteX648" fmla="*/ 1181795 w 1793838"/>
                          <a:gd name="connsiteY648" fmla="*/ 225588 h 1200923"/>
                          <a:gd name="connsiteX649" fmla="*/ 1183514 w 1793838"/>
                          <a:gd name="connsiteY649" fmla="*/ 225588 h 1200923"/>
                          <a:gd name="connsiteX650" fmla="*/ 1182658 w 1793838"/>
                          <a:gd name="connsiteY650" fmla="*/ 225936 h 1200923"/>
                          <a:gd name="connsiteX651" fmla="*/ 1181795 w 1793838"/>
                          <a:gd name="connsiteY651" fmla="*/ 225588 h 1200923"/>
                          <a:gd name="connsiteX652" fmla="*/ 689866 w 1793838"/>
                          <a:gd name="connsiteY652" fmla="*/ 224898 h 1200923"/>
                          <a:gd name="connsiteX653" fmla="*/ 691591 w 1793838"/>
                          <a:gd name="connsiteY653" fmla="*/ 224898 h 1200923"/>
                          <a:gd name="connsiteX654" fmla="*/ 690728 w 1793838"/>
                          <a:gd name="connsiteY654" fmla="*/ 225247 h 1200923"/>
                          <a:gd name="connsiteX655" fmla="*/ 689866 w 1793838"/>
                          <a:gd name="connsiteY655" fmla="*/ 224898 h 1200923"/>
                          <a:gd name="connsiteX656" fmla="*/ 1176318 w 1793838"/>
                          <a:gd name="connsiteY656" fmla="*/ 224884 h 1200923"/>
                          <a:gd name="connsiteX657" fmla="*/ 1177639 w 1793838"/>
                          <a:gd name="connsiteY657" fmla="*/ 224938 h 1200923"/>
                          <a:gd name="connsiteX658" fmla="*/ 1176734 w 1793838"/>
                          <a:gd name="connsiteY658" fmla="*/ 225301 h 1200923"/>
                          <a:gd name="connsiteX659" fmla="*/ 1176318 w 1793838"/>
                          <a:gd name="connsiteY659" fmla="*/ 224884 h 1200923"/>
                          <a:gd name="connsiteX660" fmla="*/ 1295634 w 1793838"/>
                          <a:gd name="connsiteY660" fmla="*/ 224898 h 1200923"/>
                          <a:gd name="connsiteX661" fmla="*/ 1297354 w 1793838"/>
                          <a:gd name="connsiteY661" fmla="*/ 224898 h 1200923"/>
                          <a:gd name="connsiteX662" fmla="*/ 1296498 w 1793838"/>
                          <a:gd name="connsiteY662" fmla="*/ 225247 h 1200923"/>
                          <a:gd name="connsiteX663" fmla="*/ 1295634 w 1793838"/>
                          <a:gd name="connsiteY663" fmla="*/ 224898 h 1200923"/>
                          <a:gd name="connsiteX664" fmla="*/ 679875 w 1793838"/>
                          <a:gd name="connsiteY664" fmla="*/ 224188 h 1200923"/>
                          <a:gd name="connsiteX665" fmla="*/ 681945 w 1793838"/>
                          <a:gd name="connsiteY665" fmla="*/ 224213 h 1200923"/>
                          <a:gd name="connsiteX666" fmla="*/ 680725 w 1793838"/>
                          <a:gd name="connsiteY666" fmla="*/ 224531 h 1200923"/>
                          <a:gd name="connsiteX667" fmla="*/ 679875 w 1793838"/>
                          <a:gd name="connsiteY667" fmla="*/ 224187 h 1200923"/>
                          <a:gd name="connsiteX668" fmla="*/ 1170794 w 1793838"/>
                          <a:gd name="connsiteY668" fmla="*/ 224194 h 1200923"/>
                          <a:gd name="connsiteX669" fmla="*/ 1172122 w 1793838"/>
                          <a:gd name="connsiteY669" fmla="*/ 224249 h 1200923"/>
                          <a:gd name="connsiteX670" fmla="*/ 1171217 w 1793838"/>
                          <a:gd name="connsiteY670" fmla="*/ 224611 h 1200923"/>
                          <a:gd name="connsiteX671" fmla="*/ 1170794 w 1793838"/>
                          <a:gd name="connsiteY671" fmla="*/ 224194 h 1200923"/>
                          <a:gd name="connsiteX672" fmla="*/ 670906 w 1793838"/>
                          <a:gd name="connsiteY672" fmla="*/ 223497 h 1200923"/>
                          <a:gd name="connsiteX673" fmla="*/ 672976 w 1793838"/>
                          <a:gd name="connsiteY673" fmla="*/ 223523 h 1200923"/>
                          <a:gd name="connsiteX674" fmla="*/ 671755 w 1793838"/>
                          <a:gd name="connsiteY674" fmla="*/ 223841 h 1200923"/>
                          <a:gd name="connsiteX675" fmla="*/ 670906 w 1793838"/>
                          <a:gd name="connsiteY675" fmla="*/ 223497 h 1200923"/>
                          <a:gd name="connsiteX676" fmla="*/ 1165969 w 1793838"/>
                          <a:gd name="connsiteY676" fmla="*/ 223505 h 1200923"/>
                          <a:gd name="connsiteX677" fmla="*/ 1167290 w 1793838"/>
                          <a:gd name="connsiteY677" fmla="*/ 223559 h 1200923"/>
                          <a:gd name="connsiteX678" fmla="*/ 1166385 w 1793838"/>
                          <a:gd name="connsiteY678" fmla="*/ 223921 h 1200923"/>
                          <a:gd name="connsiteX679" fmla="*/ 1165969 w 1793838"/>
                          <a:gd name="connsiteY679" fmla="*/ 223505 h 1200923"/>
                          <a:gd name="connsiteX680" fmla="*/ 663649 w 1793838"/>
                          <a:gd name="connsiteY680" fmla="*/ 222829 h 1200923"/>
                          <a:gd name="connsiteX681" fmla="*/ 665373 w 1793838"/>
                          <a:gd name="connsiteY681" fmla="*/ 222829 h 1200923"/>
                          <a:gd name="connsiteX682" fmla="*/ 664511 w 1793838"/>
                          <a:gd name="connsiteY682" fmla="*/ 223177 h 1200923"/>
                          <a:gd name="connsiteX683" fmla="*/ 663649 w 1793838"/>
                          <a:gd name="connsiteY683" fmla="*/ 222829 h 1200923"/>
                          <a:gd name="connsiteX684" fmla="*/ 1310856 w 1793838"/>
                          <a:gd name="connsiteY684" fmla="*/ 222815 h 1200923"/>
                          <a:gd name="connsiteX685" fmla="*/ 1312177 w 1793838"/>
                          <a:gd name="connsiteY685" fmla="*/ 222869 h 1200923"/>
                          <a:gd name="connsiteX686" fmla="*/ 1311272 w 1793838"/>
                          <a:gd name="connsiteY686" fmla="*/ 223231 h 1200923"/>
                          <a:gd name="connsiteX687" fmla="*/ 1310856 w 1793838"/>
                          <a:gd name="connsiteY687" fmla="*/ 222815 h 1200923"/>
                          <a:gd name="connsiteX688" fmla="*/ 656749 w 1793838"/>
                          <a:gd name="connsiteY688" fmla="*/ 222139 h 1200923"/>
                          <a:gd name="connsiteX689" fmla="*/ 658474 w 1793838"/>
                          <a:gd name="connsiteY689" fmla="*/ 222139 h 1200923"/>
                          <a:gd name="connsiteX690" fmla="*/ 657611 w 1793838"/>
                          <a:gd name="connsiteY690" fmla="*/ 222488 h 1200923"/>
                          <a:gd name="connsiteX691" fmla="*/ 656749 w 1793838"/>
                          <a:gd name="connsiteY691" fmla="*/ 222139 h 1200923"/>
                          <a:gd name="connsiteX692" fmla="*/ 1314996 w 1793838"/>
                          <a:gd name="connsiteY692" fmla="*/ 222124 h 1200923"/>
                          <a:gd name="connsiteX693" fmla="*/ 1316316 w 1793838"/>
                          <a:gd name="connsiteY693" fmla="*/ 222179 h 1200923"/>
                          <a:gd name="connsiteX694" fmla="*/ 1315412 w 1793838"/>
                          <a:gd name="connsiteY694" fmla="*/ 222542 h 1200923"/>
                          <a:gd name="connsiteX695" fmla="*/ 1314996 w 1793838"/>
                          <a:gd name="connsiteY695" fmla="*/ 222125 h 1200923"/>
                          <a:gd name="connsiteX696" fmla="*/ 650540 w 1793838"/>
                          <a:gd name="connsiteY696" fmla="*/ 221449 h 1200923"/>
                          <a:gd name="connsiteX697" fmla="*/ 652265 w 1793838"/>
                          <a:gd name="connsiteY697" fmla="*/ 221449 h 1200923"/>
                          <a:gd name="connsiteX698" fmla="*/ 651402 w 1793838"/>
                          <a:gd name="connsiteY698" fmla="*/ 221797 h 1200923"/>
                          <a:gd name="connsiteX699" fmla="*/ 650540 w 1793838"/>
                          <a:gd name="connsiteY699" fmla="*/ 221449 h 1200923"/>
                          <a:gd name="connsiteX700" fmla="*/ 639500 w 1793838"/>
                          <a:gd name="connsiteY700" fmla="*/ 220069 h 1200923"/>
                          <a:gd name="connsiteX701" fmla="*/ 641226 w 1793838"/>
                          <a:gd name="connsiteY701" fmla="*/ 220069 h 1200923"/>
                          <a:gd name="connsiteX702" fmla="*/ 640363 w 1793838"/>
                          <a:gd name="connsiteY702" fmla="*/ 220417 h 1200923"/>
                          <a:gd name="connsiteX703" fmla="*/ 639500 w 1793838"/>
                          <a:gd name="connsiteY703" fmla="*/ 220069 h 1200923"/>
                          <a:gd name="connsiteX704" fmla="*/ 1144579 w 1793838"/>
                          <a:gd name="connsiteY704" fmla="*/ 220055 h 1200923"/>
                          <a:gd name="connsiteX705" fmla="*/ 1145899 w 1793838"/>
                          <a:gd name="connsiteY705" fmla="*/ 220109 h 1200923"/>
                          <a:gd name="connsiteX706" fmla="*/ 1144994 w 1793838"/>
                          <a:gd name="connsiteY706" fmla="*/ 220472 h 1200923"/>
                          <a:gd name="connsiteX707" fmla="*/ 1144579 w 1793838"/>
                          <a:gd name="connsiteY707" fmla="*/ 220055 h 1200923"/>
                          <a:gd name="connsiteX708" fmla="*/ 1231845 w 1793838"/>
                          <a:gd name="connsiteY708" fmla="*/ 192414 h 1200923"/>
                          <a:gd name="connsiteX709" fmla="*/ 1243579 w 1793838"/>
                          <a:gd name="connsiteY709" fmla="*/ 192414 h 1200923"/>
                          <a:gd name="connsiteX710" fmla="*/ 1237508 w 1793838"/>
                          <a:gd name="connsiteY710" fmla="*/ 192645 h 1200923"/>
                          <a:gd name="connsiteX711" fmla="*/ 1231845 w 1793838"/>
                          <a:gd name="connsiteY711" fmla="*/ 192413 h 1200923"/>
                          <a:gd name="connsiteX712" fmla="*/ 1211122 w 1793838"/>
                          <a:gd name="connsiteY712" fmla="*/ 191744 h 1200923"/>
                          <a:gd name="connsiteX713" fmla="*/ 1214577 w 1793838"/>
                          <a:gd name="connsiteY713" fmla="*/ 191754 h 1200923"/>
                          <a:gd name="connsiteX714" fmla="*/ 1212671 w 1793838"/>
                          <a:gd name="connsiteY714" fmla="*/ 192041 h 1200923"/>
                          <a:gd name="connsiteX715" fmla="*/ 1211122 w 1793838"/>
                          <a:gd name="connsiteY715" fmla="*/ 191744 h 1200923"/>
                          <a:gd name="connsiteX716" fmla="*/ 1260798 w 1793838"/>
                          <a:gd name="connsiteY716" fmla="*/ 191744 h 1200923"/>
                          <a:gd name="connsiteX717" fmla="*/ 1264253 w 1793838"/>
                          <a:gd name="connsiteY717" fmla="*/ 191754 h 1200923"/>
                          <a:gd name="connsiteX718" fmla="*/ 1262346 w 1793838"/>
                          <a:gd name="connsiteY718" fmla="*/ 192041 h 1200923"/>
                          <a:gd name="connsiteX719" fmla="*/ 1260798 w 1793838"/>
                          <a:gd name="connsiteY719" fmla="*/ 191744 h 1200923"/>
                          <a:gd name="connsiteX720" fmla="*/ 1192502 w 1793838"/>
                          <a:gd name="connsiteY720" fmla="*/ 190380 h 1200923"/>
                          <a:gd name="connsiteX721" fmla="*/ 1194572 w 1793838"/>
                          <a:gd name="connsiteY721" fmla="*/ 190406 h 1200923"/>
                          <a:gd name="connsiteX722" fmla="*/ 1193350 w 1793838"/>
                          <a:gd name="connsiteY722" fmla="*/ 190723 h 1200923"/>
                          <a:gd name="connsiteX723" fmla="*/ 1192502 w 1793838"/>
                          <a:gd name="connsiteY723" fmla="*/ 190380 h 1200923"/>
                          <a:gd name="connsiteX724" fmla="*/ 1280119 w 1793838"/>
                          <a:gd name="connsiteY724" fmla="*/ 190380 h 1200923"/>
                          <a:gd name="connsiteX725" fmla="*/ 1282189 w 1793838"/>
                          <a:gd name="connsiteY725" fmla="*/ 190406 h 1200923"/>
                          <a:gd name="connsiteX726" fmla="*/ 1280974 w 1793838"/>
                          <a:gd name="connsiteY726" fmla="*/ 190723 h 1200923"/>
                          <a:gd name="connsiteX727" fmla="*/ 1280119 w 1793838"/>
                          <a:gd name="connsiteY727" fmla="*/ 190380 h 1200923"/>
                          <a:gd name="connsiteX728" fmla="*/ 968644 w 1793838"/>
                          <a:gd name="connsiteY728" fmla="*/ 189698 h 1200923"/>
                          <a:gd name="connsiteX729" fmla="*/ 969967 w 1793838"/>
                          <a:gd name="connsiteY729" fmla="*/ 189752 h 1200923"/>
                          <a:gd name="connsiteX730" fmla="*/ 969062 w 1793838"/>
                          <a:gd name="connsiteY730" fmla="*/ 190115 h 1200923"/>
                          <a:gd name="connsiteX731" fmla="*/ 968644 w 1793838"/>
                          <a:gd name="connsiteY731" fmla="*/ 189698 h 1200923"/>
                          <a:gd name="connsiteX732" fmla="*/ 1185242 w 1793838"/>
                          <a:gd name="connsiteY732" fmla="*/ 189712 h 1200923"/>
                          <a:gd name="connsiteX733" fmla="*/ 1186969 w 1793838"/>
                          <a:gd name="connsiteY733" fmla="*/ 189712 h 1200923"/>
                          <a:gd name="connsiteX734" fmla="*/ 1186105 w 1793838"/>
                          <a:gd name="connsiteY734" fmla="*/ 190060 h 1200923"/>
                          <a:gd name="connsiteX735" fmla="*/ 1185242 w 1793838"/>
                          <a:gd name="connsiteY735" fmla="*/ 189712 h 1200923"/>
                          <a:gd name="connsiteX736" fmla="*/ 973474 w 1793838"/>
                          <a:gd name="connsiteY736" fmla="*/ 189008 h 1200923"/>
                          <a:gd name="connsiteX737" fmla="*/ 974797 w 1793838"/>
                          <a:gd name="connsiteY737" fmla="*/ 189063 h 1200923"/>
                          <a:gd name="connsiteX738" fmla="*/ 973891 w 1793838"/>
                          <a:gd name="connsiteY738" fmla="*/ 189425 h 1200923"/>
                          <a:gd name="connsiteX739" fmla="*/ 973474 w 1793838"/>
                          <a:gd name="connsiteY739" fmla="*/ 189008 h 1200923"/>
                          <a:gd name="connsiteX740" fmla="*/ 1026599 w 1793838"/>
                          <a:gd name="connsiteY740" fmla="*/ 189008 h 1200923"/>
                          <a:gd name="connsiteX741" fmla="*/ 1027922 w 1793838"/>
                          <a:gd name="connsiteY741" fmla="*/ 189063 h 1200923"/>
                          <a:gd name="connsiteX742" fmla="*/ 1027016 w 1793838"/>
                          <a:gd name="connsiteY742" fmla="*/ 189425 h 1200923"/>
                          <a:gd name="connsiteX743" fmla="*/ 1026599 w 1793838"/>
                          <a:gd name="connsiteY743" fmla="*/ 189008 h 1200923"/>
                          <a:gd name="connsiteX744" fmla="*/ 1179765 w 1793838"/>
                          <a:gd name="connsiteY744" fmla="*/ 189008 h 1200923"/>
                          <a:gd name="connsiteX745" fmla="*/ 1181086 w 1793838"/>
                          <a:gd name="connsiteY745" fmla="*/ 189063 h 1200923"/>
                          <a:gd name="connsiteX746" fmla="*/ 1180181 w 1793838"/>
                          <a:gd name="connsiteY746" fmla="*/ 189425 h 1200923"/>
                          <a:gd name="connsiteX747" fmla="*/ 1179765 w 1793838"/>
                          <a:gd name="connsiteY747" fmla="*/ 189008 h 1200923"/>
                          <a:gd name="connsiteX748" fmla="*/ 1292913 w 1793838"/>
                          <a:gd name="connsiteY748" fmla="*/ 189008 h 1200923"/>
                          <a:gd name="connsiteX749" fmla="*/ 1294241 w 1793838"/>
                          <a:gd name="connsiteY749" fmla="*/ 189063 h 1200923"/>
                          <a:gd name="connsiteX750" fmla="*/ 1293336 w 1793838"/>
                          <a:gd name="connsiteY750" fmla="*/ 189425 h 1200923"/>
                          <a:gd name="connsiteX751" fmla="*/ 1292913 w 1793838"/>
                          <a:gd name="connsiteY751" fmla="*/ 189008 h 1200923"/>
                          <a:gd name="connsiteX752" fmla="*/ 1174249 w 1793838"/>
                          <a:gd name="connsiteY752" fmla="*/ 188318 h 1200923"/>
                          <a:gd name="connsiteX753" fmla="*/ 1175569 w 1793838"/>
                          <a:gd name="connsiteY753" fmla="*/ 188373 h 1200923"/>
                          <a:gd name="connsiteX754" fmla="*/ 1174664 w 1793838"/>
                          <a:gd name="connsiteY754" fmla="*/ 188735 h 1200923"/>
                          <a:gd name="connsiteX755" fmla="*/ 1174249 w 1793838"/>
                          <a:gd name="connsiteY755" fmla="*/ 188318 h 1200923"/>
                          <a:gd name="connsiteX756" fmla="*/ 1298438 w 1793838"/>
                          <a:gd name="connsiteY756" fmla="*/ 188318 h 1200923"/>
                          <a:gd name="connsiteX757" fmla="*/ 1299758 w 1793838"/>
                          <a:gd name="connsiteY757" fmla="*/ 188373 h 1200923"/>
                          <a:gd name="connsiteX758" fmla="*/ 1298853 w 1793838"/>
                          <a:gd name="connsiteY758" fmla="*/ 188735 h 1200923"/>
                          <a:gd name="connsiteX759" fmla="*/ 1298438 w 1793838"/>
                          <a:gd name="connsiteY759" fmla="*/ 188318 h 1200923"/>
                          <a:gd name="connsiteX760" fmla="*/ 986548 w 1793838"/>
                          <a:gd name="connsiteY760" fmla="*/ 187611 h 1200923"/>
                          <a:gd name="connsiteX761" fmla="*/ 989307 w 1793838"/>
                          <a:gd name="connsiteY761" fmla="*/ 187625 h 1200923"/>
                          <a:gd name="connsiteX762" fmla="*/ 987747 w 1793838"/>
                          <a:gd name="connsiteY762" fmla="*/ 187925 h 1200923"/>
                          <a:gd name="connsiteX763" fmla="*/ 986548 w 1793838"/>
                          <a:gd name="connsiteY763" fmla="*/ 187611 h 1200923"/>
                          <a:gd name="connsiteX764" fmla="*/ 1012766 w 1793838"/>
                          <a:gd name="connsiteY764" fmla="*/ 187611 h 1200923"/>
                          <a:gd name="connsiteX765" fmla="*/ 1015526 w 1793838"/>
                          <a:gd name="connsiteY765" fmla="*/ 187625 h 1200923"/>
                          <a:gd name="connsiteX766" fmla="*/ 1013965 w 1793838"/>
                          <a:gd name="connsiteY766" fmla="*/ 187925 h 1200923"/>
                          <a:gd name="connsiteX767" fmla="*/ 1012766 w 1793838"/>
                          <a:gd name="connsiteY767" fmla="*/ 187611 h 1200923"/>
                          <a:gd name="connsiteX768" fmla="*/ 1169416 w 1793838"/>
                          <a:gd name="connsiteY768" fmla="*/ 187628 h 1200923"/>
                          <a:gd name="connsiteX769" fmla="*/ 1170736 w 1793838"/>
                          <a:gd name="connsiteY769" fmla="*/ 187682 h 1200923"/>
                          <a:gd name="connsiteX770" fmla="*/ 1169832 w 1793838"/>
                          <a:gd name="connsiteY770" fmla="*/ 188045 h 1200923"/>
                          <a:gd name="connsiteX771" fmla="*/ 1169416 w 1793838"/>
                          <a:gd name="connsiteY771" fmla="*/ 187628 h 1200923"/>
                          <a:gd name="connsiteX772" fmla="*/ 1164584 w 1793838"/>
                          <a:gd name="connsiteY772" fmla="*/ 186937 h 1200923"/>
                          <a:gd name="connsiteX773" fmla="*/ 1165912 w 1793838"/>
                          <a:gd name="connsiteY773" fmla="*/ 186992 h 1200923"/>
                          <a:gd name="connsiteX774" fmla="*/ 1165008 w 1793838"/>
                          <a:gd name="connsiteY774" fmla="*/ 187355 h 1200923"/>
                          <a:gd name="connsiteX775" fmla="*/ 1164584 w 1793838"/>
                          <a:gd name="connsiteY775" fmla="*/ 186937 h 1200923"/>
                          <a:gd name="connsiteX776" fmla="*/ 1307401 w 1793838"/>
                          <a:gd name="connsiteY776" fmla="*/ 186937 h 1200923"/>
                          <a:gd name="connsiteX777" fmla="*/ 1308730 w 1793838"/>
                          <a:gd name="connsiteY777" fmla="*/ 186992 h 1200923"/>
                          <a:gd name="connsiteX778" fmla="*/ 1307825 w 1793838"/>
                          <a:gd name="connsiteY778" fmla="*/ 187355 h 1200923"/>
                          <a:gd name="connsiteX779" fmla="*/ 1307401 w 1793838"/>
                          <a:gd name="connsiteY779" fmla="*/ 186937 h 1200923"/>
                          <a:gd name="connsiteX780" fmla="*/ 1311541 w 1793838"/>
                          <a:gd name="connsiteY780" fmla="*/ 186247 h 1200923"/>
                          <a:gd name="connsiteX781" fmla="*/ 1312869 w 1793838"/>
                          <a:gd name="connsiteY781" fmla="*/ 186302 h 1200923"/>
                          <a:gd name="connsiteX782" fmla="*/ 1311965 w 1793838"/>
                          <a:gd name="connsiteY782" fmla="*/ 186665 h 1200923"/>
                          <a:gd name="connsiteX783" fmla="*/ 1311541 w 1793838"/>
                          <a:gd name="connsiteY783" fmla="*/ 186248 h 1200923"/>
                          <a:gd name="connsiteX784" fmla="*/ 953466 w 1793838"/>
                          <a:gd name="connsiteY784" fmla="*/ 155890 h 1200923"/>
                          <a:gd name="connsiteX785" fmla="*/ 954788 w 1793838"/>
                          <a:gd name="connsiteY785" fmla="*/ 155945 h 1200923"/>
                          <a:gd name="connsiteX786" fmla="*/ 953883 w 1793838"/>
                          <a:gd name="connsiteY786" fmla="*/ 156308 h 1200923"/>
                          <a:gd name="connsiteX787" fmla="*/ 953466 w 1793838"/>
                          <a:gd name="connsiteY787" fmla="*/ 155891 h 1200923"/>
                          <a:gd name="connsiteX788" fmla="*/ 965842 w 1793838"/>
                          <a:gd name="connsiteY788" fmla="*/ 153835 h 1200923"/>
                          <a:gd name="connsiteX789" fmla="*/ 967566 w 1793838"/>
                          <a:gd name="connsiteY789" fmla="*/ 153835 h 1200923"/>
                          <a:gd name="connsiteX790" fmla="*/ 966704 w 1793838"/>
                          <a:gd name="connsiteY790" fmla="*/ 154183 h 1200923"/>
                          <a:gd name="connsiteX791" fmla="*/ 965842 w 1793838"/>
                          <a:gd name="connsiteY791" fmla="*/ 153835 h 1200923"/>
                          <a:gd name="connsiteX792" fmla="*/ 1033499 w 1793838"/>
                          <a:gd name="connsiteY792" fmla="*/ 153820 h 1200923"/>
                          <a:gd name="connsiteX793" fmla="*/ 1034821 w 1793838"/>
                          <a:gd name="connsiteY793" fmla="*/ 153875 h 1200923"/>
                          <a:gd name="connsiteX794" fmla="*/ 1033916 w 1793838"/>
                          <a:gd name="connsiteY794" fmla="*/ 154238 h 1200923"/>
                          <a:gd name="connsiteX795" fmla="*/ 1033499 w 1793838"/>
                          <a:gd name="connsiteY795" fmla="*/ 153820 h 1200923"/>
                          <a:gd name="connsiteX796" fmla="*/ 977928 w 1793838"/>
                          <a:gd name="connsiteY796" fmla="*/ 152434 h 1200923"/>
                          <a:gd name="connsiteX797" fmla="*/ 979999 w 1793838"/>
                          <a:gd name="connsiteY797" fmla="*/ 152459 h 1200923"/>
                          <a:gd name="connsiteX798" fmla="*/ 978778 w 1793838"/>
                          <a:gd name="connsiteY798" fmla="*/ 152777 h 1200923"/>
                          <a:gd name="connsiteX799" fmla="*/ 977928 w 1793838"/>
                          <a:gd name="connsiteY799" fmla="*/ 152434 h 1200923"/>
                          <a:gd name="connsiteX800" fmla="*/ 1021727 w 1793838"/>
                          <a:gd name="connsiteY800" fmla="*/ 152455 h 1200923"/>
                          <a:gd name="connsiteX801" fmla="*/ 1023451 w 1793838"/>
                          <a:gd name="connsiteY801" fmla="*/ 152455 h 1200923"/>
                          <a:gd name="connsiteX802" fmla="*/ 1022589 w 1793838"/>
                          <a:gd name="connsiteY802" fmla="*/ 152803 h 1200923"/>
                          <a:gd name="connsiteX803" fmla="*/ 1021727 w 1793838"/>
                          <a:gd name="connsiteY803" fmla="*/ 152455 h 1200923"/>
                          <a:gd name="connsiteX804" fmla="*/ 986885 w 1793838"/>
                          <a:gd name="connsiteY804" fmla="*/ 151728 h 1200923"/>
                          <a:gd name="connsiteX805" fmla="*/ 990680 w 1793838"/>
                          <a:gd name="connsiteY805" fmla="*/ 151728 h 1200923"/>
                          <a:gd name="connsiteX806" fmla="*/ 988782 w 1793838"/>
                          <a:gd name="connsiteY806" fmla="*/ 152015 h 1200923"/>
                          <a:gd name="connsiteX807" fmla="*/ 986885 w 1793838"/>
                          <a:gd name="connsiteY807" fmla="*/ 151728 h 1200923"/>
                          <a:gd name="connsiteX808" fmla="*/ 1010343 w 1793838"/>
                          <a:gd name="connsiteY808" fmla="*/ 151728 h 1200923"/>
                          <a:gd name="connsiteX809" fmla="*/ 1014137 w 1793838"/>
                          <a:gd name="connsiteY809" fmla="*/ 151728 h 1200923"/>
                          <a:gd name="connsiteX810" fmla="*/ 1012240 w 1793838"/>
                          <a:gd name="connsiteY810" fmla="*/ 152015 h 1200923"/>
                          <a:gd name="connsiteX811" fmla="*/ 1010343 w 1793838"/>
                          <a:gd name="connsiteY811" fmla="*/ 151728 h 1200923"/>
                          <a:gd name="connsiteX812" fmla="*/ 1285513 w 1793838"/>
                          <a:gd name="connsiteY812" fmla="*/ 114563 h 1200923"/>
                          <a:gd name="connsiteX813" fmla="*/ 1285929 w 1793838"/>
                          <a:gd name="connsiteY813" fmla="*/ 114146 h 1200923"/>
                          <a:gd name="connsiteX814" fmla="*/ 1285872 w 1793838"/>
                          <a:gd name="connsiteY814" fmla="*/ 115469 h 1200923"/>
                          <a:gd name="connsiteX815" fmla="*/ 1285505 w 1793838"/>
                          <a:gd name="connsiteY815" fmla="*/ 114563 h 1200923"/>
                          <a:gd name="connsiteX816" fmla="*/ 1436072 w 1793838"/>
                          <a:gd name="connsiteY816" fmla="*/ 19062 h 1200923"/>
                          <a:gd name="connsiteX817" fmla="*/ 1436357 w 1793838"/>
                          <a:gd name="connsiteY817" fmla="*/ 17165 h 1200923"/>
                          <a:gd name="connsiteX818" fmla="*/ 1436357 w 1793838"/>
                          <a:gd name="connsiteY818" fmla="*/ 20959 h 1200923"/>
                          <a:gd name="connsiteX819" fmla="*/ 1436072 w 1793838"/>
                          <a:gd name="connsiteY819" fmla="*/ 19062 h 1200923"/>
                          <a:gd name="connsiteX820" fmla="*/ 360075 w 1793838"/>
                          <a:gd name="connsiteY820" fmla="*/ 667 h 1200923"/>
                          <a:gd name="connsiteX821" fmla="*/ 361801 w 1793838"/>
                          <a:gd name="connsiteY821" fmla="*/ 667 h 1200923"/>
                          <a:gd name="connsiteX822" fmla="*/ 360938 w 1793838"/>
                          <a:gd name="connsiteY822" fmla="*/ 1015 h 1200923"/>
                          <a:gd name="connsiteX823" fmla="*/ 360075 w 1793838"/>
                          <a:gd name="connsiteY823" fmla="*/ 667 h 1200923"/>
                          <a:gd name="connsiteX824" fmla="*/ 1419171 w 1793838"/>
                          <a:gd name="connsiteY824" fmla="*/ 653 h 1200923"/>
                          <a:gd name="connsiteX825" fmla="*/ 1420500 w 1793838"/>
                          <a:gd name="connsiteY825" fmla="*/ 707 h 1200923"/>
                          <a:gd name="connsiteX826" fmla="*/ 1419595 w 1793838"/>
                          <a:gd name="connsiteY826" fmla="*/ 1069 h 1200923"/>
                          <a:gd name="connsiteX827" fmla="*/ 1419171 w 1793838"/>
                          <a:gd name="connsiteY827" fmla="*/ 653 h 120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Lst>
                        <a:rect l="l" t="t" r="r" b="b"/>
                        <a:pathLst>
                          <a:path w="1793838" h="1200923">
                            <a:moveTo>
                              <a:pt x="983435" y="1201808"/>
                            </a:moveTo>
                            <a:cubicBezTo>
                              <a:pt x="984858" y="1201653"/>
                              <a:pt x="987186" y="1201653"/>
                              <a:pt x="988610" y="1201808"/>
                            </a:cubicBezTo>
                            <a:cubicBezTo>
                              <a:pt x="990033" y="1201954"/>
                              <a:pt x="988868" y="1202077"/>
                              <a:pt x="986023" y="1202077"/>
                            </a:cubicBezTo>
                            <a:cubicBezTo>
                              <a:pt x="983176" y="1202077"/>
                              <a:pt x="982012" y="1201954"/>
                              <a:pt x="983435" y="1201808"/>
                            </a:cubicBezTo>
                            <a:close/>
                            <a:moveTo>
                              <a:pt x="972409" y="1201139"/>
                            </a:moveTo>
                            <a:cubicBezTo>
                              <a:pt x="973081" y="1200960"/>
                              <a:pt x="974012" y="1200977"/>
                              <a:pt x="974479" y="1201164"/>
                            </a:cubicBezTo>
                            <a:cubicBezTo>
                              <a:pt x="974946" y="1201351"/>
                              <a:pt x="974397" y="1201498"/>
                              <a:pt x="973258" y="1201482"/>
                            </a:cubicBezTo>
                            <a:cubicBezTo>
                              <a:pt x="972120" y="1201465"/>
                              <a:pt x="971738" y="1201311"/>
                              <a:pt x="972409" y="1201139"/>
                            </a:cubicBezTo>
                            <a:close/>
                            <a:moveTo>
                              <a:pt x="996889" y="1201164"/>
                            </a:moveTo>
                            <a:cubicBezTo>
                              <a:pt x="997363" y="1200968"/>
                              <a:pt x="998139" y="1200968"/>
                              <a:pt x="998613" y="1201164"/>
                            </a:cubicBezTo>
                            <a:cubicBezTo>
                              <a:pt x="999088" y="1201351"/>
                              <a:pt x="998700" y="1201514"/>
                              <a:pt x="997751" y="1201514"/>
                            </a:cubicBezTo>
                            <a:cubicBezTo>
                              <a:pt x="996803" y="1201514"/>
                              <a:pt x="996415" y="1201351"/>
                              <a:pt x="996889" y="1201164"/>
                            </a:cubicBezTo>
                            <a:close/>
                            <a:moveTo>
                              <a:pt x="967265" y="1200455"/>
                            </a:moveTo>
                            <a:cubicBezTo>
                              <a:pt x="967763" y="1200259"/>
                              <a:pt x="968357" y="1200284"/>
                              <a:pt x="968587" y="1200512"/>
                            </a:cubicBezTo>
                            <a:cubicBezTo>
                              <a:pt x="968816" y="1200748"/>
                              <a:pt x="968409" y="1200911"/>
                              <a:pt x="967682" y="1200879"/>
                            </a:cubicBezTo>
                            <a:cubicBezTo>
                              <a:pt x="966878" y="1200846"/>
                              <a:pt x="966715" y="1200683"/>
                              <a:pt x="967265" y="1200463"/>
                            </a:cubicBezTo>
                            <a:close/>
                            <a:moveTo>
                              <a:pt x="1002452" y="1200455"/>
                            </a:moveTo>
                            <a:cubicBezTo>
                              <a:pt x="1002949" y="1200259"/>
                              <a:pt x="1003544" y="1200284"/>
                              <a:pt x="1003774" y="1200512"/>
                            </a:cubicBezTo>
                            <a:cubicBezTo>
                              <a:pt x="1004003" y="1200748"/>
                              <a:pt x="1003596" y="1200911"/>
                              <a:pt x="1002869" y="1200879"/>
                            </a:cubicBezTo>
                            <a:cubicBezTo>
                              <a:pt x="1002064" y="1200846"/>
                              <a:pt x="1001901" y="1200683"/>
                              <a:pt x="1002452" y="1200463"/>
                            </a:cubicBezTo>
                            <a:close/>
                            <a:moveTo>
                              <a:pt x="696750" y="1194914"/>
                            </a:moveTo>
                            <a:cubicBezTo>
                              <a:pt x="697975" y="1194759"/>
                              <a:pt x="700149" y="1194759"/>
                              <a:pt x="701580" y="1194906"/>
                            </a:cubicBezTo>
                            <a:cubicBezTo>
                              <a:pt x="703011" y="1195052"/>
                              <a:pt x="702009" y="1195183"/>
                              <a:pt x="699353" y="1195183"/>
                            </a:cubicBezTo>
                            <a:cubicBezTo>
                              <a:pt x="696697" y="1195183"/>
                              <a:pt x="695526" y="1195060"/>
                              <a:pt x="696750" y="1194914"/>
                            </a:cubicBezTo>
                            <a:close/>
                            <a:moveTo>
                              <a:pt x="688530" y="1194246"/>
                            </a:moveTo>
                            <a:cubicBezTo>
                              <a:pt x="689028" y="1194050"/>
                              <a:pt x="689623" y="1194074"/>
                              <a:pt x="689852" y="1194303"/>
                            </a:cubicBezTo>
                            <a:cubicBezTo>
                              <a:pt x="690081" y="1194539"/>
                              <a:pt x="689674" y="1194702"/>
                              <a:pt x="688946" y="1194669"/>
                            </a:cubicBezTo>
                            <a:cubicBezTo>
                              <a:pt x="688143" y="1194637"/>
                              <a:pt x="687979" y="1194474"/>
                              <a:pt x="688530" y="1194254"/>
                            </a:cubicBezTo>
                            <a:close/>
                            <a:moveTo>
                              <a:pt x="975501" y="1165284"/>
                            </a:moveTo>
                            <a:cubicBezTo>
                              <a:pt x="975975" y="1165097"/>
                              <a:pt x="976752" y="1165097"/>
                              <a:pt x="977226" y="1165284"/>
                            </a:cubicBezTo>
                            <a:cubicBezTo>
                              <a:pt x="977700" y="1165480"/>
                              <a:pt x="977312" y="1165635"/>
                              <a:pt x="976363" y="1165635"/>
                            </a:cubicBezTo>
                            <a:cubicBezTo>
                              <a:pt x="975414" y="1165635"/>
                              <a:pt x="975026" y="1165480"/>
                              <a:pt x="975501" y="1165284"/>
                            </a:cubicBezTo>
                            <a:close/>
                            <a:moveTo>
                              <a:pt x="697441" y="1159034"/>
                            </a:moveTo>
                            <a:cubicBezTo>
                              <a:pt x="698665" y="1158879"/>
                              <a:pt x="700839" y="1158879"/>
                              <a:pt x="702270" y="1159026"/>
                            </a:cubicBezTo>
                            <a:cubicBezTo>
                              <a:pt x="703701" y="1159181"/>
                              <a:pt x="702699" y="1159303"/>
                              <a:pt x="700043" y="1159303"/>
                            </a:cubicBezTo>
                            <a:cubicBezTo>
                              <a:pt x="697387" y="1159303"/>
                              <a:pt x="696216" y="1159189"/>
                              <a:pt x="697441" y="1159034"/>
                            </a:cubicBezTo>
                            <a:close/>
                            <a:moveTo>
                              <a:pt x="550522" y="1141775"/>
                            </a:moveTo>
                            <a:cubicBezTo>
                              <a:pt x="552527" y="1141636"/>
                              <a:pt x="555631" y="1141636"/>
                              <a:pt x="557421" y="1141775"/>
                            </a:cubicBezTo>
                            <a:cubicBezTo>
                              <a:pt x="559211" y="1141913"/>
                              <a:pt x="557571" y="1142028"/>
                              <a:pt x="553776" y="1142028"/>
                            </a:cubicBezTo>
                            <a:cubicBezTo>
                              <a:pt x="549981" y="1142028"/>
                              <a:pt x="548517" y="1141905"/>
                              <a:pt x="550522" y="1141767"/>
                            </a:cubicBezTo>
                            <a:close/>
                            <a:moveTo>
                              <a:pt x="540840" y="1141139"/>
                            </a:moveTo>
                            <a:cubicBezTo>
                              <a:pt x="541314" y="1140944"/>
                              <a:pt x="542090" y="1140944"/>
                              <a:pt x="542565" y="1141139"/>
                            </a:cubicBezTo>
                            <a:cubicBezTo>
                              <a:pt x="543039" y="1141327"/>
                              <a:pt x="542651" y="1141482"/>
                              <a:pt x="541702" y="1141482"/>
                            </a:cubicBezTo>
                            <a:cubicBezTo>
                              <a:pt x="540753" y="1141482"/>
                              <a:pt x="540365" y="1141327"/>
                              <a:pt x="540840" y="1141139"/>
                            </a:cubicBezTo>
                            <a:close/>
                            <a:moveTo>
                              <a:pt x="1050931" y="1120490"/>
                            </a:moveTo>
                            <a:cubicBezTo>
                              <a:pt x="1050964" y="1119691"/>
                              <a:pt x="1051127" y="1119520"/>
                              <a:pt x="1051348" y="1120074"/>
                            </a:cubicBezTo>
                            <a:cubicBezTo>
                              <a:pt x="1051547" y="1120572"/>
                              <a:pt x="1051523" y="1121166"/>
                              <a:pt x="1051293" y="1121395"/>
                            </a:cubicBezTo>
                            <a:cubicBezTo>
                              <a:pt x="1051064" y="1121623"/>
                              <a:pt x="1050901" y="1121215"/>
                              <a:pt x="1050931" y="1120490"/>
                            </a:cubicBezTo>
                            <a:close/>
                            <a:moveTo>
                              <a:pt x="1050931" y="1111526"/>
                            </a:moveTo>
                            <a:cubicBezTo>
                              <a:pt x="1050964" y="1110720"/>
                              <a:pt x="1051127" y="1110557"/>
                              <a:pt x="1051348" y="1111103"/>
                            </a:cubicBezTo>
                            <a:cubicBezTo>
                              <a:pt x="1051547" y="1111600"/>
                              <a:pt x="1051523" y="1112195"/>
                              <a:pt x="1051293" y="1112431"/>
                            </a:cubicBezTo>
                            <a:cubicBezTo>
                              <a:pt x="1051064" y="1112659"/>
                              <a:pt x="1050901" y="1112252"/>
                              <a:pt x="1050931" y="1111518"/>
                            </a:cubicBezTo>
                            <a:close/>
                            <a:moveTo>
                              <a:pt x="645302" y="1110548"/>
                            </a:moveTo>
                            <a:cubicBezTo>
                              <a:pt x="645302" y="1109595"/>
                              <a:pt x="645458" y="1109212"/>
                              <a:pt x="645650" y="1109685"/>
                            </a:cubicBezTo>
                            <a:cubicBezTo>
                              <a:pt x="645841" y="1110157"/>
                              <a:pt x="645841" y="1110931"/>
                              <a:pt x="645650" y="1111404"/>
                            </a:cubicBezTo>
                            <a:cubicBezTo>
                              <a:pt x="645458" y="1111885"/>
                              <a:pt x="645302" y="1111494"/>
                              <a:pt x="645302" y="1110548"/>
                            </a:cubicBezTo>
                            <a:close/>
                            <a:moveTo>
                              <a:pt x="1102807" y="1111445"/>
                            </a:moveTo>
                            <a:cubicBezTo>
                              <a:pt x="1103476" y="1111274"/>
                              <a:pt x="1104413" y="1111282"/>
                              <a:pt x="1104877" y="1111469"/>
                            </a:cubicBezTo>
                            <a:cubicBezTo>
                              <a:pt x="1105342" y="1111657"/>
                              <a:pt x="1104796" y="1111803"/>
                              <a:pt x="1103655" y="1111787"/>
                            </a:cubicBezTo>
                            <a:cubicBezTo>
                              <a:pt x="1102522" y="1111771"/>
                              <a:pt x="1102139" y="1111624"/>
                              <a:pt x="1102807" y="1111445"/>
                            </a:cubicBezTo>
                            <a:close/>
                            <a:moveTo>
                              <a:pt x="1134922" y="1111453"/>
                            </a:moveTo>
                            <a:cubicBezTo>
                              <a:pt x="1135419" y="1111257"/>
                              <a:pt x="1136014" y="1111282"/>
                              <a:pt x="1136242" y="1111510"/>
                            </a:cubicBezTo>
                            <a:cubicBezTo>
                              <a:pt x="1136470" y="1111738"/>
                              <a:pt x="1136063" y="1111901"/>
                              <a:pt x="1135338" y="1111877"/>
                            </a:cubicBezTo>
                            <a:cubicBezTo>
                              <a:pt x="1134531" y="1111844"/>
                              <a:pt x="1134368" y="1111673"/>
                              <a:pt x="1134922" y="1111453"/>
                            </a:cubicBezTo>
                            <a:close/>
                            <a:moveTo>
                              <a:pt x="1097666" y="1110760"/>
                            </a:moveTo>
                            <a:cubicBezTo>
                              <a:pt x="1098163" y="1110565"/>
                              <a:pt x="1098757" y="1110589"/>
                              <a:pt x="1098986" y="1110817"/>
                            </a:cubicBezTo>
                            <a:cubicBezTo>
                              <a:pt x="1099214" y="1111045"/>
                              <a:pt x="1098806" y="1111208"/>
                              <a:pt x="1098081" y="1111184"/>
                            </a:cubicBezTo>
                            <a:cubicBezTo>
                              <a:pt x="1097274" y="1111151"/>
                              <a:pt x="1097111" y="1110989"/>
                              <a:pt x="1097666" y="1110768"/>
                            </a:cubicBezTo>
                            <a:close/>
                            <a:moveTo>
                              <a:pt x="552554" y="1105904"/>
                            </a:moveTo>
                            <a:cubicBezTo>
                              <a:pt x="553778" y="1105757"/>
                              <a:pt x="555952" y="1105749"/>
                              <a:pt x="557383" y="1105904"/>
                            </a:cubicBezTo>
                            <a:cubicBezTo>
                              <a:pt x="558814" y="1106050"/>
                              <a:pt x="557812" y="1106172"/>
                              <a:pt x="555156" y="1106181"/>
                            </a:cubicBezTo>
                            <a:cubicBezTo>
                              <a:pt x="552500" y="1106181"/>
                              <a:pt x="551328" y="1106058"/>
                              <a:pt x="552554" y="1105904"/>
                            </a:cubicBezTo>
                            <a:close/>
                            <a:moveTo>
                              <a:pt x="543643" y="1105244"/>
                            </a:moveTo>
                            <a:cubicBezTo>
                              <a:pt x="544141" y="1105048"/>
                              <a:pt x="544736" y="1105072"/>
                              <a:pt x="544965" y="1105300"/>
                            </a:cubicBezTo>
                            <a:cubicBezTo>
                              <a:pt x="545194" y="1105529"/>
                              <a:pt x="544787" y="1105692"/>
                              <a:pt x="544059" y="1105667"/>
                            </a:cubicBezTo>
                            <a:cubicBezTo>
                              <a:pt x="543256" y="1105635"/>
                              <a:pt x="543092" y="1105463"/>
                              <a:pt x="543643" y="1105244"/>
                            </a:cubicBezTo>
                            <a:close/>
                            <a:moveTo>
                              <a:pt x="562961" y="1105244"/>
                            </a:moveTo>
                            <a:cubicBezTo>
                              <a:pt x="563459" y="1105048"/>
                              <a:pt x="564054" y="1105072"/>
                              <a:pt x="564283" y="1105300"/>
                            </a:cubicBezTo>
                            <a:cubicBezTo>
                              <a:pt x="564513" y="1105529"/>
                              <a:pt x="564105" y="1105692"/>
                              <a:pt x="563378" y="1105667"/>
                            </a:cubicBezTo>
                            <a:cubicBezTo>
                              <a:pt x="562573" y="1105635"/>
                              <a:pt x="562410" y="1105463"/>
                              <a:pt x="562961" y="1105244"/>
                            </a:cubicBezTo>
                            <a:close/>
                            <a:moveTo>
                              <a:pt x="645247" y="1098415"/>
                            </a:moveTo>
                            <a:cubicBezTo>
                              <a:pt x="645280" y="1097608"/>
                              <a:pt x="645443" y="1097445"/>
                              <a:pt x="645664" y="1097999"/>
                            </a:cubicBezTo>
                            <a:cubicBezTo>
                              <a:pt x="645863" y="1098496"/>
                              <a:pt x="645839" y="1099091"/>
                              <a:pt x="645610" y="1099319"/>
                            </a:cubicBezTo>
                            <a:cubicBezTo>
                              <a:pt x="645380" y="1099547"/>
                              <a:pt x="645217" y="1099140"/>
                              <a:pt x="645247" y="1098415"/>
                            </a:cubicBezTo>
                            <a:close/>
                            <a:moveTo>
                              <a:pt x="1116595" y="1076934"/>
                            </a:moveTo>
                            <a:cubicBezTo>
                              <a:pt x="1117638" y="1076771"/>
                              <a:pt x="1119341" y="1076771"/>
                              <a:pt x="1120385" y="1076934"/>
                            </a:cubicBezTo>
                            <a:cubicBezTo>
                              <a:pt x="1121428" y="1077089"/>
                              <a:pt x="1120580" y="1077219"/>
                              <a:pt x="1118494" y="1077219"/>
                            </a:cubicBezTo>
                            <a:cubicBezTo>
                              <a:pt x="1116400" y="1077219"/>
                              <a:pt x="1115552" y="1077089"/>
                              <a:pt x="1116595" y="1076934"/>
                            </a:cubicBezTo>
                            <a:close/>
                            <a:moveTo>
                              <a:pt x="1125575" y="1076934"/>
                            </a:moveTo>
                            <a:cubicBezTo>
                              <a:pt x="1126618" y="1076771"/>
                              <a:pt x="1128175" y="1076779"/>
                              <a:pt x="1129022" y="1076942"/>
                            </a:cubicBezTo>
                            <a:cubicBezTo>
                              <a:pt x="1129870" y="1077105"/>
                              <a:pt x="1129014" y="1077236"/>
                              <a:pt x="1127116" y="1077228"/>
                            </a:cubicBezTo>
                            <a:cubicBezTo>
                              <a:pt x="1125217" y="1077219"/>
                              <a:pt x="1124524" y="1077089"/>
                              <a:pt x="1125575" y="1076934"/>
                            </a:cubicBezTo>
                            <a:close/>
                            <a:moveTo>
                              <a:pt x="1109392" y="1076266"/>
                            </a:moveTo>
                            <a:cubicBezTo>
                              <a:pt x="1109889" y="1076071"/>
                              <a:pt x="1110484" y="1076095"/>
                              <a:pt x="1110712" y="1076323"/>
                            </a:cubicBezTo>
                            <a:cubicBezTo>
                              <a:pt x="1110940" y="1076551"/>
                              <a:pt x="1110533" y="1076714"/>
                              <a:pt x="1109807" y="1076690"/>
                            </a:cubicBezTo>
                            <a:cubicBezTo>
                              <a:pt x="1109009" y="1076657"/>
                              <a:pt x="1108838" y="1076494"/>
                              <a:pt x="1109392" y="1076274"/>
                            </a:cubicBezTo>
                            <a:close/>
                            <a:moveTo>
                              <a:pt x="415283" y="1056228"/>
                            </a:moveTo>
                            <a:cubicBezTo>
                              <a:pt x="416524" y="1056081"/>
                              <a:pt x="418386" y="1056081"/>
                              <a:pt x="419423" y="1056236"/>
                            </a:cubicBezTo>
                            <a:cubicBezTo>
                              <a:pt x="420459" y="1056391"/>
                              <a:pt x="419445" y="1056521"/>
                              <a:pt x="417168" y="1056513"/>
                            </a:cubicBezTo>
                            <a:cubicBezTo>
                              <a:pt x="414891" y="1056513"/>
                              <a:pt x="414043" y="1056383"/>
                              <a:pt x="415283" y="1056228"/>
                            </a:cubicBezTo>
                            <a:close/>
                            <a:moveTo>
                              <a:pt x="406302" y="1055584"/>
                            </a:moveTo>
                            <a:cubicBezTo>
                              <a:pt x="406776" y="1055389"/>
                              <a:pt x="407552" y="1055389"/>
                              <a:pt x="408027" y="1055584"/>
                            </a:cubicBezTo>
                            <a:cubicBezTo>
                              <a:pt x="408501" y="1055772"/>
                              <a:pt x="408113" y="1055935"/>
                              <a:pt x="407164" y="1055935"/>
                            </a:cubicBezTo>
                            <a:cubicBezTo>
                              <a:pt x="406215" y="1055935"/>
                              <a:pt x="405827" y="1055772"/>
                              <a:pt x="406302" y="1055584"/>
                            </a:cubicBezTo>
                            <a:close/>
                            <a:moveTo>
                              <a:pt x="430492" y="1055568"/>
                            </a:moveTo>
                            <a:cubicBezTo>
                              <a:pt x="430991" y="1055364"/>
                              <a:pt x="431586" y="1055389"/>
                              <a:pt x="431815" y="1055625"/>
                            </a:cubicBezTo>
                            <a:cubicBezTo>
                              <a:pt x="432044" y="1055853"/>
                              <a:pt x="431636" y="1056016"/>
                              <a:pt x="430910" y="1055984"/>
                            </a:cubicBezTo>
                            <a:cubicBezTo>
                              <a:pt x="430105" y="1055951"/>
                              <a:pt x="429942" y="1055788"/>
                              <a:pt x="430492" y="1055568"/>
                            </a:cubicBezTo>
                            <a:close/>
                            <a:moveTo>
                              <a:pt x="492771" y="1053563"/>
                            </a:moveTo>
                            <a:cubicBezTo>
                              <a:pt x="492804" y="1052765"/>
                              <a:pt x="492967" y="1052602"/>
                              <a:pt x="493187" y="1053148"/>
                            </a:cubicBezTo>
                            <a:cubicBezTo>
                              <a:pt x="493387" y="1053645"/>
                              <a:pt x="493363" y="1054240"/>
                              <a:pt x="493133" y="1054468"/>
                            </a:cubicBezTo>
                            <a:cubicBezTo>
                              <a:pt x="492904" y="1054704"/>
                              <a:pt x="492741" y="1054297"/>
                              <a:pt x="492771" y="1053563"/>
                            </a:cubicBezTo>
                            <a:close/>
                            <a:moveTo>
                              <a:pt x="492247" y="1044999"/>
                            </a:moveTo>
                            <a:cubicBezTo>
                              <a:pt x="492247" y="1042530"/>
                              <a:pt x="492372" y="1041519"/>
                              <a:pt x="492526" y="1042758"/>
                            </a:cubicBezTo>
                            <a:cubicBezTo>
                              <a:pt x="492679" y="1043988"/>
                              <a:pt x="492679" y="1046009"/>
                              <a:pt x="492526" y="1047240"/>
                            </a:cubicBezTo>
                            <a:cubicBezTo>
                              <a:pt x="492372" y="1048478"/>
                              <a:pt x="492247" y="1047468"/>
                              <a:pt x="492247" y="1044999"/>
                            </a:cubicBezTo>
                            <a:close/>
                            <a:moveTo>
                              <a:pt x="492771" y="1035628"/>
                            </a:moveTo>
                            <a:cubicBezTo>
                              <a:pt x="492804" y="1034821"/>
                              <a:pt x="492967" y="1034658"/>
                              <a:pt x="493187" y="1035212"/>
                            </a:cubicBezTo>
                            <a:cubicBezTo>
                              <a:pt x="493387" y="1035709"/>
                              <a:pt x="493363" y="1036304"/>
                              <a:pt x="493133" y="1036532"/>
                            </a:cubicBezTo>
                            <a:cubicBezTo>
                              <a:pt x="492904" y="1036760"/>
                              <a:pt x="492741" y="1036353"/>
                              <a:pt x="492771" y="1035628"/>
                            </a:cubicBezTo>
                            <a:close/>
                            <a:moveTo>
                              <a:pt x="812213" y="1035628"/>
                            </a:moveTo>
                            <a:cubicBezTo>
                              <a:pt x="812246" y="1034821"/>
                              <a:pt x="812409" y="1034658"/>
                              <a:pt x="812629" y="1035212"/>
                            </a:cubicBezTo>
                            <a:cubicBezTo>
                              <a:pt x="812829" y="1035709"/>
                              <a:pt x="812804" y="1036304"/>
                              <a:pt x="812574" y="1036532"/>
                            </a:cubicBezTo>
                            <a:cubicBezTo>
                              <a:pt x="812346" y="1036760"/>
                              <a:pt x="812183" y="1036353"/>
                              <a:pt x="812212" y="1035628"/>
                            </a:cubicBezTo>
                            <a:close/>
                            <a:moveTo>
                              <a:pt x="812267" y="1021538"/>
                            </a:moveTo>
                            <a:cubicBezTo>
                              <a:pt x="812267" y="1020593"/>
                              <a:pt x="812424" y="1020202"/>
                              <a:pt x="812615" y="1020683"/>
                            </a:cubicBezTo>
                            <a:cubicBezTo>
                              <a:pt x="812807" y="1021155"/>
                              <a:pt x="812807" y="1021929"/>
                              <a:pt x="812615" y="1022402"/>
                            </a:cubicBezTo>
                            <a:cubicBezTo>
                              <a:pt x="812424" y="1022875"/>
                              <a:pt x="812267" y="1022492"/>
                              <a:pt x="812267" y="1021538"/>
                            </a:cubicBezTo>
                            <a:close/>
                            <a:moveTo>
                              <a:pt x="415946" y="1020357"/>
                            </a:moveTo>
                            <a:cubicBezTo>
                              <a:pt x="417171" y="1020202"/>
                              <a:pt x="419344" y="1020202"/>
                              <a:pt x="420775" y="1020349"/>
                            </a:cubicBezTo>
                            <a:cubicBezTo>
                              <a:pt x="422207" y="1020495"/>
                              <a:pt x="421204" y="1020617"/>
                              <a:pt x="418549" y="1020626"/>
                            </a:cubicBezTo>
                            <a:cubicBezTo>
                              <a:pt x="415892" y="1020626"/>
                              <a:pt x="414721" y="1020503"/>
                              <a:pt x="415946" y="1020349"/>
                            </a:cubicBezTo>
                            <a:close/>
                            <a:moveTo>
                              <a:pt x="848144" y="1019468"/>
                            </a:moveTo>
                            <a:cubicBezTo>
                              <a:pt x="848144" y="1018523"/>
                              <a:pt x="848300" y="1018132"/>
                              <a:pt x="848491" y="1018613"/>
                            </a:cubicBezTo>
                            <a:cubicBezTo>
                              <a:pt x="848683" y="1019085"/>
                              <a:pt x="848683" y="1019859"/>
                              <a:pt x="848491" y="1020332"/>
                            </a:cubicBezTo>
                            <a:cubicBezTo>
                              <a:pt x="848300" y="1020805"/>
                              <a:pt x="848144" y="1020422"/>
                              <a:pt x="848144" y="1019468"/>
                            </a:cubicBezTo>
                            <a:close/>
                            <a:moveTo>
                              <a:pt x="409105" y="1019688"/>
                            </a:moveTo>
                            <a:cubicBezTo>
                              <a:pt x="409603" y="1019493"/>
                              <a:pt x="410198" y="1019517"/>
                              <a:pt x="410427" y="1019745"/>
                            </a:cubicBezTo>
                            <a:cubicBezTo>
                              <a:pt x="410656" y="1019974"/>
                              <a:pt x="410249" y="1020137"/>
                              <a:pt x="409521" y="1020112"/>
                            </a:cubicBezTo>
                            <a:cubicBezTo>
                              <a:pt x="408718" y="1020080"/>
                              <a:pt x="408554" y="1019917"/>
                              <a:pt x="409105" y="1019688"/>
                            </a:cubicBezTo>
                            <a:close/>
                            <a:moveTo>
                              <a:pt x="1229677" y="1018784"/>
                            </a:moveTo>
                            <a:cubicBezTo>
                              <a:pt x="1229677" y="1017830"/>
                              <a:pt x="1229832" y="1017447"/>
                              <a:pt x="1230028" y="1017920"/>
                            </a:cubicBezTo>
                            <a:cubicBezTo>
                              <a:pt x="1230215" y="1018393"/>
                              <a:pt x="1230215" y="1019167"/>
                              <a:pt x="1230028" y="1019640"/>
                            </a:cubicBezTo>
                            <a:cubicBezTo>
                              <a:pt x="1229832" y="1020120"/>
                              <a:pt x="1229677" y="1019729"/>
                              <a:pt x="1229677" y="1018784"/>
                            </a:cubicBezTo>
                            <a:close/>
                            <a:moveTo>
                              <a:pt x="1193749" y="1018376"/>
                            </a:moveTo>
                            <a:cubicBezTo>
                              <a:pt x="1193782" y="1017578"/>
                              <a:pt x="1193944" y="1017415"/>
                              <a:pt x="1194164" y="1017961"/>
                            </a:cubicBezTo>
                            <a:cubicBezTo>
                              <a:pt x="1194368" y="1018458"/>
                              <a:pt x="1194344" y="1019053"/>
                              <a:pt x="1194107" y="1019281"/>
                            </a:cubicBezTo>
                            <a:cubicBezTo>
                              <a:pt x="1193879" y="1019509"/>
                              <a:pt x="1193716" y="1019102"/>
                              <a:pt x="1193749" y="1018376"/>
                            </a:cubicBezTo>
                            <a:close/>
                            <a:moveTo>
                              <a:pt x="847400" y="1014237"/>
                            </a:moveTo>
                            <a:cubicBezTo>
                              <a:pt x="847433" y="1013438"/>
                              <a:pt x="847596" y="1013275"/>
                              <a:pt x="847816" y="1013821"/>
                            </a:cubicBezTo>
                            <a:cubicBezTo>
                              <a:pt x="848016" y="1014318"/>
                              <a:pt x="847991" y="1014913"/>
                              <a:pt x="847761" y="1015141"/>
                            </a:cubicBezTo>
                            <a:cubicBezTo>
                              <a:pt x="847532" y="1015369"/>
                              <a:pt x="847369" y="1014962"/>
                              <a:pt x="847399" y="1014237"/>
                            </a:cubicBezTo>
                            <a:close/>
                            <a:moveTo>
                              <a:pt x="1194442" y="1011482"/>
                            </a:moveTo>
                            <a:cubicBezTo>
                              <a:pt x="1194474" y="1010676"/>
                              <a:pt x="1194637" y="1010513"/>
                              <a:pt x="1194857" y="1011059"/>
                            </a:cubicBezTo>
                            <a:cubicBezTo>
                              <a:pt x="1195053" y="1011556"/>
                              <a:pt x="1195028" y="1012159"/>
                              <a:pt x="1194800" y="1012387"/>
                            </a:cubicBezTo>
                            <a:cubicBezTo>
                              <a:pt x="1194572" y="1012615"/>
                              <a:pt x="1194409" y="1012208"/>
                              <a:pt x="1194433" y="1011482"/>
                            </a:cubicBezTo>
                            <a:close/>
                            <a:moveTo>
                              <a:pt x="1194548" y="1007742"/>
                            </a:moveTo>
                            <a:cubicBezTo>
                              <a:pt x="1194548" y="1006414"/>
                              <a:pt x="1194686" y="1005868"/>
                              <a:pt x="1194857" y="1006536"/>
                            </a:cubicBezTo>
                            <a:cubicBezTo>
                              <a:pt x="1195036" y="1007196"/>
                              <a:pt x="1195036" y="1008288"/>
                              <a:pt x="1194857" y="1008948"/>
                            </a:cubicBezTo>
                            <a:cubicBezTo>
                              <a:pt x="1194686" y="1009616"/>
                              <a:pt x="1194548" y="1009070"/>
                              <a:pt x="1194548" y="1007742"/>
                            </a:cubicBezTo>
                            <a:close/>
                            <a:moveTo>
                              <a:pt x="1265622" y="1001745"/>
                            </a:moveTo>
                            <a:cubicBezTo>
                              <a:pt x="1266282" y="1001573"/>
                              <a:pt x="1267374" y="1001573"/>
                              <a:pt x="1268034" y="1001745"/>
                            </a:cubicBezTo>
                            <a:cubicBezTo>
                              <a:pt x="1268702" y="1001924"/>
                              <a:pt x="1268156" y="1002062"/>
                              <a:pt x="1266828" y="1002062"/>
                            </a:cubicBezTo>
                            <a:cubicBezTo>
                              <a:pt x="1265500" y="1002062"/>
                              <a:pt x="1264954" y="1001924"/>
                              <a:pt x="1265622" y="1001745"/>
                            </a:cubicBezTo>
                            <a:close/>
                            <a:moveTo>
                              <a:pt x="1280461" y="1001728"/>
                            </a:moveTo>
                            <a:cubicBezTo>
                              <a:pt x="1281317" y="1001565"/>
                              <a:pt x="1282564" y="1001573"/>
                              <a:pt x="1283224" y="1001745"/>
                            </a:cubicBezTo>
                            <a:cubicBezTo>
                              <a:pt x="1283884" y="1001916"/>
                              <a:pt x="1283183" y="1002054"/>
                              <a:pt x="1281659" y="1002046"/>
                            </a:cubicBezTo>
                            <a:cubicBezTo>
                              <a:pt x="1280143" y="1002038"/>
                              <a:pt x="1279605" y="1001899"/>
                              <a:pt x="1280461" y="1001736"/>
                            </a:cubicBezTo>
                            <a:close/>
                            <a:moveTo>
                              <a:pt x="1229628" y="1000433"/>
                            </a:moveTo>
                            <a:cubicBezTo>
                              <a:pt x="1229661" y="999634"/>
                              <a:pt x="1229824" y="999471"/>
                              <a:pt x="1230044" y="1000017"/>
                            </a:cubicBezTo>
                            <a:cubicBezTo>
                              <a:pt x="1230240" y="1000514"/>
                              <a:pt x="1230215" y="1001109"/>
                              <a:pt x="1229987" y="1001345"/>
                            </a:cubicBezTo>
                            <a:cubicBezTo>
                              <a:pt x="1229759" y="1001573"/>
                              <a:pt x="1229596" y="1001166"/>
                              <a:pt x="1229620" y="1000433"/>
                            </a:cubicBezTo>
                            <a:close/>
                            <a:moveTo>
                              <a:pt x="1259796" y="1001060"/>
                            </a:moveTo>
                            <a:cubicBezTo>
                              <a:pt x="1260301" y="1000856"/>
                              <a:pt x="1260896" y="1000881"/>
                              <a:pt x="1261124" y="1001117"/>
                            </a:cubicBezTo>
                            <a:cubicBezTo>
                              <a:pt x="1261352" y="1001345"/>
                              <a:pt x="1260945" y="1001508"/>
                              <a:pt x="1260219" y="1001476"/>
                            </a:cubicBezTo>
                            <a:cubicBezTo>
                              <a:pt x="1259413" y="1001443"/>
                              <a:pt x="1259250" y="1001280"/>
                              <a:pt x="1259796" y="1001060"/>
                            </a:cubicBezTo>
                            <a:close/>
                            <a:moveTo>
                              <a:pt x="1193749" y="999748"/>
                            </a:moveTo>
                            <a:cubicBezTo>
                              <a:pt x="1193782" y="998941"/>
                              <a:pt x="1193944" y="998778"/>
                              <a:pt x="1194164" y="999332"/>
                            </a:cubicBezTo>
                            <a:cubicBezTo>
                              <a:pt x="1194368" y="999830"/>
                              <a:pt x="1194344" y="1000424"/>
                              <a:pt x="1194107" y="1000653"/>
                            </a:cubicBezTo>
                            <a:cubicBezTo>
                              <a:pt x="1193879" y="1000881"/>
                              <a:pt x="1193716" y="1000473"/>
                              <a:pt x="1193749" y="999748"/>
                            </a:cubicBezTo>
                            <a:close/>
                            <a:moveTo>
                              <a:pt x="323046" y="976980"/>
                            </a:moveTo>
                            <a:cubicBezTo>
                              <a:pt x="323080" y="976173"/>
                              <a:pt x="323243" y="976010"/>
                              <a:pt x="323463" y="976565"/>
                            </a:cubicBezTo>
                            <a:cubicBezTo>
                              <a:pt x="323663" y="977062"/>
                              <a:pt x="323638" y="977656"/>
                              <a:pt x="323409" y="977885"/>
                            </a:cubicBezTo>
                            <a:cubicBezTo>
                              <a:pt x="323180" y="978113"/>
                              <a:pt x="323016" y="977705"/>
                              <a:pt x="323046" y="976980"/>
                            </a:cubicBezTo>
                            <a:close/>
                            <a:moveTo>
                              <a:pt x="748554" y="974152"/>
                            </a:moveTo>
                            <a:cubicBezTo>
                              <a:pt x="749052" y="973949"/>
                              <a:pt x="749648" y="973973"/>
                              <a:pt x="749877" y="974210"/>
                            </a:cubicBezTo>
                            <a:cubicBezTo>
                              <a:pt x="750106" y="974438"/>
                              <a:pt x="749699" y="974601"/>
                              <a:pt x="748972" y="974568"/>
                            </a:cubicBezTo>
                            <a:cubicBezTo>
                              <a:pt x="748167" y="974535"/>
                              <a:pt x="748004" y="974372"/>
                              <a:pt x="748554" y="974152"/>
                            </a:cubicBezTo>
                            <a:close/>
                            <a:moveTo>
                              <a:pt x="766493" y="974152"/>
                            </a:moveTo>
                            <a:cubicBezTo>
                              <a:pt x="766991" y="973949"/>
                              <a:pt x="767586" y="973973"/>
                              <a:pt x="767815" y="974210"/>
                            </a:cubicBezTo>
                            <a:cubicBezTo>
                              <a:pt x="768045" y="974438"/>
                              <a:pt x="767638" y="974601"/>
                              <a:pt x="766910" y="974568"/>
                            </a:cubicBezTo>
                            <a:cubicBezTo>
                              <a:pt x="766106" y="974535"/>
                              <a:pt x="765943" y="974372"/>
                              <a:pt x="766493" y="974152"/>
                            </a:cubicBezTo>
                            <a:close/>
                            <a:moveTo>
                              <a:pt x="322356" y="972841"/>
                            </a:moveTo>
                            <a:cubicBezTo>
                              <a:pt x="322389" y="972042"/>
                              <a:pt x="322553" y="971879"/>
                              <a:pt x="322773" y="972425"/>
                            </a:cubicBezTo>
                            <a:cubicBezTo>
                              <a:pt x="322972" y="972922"/>
                              <a:pt x="322948" y="973525"/>
                              <a:pt x="322718" y="973753"/>
                            </a:cubicBezTo>
                            <a:cubicBezTo>
                              <a:pt x="322489" y="973981"/>
                              <a:pt x="322326" y="973574"/>
                              <a:pt x="322356" y="972849"/>
                            </a:cubicBezTo>
                            <a:close/>
                            <a:moveTo>
                              <a:pt x="756085" y="973435"/>
                            </a:moveTo>
                            <a:cubicBezTo>
                              <a:pt x="757310" y="973289"/>
                              <a:pt x="759483" y="973281"/>
                              <a:pt x="760915" y="973435"/>
                            </a:cubicBezTo>
                            <a:cubicBezTo>
                              <a:pt x="762346" y="973582"/>
                              <a:pt x="761344" y="973704"/>
                              <a:pt x="758688" y="973712"/>
                            </a:cubicBezTo>
                            <a:cubicBezTo>
                              <a:pt x="756031" y="973712"/>
                              <a:pt x="754860" y="973590"/>
                              <a:pt x="756085" y="973435"/>
                            </a:cubicBezTo>
                            <a:close/>
                            <a:moveTo>
                              <a:pt x="321746" y="966004"/>
                            </a:moveTo>
                            <a:cubicBezTo>
                              <a:pt x="321760" y="964863"/>
                              <a:pt x="321915" y="964480"/>
                              <a:pt x="322090" y="965156"/>
                            </a:cubicBezTo>
                            <a:cubicBezTo>
                              <a:pt x="322265" y="965824"/>
                              <a:pt x="322253" y="966753"/>
                              <a:pt x="322064" y="967226"/>
                            </a:cubicBezTo>
                            <a:cubicBezTo>
                              <a:pt x="321875" y="967690"/>
                              <a:pt x="321732" y="967144"/>
                              <a:pt x="321746" y="966004"/>
                            </a:cubicBezTo>
                            <a:close/>
                            <a:moveTo>
                              <a:pt x="1267015" y="966558"/>
                            </a:moveTo>
                            <a:cubicBezTo>
                              <a:pt x="1267684" y="966387"/>
                              <a:pt x="1268613" y="966395"/>
                              <a:pt x="1269085" y="966582"/>
                            </a:cubicBezTo>
                            <a:cubicBezTo>
                              <a:pt x="1269550" y="966770"/>
                              <a:pt x="1269004" y="966916"/>
                              <a:pt x="1267863" y="966900"/>
                            </a:cubicBezTo>
                            <a:cubicBezTo>
                              <a:pt x="1266722" y="966884"/>
                              <a:pt x="1266339" y="966729"/>
                              <a:pt x="1267015" y="966558"/>
                            </a:cubicBezTo>
                            <a:close/>
                            <a:moveTo>
                              <a:pt x="1279434" y="966558"/>
                            </a:moveTo>
                            <a:cubicBezTo>
                              <a:pt x="1280103" y="966387"/>
                              <a:pt x="1281032" y="966395"/>
                              <a:pt x="1281504" y="966582"/>
                            </a:cubicBezTo>
                            <a:cubicBezTo>
                              <a:pt x="1281969" y="966770"/>
                              <a:pt x="1281423" y="966916"/>
                              <a:pt x="1280282" y="966900"/>
                            </a:cubicBezTo>
                            <a:cubicBezTo>
                              <a:pt x="1279141" y="966884"/>
                              <a:pt x="1278758" y="966729"/>
                              <a:pt x="1279434" y="966558"/>
                            </a:cubicBezTo>
                            <a:close/>
                            <a:moveTo>
                              <a:pt x="357623" y="964626"/>
                            </a:moveTo>
                            <a:cubicBezTo>
                              <a:pt x="357636" y="963486"/>
                              <a:pt x="357791" y="963103"/>
                              <a:pt x="357966" y="963771"/>
                            </a:cubicBezTo>
                            <a:cubicBezTo>
                              <a:pt x="358142" y="964447"/>
                              <a:pt x="358130" y="965376"/>
                              <a:pt x="357941" y="965841"/>
                            </a:cubicBezTo>
                            <a:cubicBezTo>
                              <a:pt x="357752" y="966313"/>
                              <a:pt x="357610" y="965759"/>
                              <a:pt x="357623" y="964626"/>
                            </a:cubicBezTo>
                            <a:close/>
                            <a:moveTo>
                              <a:pt x="1261865" y="965873"/>
                            </a:moveTo>
                            <a:cubicBezTo>
                              <a:pt x="1262362" y="965678"/>
                              <a:pt x="1262965" y="965702"/>
                              <a:pt x="1263194" y="965930"/>
                            </a:cubicBezTo>
                            <a:cubicBezTo>
                              <a:pt x="1263422" y="966158"/>
                              <a:pt x="1263014" y="966321"/>
                              <a:pt x="1262289" y="966297"/>
                            </a:cubicBezTo>
                            <a:cubicBezTo>
                              <a:pt x="1261482" y="966264"/>
                              <a:pt x="1261319" y="966101"/>
                              <a:pt x="1261865" y="965881"/>
                            </a:cubicBezTo>
                            <a:close/>
                            <a:moveTo>
                              <a:pt x="866028" y="959737"/>
                            </a:moveTo>
                            <a:cubicBezTo>
                              <a:pt x="866061" y="958930"/>
                              <a:pt x="866224" y="958767"/>
                              <a:pt x="866444" y="959321"/>
                            </a:cubicBezTo>
                            <a:cubicBezTo>
                              <a:pt x="866644" y="959819"/>
                              <a:pt x="866619" y="960413"/>
                              <a:pt x="866390" y="960642"/>
                            </a:cubicBezTo>
                            <a:cubicBezTo>
                              <a:pt x="866161" y="960870"/>
                              <a:pt x="865998" y="960462"/>
                              <a:pt x="866027" y="959737"/>
                            </a:cubicBezTo>
                            <a:close/>
                            <a:moveTo>
                              <a:pt x="866082" y="954620"/>
                            </a:moveTo>
                            <a:cubicBezTo>
                              <a:pt x="866082" y="953666"/>
                              <a:pt x="866239" y="953283"/>
                              <a:pt x="866430" y="953756"/>
                            </a:cubicBezTo>
                            <a:cubicBezTo>
                              <a:pt x="866622" y="954228"/>
                              <a:pt x="866622" y="955003"/>
                              <a:pt x="866430" y="955483"/>
                            </a:cubicBezTo>
                            <a:cubicBezTo>
                              <a:pt x="866239" y="955956"/>
                              <a:pt x="866082" y="955565"/>
                              <a:pt x="866082" y="954620"/>
                            </a:cubicBezTo>
                            <a:close/>
                            <a:moveTo>
                              <a:pt x="321746" y="953585"/>
                            </a:moveTo>
                            <a:cubicBezTo>
                              <a:pt x="321760" y="952444"/>
                              <a:pt x="321915" y="952061"/>
                              <a:pt x="322090" y="952737"/>
                            </a:cubicBezTo>
                            <a:cubicBezTo>
                              <a:pt x="322265" y="953405"/>
                              <a:pt x="322253" y="954334"/>
                              <a:pt x="322064" y="954807"/>
                            </a:cubicBezTo>
                            <a:cubicBezTo>
                              <a:pt x="321875" y="955272"/>
                              <a:pt x="321732" y="954726"/>
                              <a:pt x="321746" y="953585"/>
                            </a:cubicBezTo>
                            <a:close/>
                            <a:moveTo>
                              <a:pt x="357623" y="953585"/>
                            </a:moveTo>
                            <a:cubicBezTo>
                              <a:pt x="357637" y="952444"/>
                              <a:pt x="357792" y="952061"/>
                              <a:pt x="357966" y="952737"/>
                            </a:cubicBezTo>
                            <a:cubicBezTo>
                              <a:pt x="358142" y="953405"/>
                              <a:pt x="358130" y="954334"/>
                              <a:pt x="357941" y="954807"/>
                            </a:cubicBezTo>
                            <a:cubicBezTo>
                              <a:pt x="357752" y="955272"/>
                              <a:pt x="357610" y="954726"/>
                              <a:pt x="357623" y="953585"/>
                            </a:cubicBezTo>
                            <a:close/>
                            <a:moveTo>
                              <a:pt x="768519" y="938289"/>
                            </a:moveTo>
                            <a:cubicBezTo>
                              <a:pt x="768994" y="938102"/>
                              <a:pt x="769770" y="938102"/>
                              <a:pt x="770244" y="938289"/>
                            </a:cubicBezTo>
                            <a:cubicBezTo>
                              <a:pt x="770719" y="938485"/>
                              <a:pt x="770331" y="938640"/>
                              <a:pt x="769382" y="938640"/>
                            </a:cubicBezTo>
                            <a:cubicBezTo>
                              <a:pt x="768433" y="938640"/>
                              <a:pt x="768045" y="938485"/>
                              <a:pt x="768519" y="938289"/>
                            </a:cubicBezTo>
                            <a:close/>
                            <a:moveTo>
                              <a:pt x="758516" y="937564"/>
                            </a:moveTo>
                            <a:cubicBezTo>
                              <a:pt x="759559" y="937409"/>
                              <a:pt x="761267" y="937409"/>
                              <a:pt x="762310" y="937564"/>
                            </a:cubicBezTo>
                            <a:cubicBezTo>
                              <a:pt x="763354" y="937727"/>
                              <a:pt x="762500" y="937857"/>
                              <a:pt x="760413" y="937857"/>
                            </a:cubicBezTo>
                            <a:cubicBezTo>
                              <a:pt x="758326" y="937857"/>
                              <a:pt x="757472" y="937727"/>
                              <a:pt x="758516" y="937564"/>
                            </a:cubicBezTo>
                            <a:close/>
                            <a:moveTo>
                              <a:pt x="311098" y="925846"/>
                            </a:moveTo>
                            <a:cubicBezTo>
                              <a:pt x="311956" y="925675"/>
                              <a:pt x="313198" y="925683"/>
                              <a:pt x="313858" y="925862"/>
                            </a:cubicBezTo>
                            <a:cubicBezTo>
                              <a:pt x="314518" y="926033"/>
                              <a:pt x="313815" y="926164"/>
                              <a:pt x="312297" y="926156"/>
                            </a:cubicBezTo>
                            <a:cubicBezTo>
                              <a:pt x="310780" y="926147"/>
                              <a:pt x="310240" y="926009"/>
                              <a:pt x="311098" y="925846"/>
                            </a:cubicBezTo>
                            <a:close/>
                            <a:moveTo>
                              <a:pt x="324889" y="925879"/>
                            </a:moveTo>
                            <a:cubicBezTo>
                              <a:pt x="325363" y="925683"/>
                              <a:pt x="326139" y="925683"/>
                              <a:pt x="326614" y="925879"/>
                            </a:cubicBezTo>
                            <a:cubicBezTo>
                              <a:pt x="327088" y="926066"/>
                              <a:pt x="326700" y="926221"/>
                              <a:pt x="325751" y="926221"/>
                            </a:cubicBezTo>
                            <a:cubicBezTo>
                              <a:pt x="324803" y="926221"/>
                              <a:pt x="324415" y="926066"/>
                              <a:pt x="324889" y="925879"/>
                            </a:cubicBezTo>
                            <a:close/>
                            <a:moveTo>
                              <a:pt x="761847" y="912131"/>
                            </a:moveTo>
                            <a:cubicBezTo>
                              <a:pt x="761880" y="911325"/>
                              <a:pt x="762043" y="911162"/>
                              <a:pt x="762263" y="911716"/>
                            </a:cubicBezTo>
                            <a:cubicBezTo>
                              <a:pt x="762463" y="912213"/>
                              <a:pt x="762439" y="912808"/>
                              <a:pt x="762209" y="913036"/>
                            </a:cubicBezTo>
                            <a:cubicBezTo>
                              <a:pt x="761980" y="913264"/>
                              <a:pt x="761817" y="912857"/>
                              <a:pt x="761847" y="912131"/>
                            </a:cubicBezTo>
                            <a:close/>
                            <a:moveTo>
                              <a:pt x="1380032" y="907299"/>
                            </a:moveTo>
                            <a:cubicBezTo>
                              <a:pt x="1380065" y="906500"/>
                              <a:pt x="1380228" y="906337"/>
                              <a:pt x="1380448" y="906883"/>
                            </a:cubicBezTo>
                            <a:cubicBezTo>
                              <a:pt x="1380652" y="907381"/>
                              <a:pt x="1380627" y="907975"/>
                              <a:pt x="1380391" y="908204"/>
                            </a:cubicBezTo>
                            <a:cubicBezTo>
                              <a:pt x="1380163" y="908440"/>
                              <a:pt x="1380000" y="908032"/>
                              <a:pt x="1380032" y="907299"/>
                            </a:cubicBezTo>
                            <a:close/>
                            <a:moveTo>
                              <a:pt x="762680" y="904602"/>
                            </a:moveTo>
                            <a:cubicBezTo>
                              <a:pt x="762686" y="902703"/>
                              <a:pt x="762819" y="902010"/>
                              <a:pt x="762977" y="903053"/>
                            </a:cubicBezTo>
                            <a:cubicBezTo>
                              <a:pt x="763136" y="904105"/>
                              <a:pt x="763132" y="905661"/>
                              <a:pt x="762967" y="906509"/>
                            </a:cubicBezTo>
                            <a:cubicBezTo>
                              <a:pt x="762804" y="907356"/>
                              <a:pt x="762674" y="906500"/>
                              <a:pt x="762679" y="904602"/>
                            </a:cubicBezTo>
                            <a:close/>
                            <a:moveTo>
                              <a:pt x="726765" y="904251"/>
                            </a:moveTo>
                            <a:cubicBezTo>
                              <a:pt x="726765" y="902923"/>
                              <a:pt x="726908" y="902385"/>
                              <a:pt x="727081" y="903045"/>
                            </a:cubicBezTo>
                            <a:cubicBezTo>
                              <a:pt x="727255" y="903714"/>
                              <a:pt x="727255" y="904797"/>
                              <a:pt x="727081" y="905466"/>
                            </a:cubicBezTo>
                            <a:cubicBezTo>
                              <a:pt x="726908" y="906126"/>
                              <a:pt x="726765" y="905580"/>
                              <a:pt x="726765" y="904251"/>
                            </a:cubicBezTo>
                            <a:close/>
                            <a:moveTo>
                              <a:pt x="1380920" y="895288"/>
                            </a:moveTo>
                            <a:cubicBezTo>
                              <a:pt x="1380920" y="891303"/>
                              <a:pt x="1381035" y="889673"/>
                              <a:pt x="1381173" y="891661"/>
                            </a:cubicBezTo>
                            <a:cubicBezTo>
                              <a:pt x="1381312" y="893658"/>
                              <a:pt x="1381312" y="896917"/>
                              <a:pt x="1381173" y="898906"/>
                            </a:cubicBezTo>
                            <a:cubicBezTo>
                              <a:pt x="1381035" y="900902"/>
                              <a:pt x="1380920" y="899272"/>
                              <a:pt x="1380920" y="895288"/>
                            </a:cubicBezTo>
                            <a:close/>
                            <a:moveTo>
                              <a:pt x="1345017" y="896323"/>
                            </a:moveTo>
                            <a:cubicBezTo>
                              <a:pt x="1345017" y="893666"/>
                              <a:pt x="1345147" y="892664"/>
                              <a:pt x="1345294" y="894090"/>
                            </a:cubicBezTo>
                            <a:cubicBezTo>
                              <a:pt x="1345440" y="895524"/>
                              <a:pt x="1345440" y="897700"/>
                              <a:pt x="1345285" y="898922"/>
                            </a:cubicBezTo>
                            <a:cubicBezTo>
                              <a:pt x="1345131" y="900144"/>
                              <a:pt x="1345008" y="898979"/>
                              <a:pt x="1345017" y="896323"/>
                            </a:cubicBezTo>
                            <a:close/>
                            <a:moveTo>
                              <a:pt x="762670" y="894595"/>
                            </a:moveTo>
                            <a:cubicBezTo>
                              <a:pt x="762670" y="892892"/>
                              <a:pt x="762804" y="892191"/>
                              <a:pt x="762969" y="893047"/>
                            </a:cubicBezTo>
                            <a:cubicBezTo>
                              <a:pt x="763134" y="893894"/>
                              <a:pt x="763134" y="895296"/>
                              <a:pt x="762969" y="896151"/>
                            </a:cubicBezTo>
                            <a:cubicBezTo>
                              <a:pt x="762804" y="896999"/>
                              <a:pt x="762670" y="896306"/>
                              <a:pt x="762670" y="894595"/>
                            </a:cubicBezTo>
                            <a:close/>
                            <a:moveTo>
                              <a:pt x="726765" y="894595"/>
                            </a:moveTo>
                            <a:cubicBezTo>
                              <a:pt x="726765" y="893267"/>
                              <a:pt x="726908" y="892721"/>
                              <a:pt x="727081" y="893389"/>
                            </a:cubicBezTo>
                            <a:cubicBezTo>
                              <a:pt x="727255" y="894049"/>
                              <a:pt x="727255" y="895141"/>
                              <a:pt x="727081" y="895801"/>
                            </a:cubicBezTo>
                            <a:cubicBezTo>
                              <a:pt x="726908" y="896469"/>
                              <a:pt x="726765" y="895923"/>
                              <a:pt x="726765" y="894595"/>
                            </a:cubicBezTo>
                            <a:close/>
                            <a:moveTo>
                              <a:pt x="312470" y="889999"/>
                            </a:moveTo>
                            <a:cubicBezTo>
                              <a:pt x="312944" y="889803"/>
                              <a:pt x="313721" y="889803"/>
                              <a:pt x="314195" y="889999"/>
                            </a:cubicBezTo>
                            <a:cubicBezTo>
                              <a:pt x="314669" y="890186"/>
                              <a:pt x="314281" y="890341"/>
                              <a:pt x="313332" y="890341"/>
                            </a:cubicBezTo>
                            <a:cubicBezTo>
                              <a:pt x="312384" y="890341"/>
                              <a:pt x="311996" y="890186"/>
                              <a:pt x="312470" y="889999"/>
                            </a:cubicBezTo>
                            <a:close/>
                            <a:moveTo>
                              <a:pt x="323552" y="889983"/>
                            </a:moveTo>
                            <a:cubicBezTo>
                              <a:pt x="324050" y="889779"/>
                              <a:pt x="324645" y="889803"/>
                              <a:pt x="324875" y="890040"/>
                            </a:cubicBezTo>
                            <a:cubicBezTo>
                              <a:pt x="325104" y="890268"/>
                              <a:pt x="324696" y="890431"/>
                              <a:pt x="323969" y="890398"/>
                            </a:cubicBezTo>
                            <a:cubicBezTo>
                              <a:pt x="323165" y="890366"/>
                              <a:pt x="323002" y="890203"/>
                              <a:pt x="323552" y="889983"/>
                            </a:cubicBezTo>
                            <a:close/>
                            <a:moveTo>
                              <a:pt x="761902" y="886316"/>
                            </a:moveTo>
                            <a:cubicBezTo>
                              <a:pt x="761902" y="885362"/>
                              <a:pt x="762058" y="884979"/>
                              <a:pt x="762249" y="885452"/>
                            </a:cubicBezTo>
                            <a:cubicBezTo>
                              <a:pt x="762441" y="885925"/>
                              <a:pt x="762441" y="886699"/>
                              <a:pt x="762249" y="887171"/>
                            </a:cubicBezTo>
                            <a:cubicBezTo>
                              <a:pt x="762058" y="887652"/>
                              <a:pt x="761902" y="887261"/>
                              <a:pt x="761902" y="886316"/>
                            </a:cubicBezTo>
                            <a:close/>
                            <a:moveTo>
                              <a:pt x="761157" y="881769"/>
                            </a:moveTo>
                            <a:cubicBezTo>
                              <a:pt x="761190" y="880970"/>
                              <a:pt x="761353" y="880807"/>
                              <a:pt x="761574" y="881353"/>
                            </a:cubicBezTo>
                            <a:cubicBezTo>
                              <a:pt x="761773" y="881850"/>
                              <a:pt x="761748" y="882445"/>
                              <a:pt x="761519" y="882673"/>
                            </a:cubicBezTo>
                            <a:cubicBezTo>
                              <a:pt x="761290" y="882901"/>
                              <a:pt x="761127" y="882494"/>
                              <a:pt x="761157" y="881769"/>
                            </a:cubicBezTo>
                            <a:close/>
                            <a:moveTo>
                              <a:pt x="1379340" y="877629"/>
                            </a:moveTo>
                            <a:cubicBezTo>
                              <a:pt x="1379372" y="876830"/>
                              <a:pt x="1379535" y="876667"/>
                              <a:pt x="1379755" y="877213"/>
                            </a:cubicBezTo>
                            <a:cubicBezTo>
                              <a:pt x="1379959" y="877710"/>
                              <a:pt x="1379934" y="878305"/>
                              <a:pt x="1379698" y="878534"/>
                            </a:cubicBezTo>
                            <a:cubicBezTo>
                              <a:pt x="1379470" y="878770"/>
                              <a:pt x="1379307" y="878362"/>
                              <a:pt x="1379340" y="877629"/>
                            </a:cubicBezTo>
                            <a:close/>
                            <a:moveTo>
                              <a:pt x="1395719" y="857550"/>
                            </a:moveTo>
                            <a:cubicBezTo>
                              <a:pt x="1396216" y="857355"/>
                              <a:pt x="1396811" y="857379"/>
                              <a:pt x="1397039" y="857607"/>
                            </a:cubicBezTo>
                            <a:cubicBezTo>
                              <a:pt x="1397267" y="857844"/>
                              <a:pt x="1396860" y="858006"/>
                              <a:pt x="1396134" y="857974"/>
                            </a:cubicBezTo>
                            <a:cubicBezTo>
                              <a:pt x="1395328" y="857941"/>
                              <a:pt x="1395165" y="857778"/>
                              <a:pt x="1395719" y="857558"/>
                            </a:cubicBezTo>
                            <a:close/>
                            <a:moveTo>
                              <a:pt x="222395" y="837675"/>
                            </a:moveTo>
                            <a:cubicBezTo>
                              <a:pt x="222409" y="836534"/>
                              <a:pt x="222564" y="836151"/>
                              <a:pt x="222739" y="836828"/>
                            </a:cubicBezTo>
                            <a:cubicBezTo>
                              <a:pt x="222914" y="837496"/>
                              <a:pt x="222902" y="838425"/>
                              <a:pt x="222713" y="838897"/>
                            </a:cubicBezTo>
                            <a:cubicBezTo>
                              <a:pt x="222524" y="839362"/>
                              <a:pt x="222381" y="838816"/>
                              <a:pt x="222395" y="837675"/>
                            </a:cubicBezTo>
                            <a:close/>
                            <a:moveTo>
                              <a:pt x="654723" y="838930"/>
                            </a:moveTo>
                            <a:cubicBezTo>
                              <a:pt x="655220" y="838726"/>
                              <a:pt x="655815" y="838751"/>
                              <a:pt x="656045" y="838987"/>
                            </a:cubicBezTo>
                            <a:cubicBezTo>
                              <a:pt x="656274" y="839215"/>
                              <a:pt x="655867" y="839378"/>
                              <a:pt x="655140" y="839346"/>
                            </a:cubicBezTo>
                            <a:cubicBezTo>
                              <a:pt x="654336" y="839313"/>
                              <a:pt x="654173" y="839150"/>
                              <a:pt x="654723" y="838930"/>
                            </a:cubicBezTo>
                            <a:close/>
                            <a:moveTo>
                              <a:pt x="676111" y="838930"/>
                            </a:moveTo>
                            <a:cubicBezTo>
                              <a:pt x="676609" y="838726"/>
                              <a:pt x="677204" y="838751"/>
                              <a:pt x="677433" y="838987"/>
                            </a:cubicBezTo>
                            <a:cubicBezTo>
                              <a:pt x="677662" y="839215"/>
                              <a:pt x="677255" y="839378"/>
                              <a:pt x="676527" y="839346"/>
                            </a:cubicBezTo>
                            <a:cubicBezTo>
                              <a:pt x="675724" y="839313"/>
                              <a:pt x="675560" y="839150"/>
                              <a:pt x="676111" y="838930"/>
                            </a:cubicBezTo>
                            <a:close/>
                            <a:moveTo>
                              <a:pt x="659177" y="838229"/>
                            </a:moveTo>
                            <a:cubicBezTo>
                              <a:pt x="659848" y="838058"/>
                              <a:pt x="660780" y="838066"/>
                              <a:pt x="661247" y="838254"/>
                            </a:cubicBezTo>
                            <a:cubicBezTo>
                              <a:pt x="661714" y="838441"/>
                              <a:pt x="661165" y="838588"/>
                              <a:pt x="660027" y="838571"/>
                            </a:cubicBezTo>
                            <a:cubicBezTo>
                              <a:pt x="658888" y="838555"/>
                              <a:pt x="658506" y="838400"/>
                              <a:pt x="659177" y="838229"/>
                            </a:cubicBezTo>
                            <a:close/>
                            <a:moveTo>
                              <a:pt x="670591" y="838237"/>
                            </a:moveTo>
                            <a:cubicBezTo>
                              <a:pt x="671090" y="838042"/>
                              <a:pt x="671684" y="838066"/>
                              <a:pt x="671913" y="838294"/>
                            </a:cubicBezTo>
                            <a:cubicBezTo>
                              <a:pt x="672142" y="838523"/>
                              <a:pt x="671735" y="838686"/>
                              <a:pt x="671008" y="838661"/>
                            </a:cubicBezTo>
                            <a:cubicBezTo>
                              <a:pt x="670204" y="838629"/>
                              <a:pt x="670041" y="838457"/>
                              <a:pt x="670591" y="838237"/>
                            </a:cubicBezTo>
                            <a:close/>
                            <a:moveTo>
                              <a:pt x="258246" y="835947"/>
                            </a:moveTo>
                            <a:cubicBezTo>
                              <a:pt x="258246" y="835002"/>
                              <a:pt x="258403" y="834611"/>
                              <a:pt x="258594" y="835084"/>
                            </a:cubicBezTo>
                            <a:cubicBezTo>
                              <a:pt x="258786" y="835564"/>
                              <a:pt x="258786" y="836339"/>
                              <a:pt x="258594" y="836811"/>
                            </a:cubicBezTo>
                            <a:cubicBezTo>
                              <a:pt x="258403" y="837284"/>
                              <a:pt x="258246" y="836901"/>
                              <a:pt x="258246" y="835947"/>
                            </a:cubicBezTo>
                            <a:close/>
                            <a:moveTo>
                              <a:pt x="258192" y="821744"/>
                            </a:moveTo>
                            <a:cubicBezTo>
                              <a:pt x="258225" y="820945"/>
                              <a:pt x="258388" y="820782"/>
                              <a:pt x="258609" y="821328"/>
                            </a:cubicBezTo>
                            <a:cubicBezTo>
                              <a:pt x="258808" y="821826"/>
                              <a:pt x="258783" y="822429"/>
                              <a:pt x="258554" y="822657"/>
                            </a:cubicBezTo>
                            <a:cubicBezTo>
                              <a:pt x="258325" y="822885"/>
                              <a:pt x="258162" y="822477"/>
                              <a:pt x="258192" y="821752"/>
                            </a:cubicBezTo>
                            <a:close/>
                            <a:moveTo>
                              <a:pt x="1371525" y="822380"/>
                            </a:moveTo>
                            <a:cubicBezTo>
                              <a:pt x="1371997" y="822192"/>
                              <a:pt x="1372780" y="822192"/>
                              <a:pt x="1373252" y="822380"/>
                            </a:cubicBezTo>
                            <a:cubicBezTo>
                              <a:pt x="1373725" y="822575"/>
                              <a:pt x="1373334" y="822730"/>
                              <a:pt x="1372389" y="822730"/>
                            </a:cubicBezTo>
                            <a:cubicBezTo>
                              <a:pt x="1371435" y="822730"/>
                              <a:pt x="1371052" y="822575"/>
                              <a:pt x="1371525" y="822380"/>
                            </a:cubicBezTo>
                            <a:close/>
                            <a:moveTo>
                              <a:pt x="1388083" y="822380"/>
                            </a:moveTo>
                            <a:cubicBezTo>
                              <a:pt x="1388556" y="822192"/>
                              <a:pt x="1389338" y="822192"/>
                              <a:pt x="1389811" y="822380"/>
                            </a:cubicBezTo>
                            <a:cubicBezTo>
                              <a:pt x="1390284" y="822575"/>
                              <a:pt x="1389892" y="822730"/>
                              <a:pt x="1388947" y="822730"/>
                            </a:cubicBezTo>
                            <a:cubicBezTo>
                              <a:pt x="1387994" y="822730"/>
                              <a:pt x="1387611" y="822575"/>
                              <a:pt x="1388083" y="822380"/>
                            </a:cubicBezTo>
                            <a:close/>
                            <a:moveTo>
                              <a:pt x="222369" y="820082"/>
                            </a:moveTo>
                            <a:cubicBezTo>
                              <a:pt x="222369" y="819128"/>
                              <a:pt x="222526" y="818745"/>
                              <a:pt x="222718" y="819218"/>
                            </a:cubicBezTo>
                            <a:cubicBezTo>
                              <a:pt x="222909" y="819690"/>
                              <a:pt x="222909" y="820465"/>
                              <a:pt x="222718" y="820945"/>
                            </a:cubicBezTo>
                            <a:cubicBezTo>
                              <a:pt x="222526" y="821418"/>
                              <a:pt x="222369" y="821027"/>
                              <a:pt x="222369" y="820082"/>
                            </a:cubicBezTo>
                            <a:close/>
                            <a:moveTo>
                              <a:pt x="223005" y="814157"/>
                            </a:moveTo>
                            <a:cubicBezTo>
                              <a:pt x="223038" y="813359"/>
                              <a:pt x="223202" y="813188"/>
                              <a:pt x="223422" y="813742"/>
                            </a:cubicBezTo>
                            <a:cubicBezTo>
                              <a:pt x="223621" y="814239"/>
                              <a:pt x="223597" y="814834"/>
                              <a:pt x="223367" y="815062"/>
                            </a:cubicBezTo>
                            <a:cubicBezTo>
                              <a:pt x="223138" y="815290"/>
                              <a:pt x="222975" y="814883"/>
                              <a:pt x="223005" y="814157"/>
                            </a:cubicBezTo>
                            <a:close/>
                            <a:moveTo>
                              <a:pt x="657797" y="802358"/>
                            </a:moveTo>
                            <a:cubicBezTo>
                              <a:pt x="658469" y="802179"/>
                              <a:pt x="659400" y="802187"/>
                              <a:pt x="659867" y="802382"/>
                            </a:cubicBezTo>
                            <a:cubicBezTo>
                              <a:pt x="660334" y="802570"/>
                              <a:pt x="659785" y="802708"/>
                              <a:pt x="658646" y="802700"/>
                            </a:cubicBezTo>
                            <a:cubicBezTo>
                              <a:pt x="657508" y="802684"/>
                              <a:pt x="657126" y="802529"/>
                              <a:pt x="657797" y="802350"/>
                            </a:cubicBezTo>
                            <a:close/>
                            <a:moveTo>
                              <a:pt x="672618" y="802382"/>
                            </a:moveTo>
                            <a:cubicBezTo>
                              <a:pt x="673093" y="802187"/>
                              <a:pt x="673868" y="802187"/>
                              <a:pt x="674343" y="802382"/>
                            </a:cubicBezTo>
                            <a:cubicBezTo>
                              <a:pt x="674817" y="802570"/>
                              <a:pt x="674429" y="802725"/>
                              <a:pt x="673480" y="802725"/>
                            </a:cubicBezTo>
                            <a:cubicBezTo>
                              <a:pt x="672532" y="802725"/>
                              <a:pt x="672143" y="802570"/>
                              <a:pt x="672618" y="802382"/>
                            </a:cubicBezTo>
                            <a:close/>
                            <a:moveTo>
                              <a:pt x="655596" y="794152"/>
                            </a:moveTo>
                            <a:cubicBezTo>
                              <a:pt x="655630" y="793353"/>
                              <a:pt x="655793" y="793190"/>
                              <a:pt x="656013" y="793736"/>
                            </a:cubicBezTo>
                            <a:cubicBezTo>
                              <a:pt x="656212" y="794233"/>
                              <a:pt x="656188" y="794828"/>
                              <a:pt x="655959" y="795056"/>
                            </a:cubicBezTo>
                            <a:cubicBezTo>
                              <a:pt x="655729" y="795285"/>
                              <a:pt x="655566" y="794877"/>
                              <a:pt x="655596" y="794152"/>
                            </a:cubicBezTo>
                            <a:close/>
                            <a:moveTo>
                              <a:pt x="977915" y="788546"/>
                            </a:moveTo>
                            <a:cubicBezTo>
                              <a:pt x="978959" y="788383"/>
                              <a:pt x="980666" y="788383"/>
                              <a:pt x="981710" y="788546"/>
                            </a:cubicBezTo>
                            <a:cubicBezTo>
                              <a:pt x="982754" y="788700"/>
                              <a:pt x="981900" y="788831"/>
                              <a:pt x="979813" y="788831"/>
                            </a:cubicBezTo>
                            <a:cubicBezTo>
                              <a:pt x="977726" y="788831"/>
                              <a:pt x="976872" y="788700"/>
                              <a:pt x="977915" y="788546"/>
                            </a:cubicBezTo>
                            <a:close/>
                            <a:moveTo>
                              <a:pt x="657174" y="777650"/>
                            </a:moveTo>
                            <a:cubicBezTo>
                              <a:pt x="657174" y="773861"/>
                              <a:pt x="657291" y="772394"/>
                              <a:pt x="657431" y="774399"/>
                            </a:cubicBezTo>
                            <a:cubicBezTo>
                              <a:pt x="657571" y="776404"/>
                              <a:pt x="657570" y="779508"/>
                              <a:pt x="657431" y="781301"/>
                            </a:cubicBezTo>
                            <a:cubicBezTo>
                              <a:pt x="657289" y="783086"/>
                              <a:pt x="657175" y="781448"/>
                              <a:pt x="657177" y="777650"/>
                            </a:cubicBezTo>
                            <a:close/>
                            <a:moveTo>
                              <a:pt x="621099" y="779663"/>
                            </a:moveTo>
                            <a:cubicBezTo>
                              <a:pt x="621133" y="778865"/>
                              <a:pt x="621296" y="778694"/>
                              <a:pt x="621516" y="779248"/>
                            </a:cubicBezTo>
                            <a:cubicBezTo>
                              <a:pt x="621716" y="779745"/>
                              <a:pt x="621691" y="780340"/>
                              <a:pt x="621461" y="780568"/>
                            </a:cubicBezTo>
                            <a:cubicBezTo>
                              <a:pt x="621232" y="780796"/>
                              <a:pt x="621069" y="780388"/>
                              <a:pt x="621099" y="779663"/>
                            </a:cubicBezTo>
                            <a:close/>
                            <a:moveTo>
                              <a:pt x="621242" y="774896"/>
                            </a:moveTo>
                            <a:cubicBezTo>
                              <a:pt x="621249" y="772997"/>
                              <a:pt x="621381" y="772305"/>
                              <a:pt x="621540" y="773348"/>
                            </a:cubicBezTo>
                            <a:cubicBezTo>
                              <a:pt x="621698" y="774399"/>
                              <a:pt x="621694" y="775947"/>
                              <a:pt x="621531" y="776803"/>
                            </a:cubicBezTo>
                            <a:cubicBezTo>
                              <a:pt x="621367" y="777650"/>
                              <a:pt x="621236" y="776795"/>
                              <a:pt x="621242" y="774896"/>
                            </a:cubicBezTo>
                            <a:close/>
                            <a:moveTo>
                              <a:pt x="620409" y="767937"/>
                            </a:moveTo>
                            <a:cubicBezTo>
                              <a:pt x="620443" y="767130"/>
                              <a:pt x="620606" y="766967"/>
                              <a:pt x="620827" y="767521"/>
                            </a:cubicBezTo>
                            <a:cubicBezTo>
                              <a:pt x="621025" y="768018"/>
                              <a:pt x="621001" y="768613"/>
                              <a:pt x="620772" y="768841"/>
                            </a:cubicBezTo>
                            <a:cubicBezTo>
                              <a:pt x="620542" y="769070"/>
                              <a:pt x="620379" y="768662"/>
                              <a:pt x="620409" y="767937"/>
                            </a:cubicBezTo>
                            <a:close/>
                            <a:moveTo>
                              <a:pt x="1450406" y="763105"/>
                            </a:moveTo>
                            <a:cubicBezTo>
                              <a:pt x="1450439" y="762306"/>
                              <a:pt x="1450602" y="762135"/>
                              <a:pt x="1450822" y="762689"/>
                            </a:cubicBezTo>
                            <a:cubicBezTo>
                              <a:pt x="1451025" y="763186"/>
                              <a:pt x="1451001" y="763781"/>
                              <a:pt x="1450765" y="764009"/>
                            </a:cubicBezTo>
                            <a:cubicBezTo>
                              <a:pt x="1450536" y="764237"/>
                              <a:pt x="1450373" y="763830"/>
                              <a:pt x="1450406" y="763105"/>
                            </a:cubicBezTo>
                            <a:close/>
                            <a:moveTo>
                              <a:pt x="1451294" y="752128"/>
                            </a:moveTo>
                            <a:cubicBezTo>
                              <a:pt x="1451294" y="748331"/>
                              <a:pt x="1451408" y="746864"/>
                              <a:pt x="1451547" y="748869"/>
                            </a:cubicBezTo>
                            <a:cubicBezTo>
                              <a:pt x="1451693" y="750873"/>
                              <a:pt x="1451685" y="753978"/>
                              <a:pt x="1451547" y="755771"/>
                            </a:cubicBezTo>
                            <a:cubicBezTo>
                              <a:pt x="1451408" y="757564"/>
                              <a:pt x="1451294" y="755917"/>
                              <a:pt x="1451294" y="752128"/>
                            </a:cubicBezTo>
                            <a:close/>
                            <a:moveTo>
                              <a:pt x="1487133" y="753505"/>
                            </a:moveTo>
                            <a:cubicBezTo>
                              <a:pt x="1487141" y="751232"/>
                              <a:pt x="1487263" y="750376"/>
                              <a:pt x="1487418" y="751623"/>
                            </a:cubicBezTo>
                            <a:cubicBezTo>
                              <a:pt x="1487573" y="752862"/>
                              <a:pt x="1487565" y="754720"/>
                              <a:pt x="1487410" y="755763"/>
                            </a:cubicBezTo>
                            <a:cubicBezTo>
                              <a:pt x="1487255" y="756797"/>
                              <a:pt x="1487125" y="755787"/>
                              <a:pt x="1487133" y="753505"/>
                            </a:cubicBezTo>
                            <a:close/>
                            <a:moveTo>
                              <a:pt x="1450406" y="741722"/>
                            </a:moveTo>
                            <a:cubicBezTo>
                              <a:pt x="1450439" y="740915"/>
                              <a:pt x="1450602" y="740752"/>
                              <a:pt x="1450822" y="741298"/>
                            </a:cubicBezTo>
                            <a:cubicBezTo>
                              <a:pt x="1451025" y="741795"/>
                              <a:pt x="1451001" y="742390"/>
                              <a:pt x="1450765" y="742627"/>
                            </a:cubicBezTo>
                            <a:cubicBezTo>
                              <a:pt x="1450536" y="742855"/>
                              <a:pt x="1450373" y="742447"/>
                              <a:pt x="1450406" y="741714"/>
                            </a:cubicBezTo>
                            <a:close/>
                            <a:moveTo>
                              <a:pt x="1486334" y="740052"/>
                            </a:moveTo>
                            <a:cubicBezTo>
                              <a:pt x="1486334" y="739098"/>
                              <a:pt x="1486489" y="738715"/>
                              <a:pt x="1486685" y="739188"/>
                            </a:cubicBezTo>
                            <a:cubicBezTo>
                              <a:pt x="1486872" y="739660"/>
                              <a:pt x="1486872" y="740443"/>
                              <a:pt x="1486685" y="740915"/>
                            </a:cubicBezTo>
                            <a:cubicBezTo>
                              <a:pt x="1486489" y="741388"/>
                              <a:pt x="1486334" y="740997"/>
                              <a:pt x="1486334" y="740052"/>
                            </a:cubicBezTo>
                            <a:close/>
                            <a:moveTo>
                              <a:pt x="1485593" y="734820"/>
                            </a:moveTo>
                            <a:cubicBezTo>
                              <a:pt x="1485625" y="734013"/>
                              <a:pt x="1485788" y="733850"/>
                              <a:pt x="1486008" y="734404"/>
                            </a:cubicBezTo>
                            <a:cubicBezTo>
                              <a:pt x="1486212" y="734901"/>
                              <a:pt x="1486188" y="735496"/>
                              <a:pt x="1485951" y="735724"/>
                            </a:cubicBezTo>
                            <a:cubicBezTo>
                              <a:pt x="1485723" y="735953"/>
                              <a:pt x="1485560" y="735545"/>
                              <a:pt x="1485593" y="734820"/>
                            </a:cubicBezTo>
                            <a:close/>
                            <a:moveTo>
                              <a:pt x="461829" y="729010"/>
                            </a:moveTo>
                            <a:cubicBezTo>
                              <a:pt x="461829" y="727682"/>
                              <a:pt x="461971" y="727136"/>
                              <a:pt x="462145" y="727804"/>
                            </a:cubicBezTo>
                            <a:cubicBezTo>
                              <a:pt x="462319" y="728464"/>
                              <a:pt x="462319" y="729556"/>
                              <a:pt x="462145" y="730216"/>
                            </a:cubicBezTo>
                            <a:cubicBezTo>
                              <a:pt x="461971" y="730884"/>
                              <a:pt x="461829" y="730338"/>
                              <a:pt x="461829" y="729010"/>
                            </a:cubicBezTo>
                            <a:close/>
                            <a:moveTo>
                              <a:pt x="549852" y="716811"/>
                            </a:moveTo>
                            <a:cubicBezTo>
                              <a:pt x="550350" y="716607"/>
                              <a:pt x="550945" y="716632"/>
                              <a:pt x="551174" y="716868"/>
                            </a:cubicBezTo>
                            <a:cubicBezTo>
                              <a:pt x="551404" y="717096"/>
                              <a:pt x="550996" y="717259"/>
                              <a:pt x="550269" y="717226"/>
                            </a:cubicBezTo>
                            <a:cubicBezTo>
                              <a:pt x="549465" y="717194"/>
                              <a:pt x="549301" y="717031"/>
                              <a:pt x="549852" y="716811"/>
                            </a:cubicBezTo>
                            <a:close/>
                            <a:moveTo>
                              <a:pt x="558763" y="716094"/>
                            </a:moveTo>
                            <a:cubicBezTo>
                              <a:pt x="559988" y="715939"/>
                              <a:pt x="562161" y="715939"/>
                              <a:pt x="563592" y="716086"/>
                            </a:cubicBezTo>
                            <a:cubicBezTo>
                              <a:pt x="565024" y="716232"/>
                              <a:pt x="564022" y="716363"/>
                              <a:pt x="561365" y="716363"/>
                            </a:cubicBezTo>
                            <a:cubicBezTo>
                              <a:pt x="558709" y="716363"/>
                              <a:pt x="557538" y="716241"/>
                              <a:pt x="558763" y="716094"/>
                            </a:cubicBezTo>
                            <a:close/>
                            <a:moveTo>
                              <a:pt x="547049" y="680948"/>
                            </a:moveTo>
                            <a:cubicBezTo>
                              <a:pt x="547523" y="680752"/>
                              <a:pt x="548300" y="680752"/>
                              <a:pt x="548774" y="680948"/>
                            </a:cubicBezTo>
                            <a:cubicBezTo>
                              <a:pt x="549248" y="681135"/>
                              <a:pt x="548861" y="681298"/>
                              <a:pt x="547911" y="681298"/>
                            </a:cubicBezTo>
                            <a:cubicBezTo>
                              <a:pt x="546963" y="681298"/>
                              <a:pt x="546575" y="681135"/>
                              <a:pt x="547049" y="680948"/>
                            </a:cubicBezTo>
                            <a:close/>
                            <a:moveTo>
                              <a:pt x="558088" y="680214"/>
                            </a:moveTo>
                            <a:cubicBezTo>
                              <a:pt x="559321" y="680060"/>
                              <a:pt x="561340" y="680060"/>
                              <a:pt x="562573" y="680214"/>
                            </a:cubicBezTo>
                            <a:cubicBezTo>
                              <a:pt x="563806" y="680369"/>
                              <a:pt x="562797" y="680491"/>
                              <a:pt x="560330" y="680491"/>
                            </a:cubicBezTo>
                            <a:cubicBezTo>
                              <a:pt x="557864" y="680491"/>
                              <a:pt x="556855" y="680369"/>
                              <a:pt x="558088" y="680214"/>
                            </a:cubicBezTo>
                            <a:close/>
                            <a:moveTo>
                              <a:pt x="565721" y="680239"/>
                            </a:moveTo>
                            <a:cubicBezTo>
                              <a:pt x="566218" y="680043"/>
                              <a:pt x="566813" y="680068"/>
                              <a:pt x="567043" y="680296"/>
                            </a:cubicBezTo>
                            <a:cubicBezTo>
                              <a:pt x="567272" y="680524"/>
                              <a:pt x="566865" y="680687"/>
                              <a:pt x="566138" y="680662"/>
                            </a:cubicBezTo>
                            <a:cubicBezTo>
                              <a:pt x="565333" y="680630"/>
                              <a:pt x="565170" y="680459"/>
                              <a:pt x="565721" y="680239"/>
                            </a:cubicBezTo>
                            <a:close/>
                            <a:moveTo>
                              <a:pt x="393883" y="663004"/>
                            </a:moveTo>
                            <a:cubicBezTo>
                              <a:pt x="394357" y="662817"/>
                              <a:pt x="395134" y="662817"/>
                              <a:pt x="395608" y="663004"/>
                            </a:cubicBezTo>
                            <a:cubicBezTo>
                              <a:pt x="396082" y="663200"/>
                              <a:pt x="395694" y="663354"/>
                              <a:pt x="394745" y="663354"/>
                            </a:cubicBezTo>
                            <a:cubicBezTo>
                              <a:pt x="393796" y="663354"/>
                              <a:pt x="393408" y="663200"/>
                              <a:pt x="393883" y="663004"/>
                            </a:cubicBezTo>
                            <a:close/>
                            <a:moveTo>
                              <a:pt x="405970" y="662979"/>
                            </a:moveTo>
                            <a:cubicBezTo>
                              <a:pt x="406641" y="662808"/>
                              <a:pt x="407573" y="662817"/>
                              <a:pt x="408040" y="663004"/>
                            </a:cubicBezTo>
                            <a:cubicBezTo>
                              <a:pt x="408507" y="663191"/>
                              <a:pt x="407957" y="663338"/>
                              <a:pt x="406819" y="663322"/>
                            </a:cubicBezTo>
                            <a:cubicBezTo>
                              <a:pt x="405681" y="663305"/>
                              <a:pt x="405298" y="663151"/>
                              <a:pt x="405970" y="662979"/>
                            </a:cubicBezTo>
                            <a:close/>
                            <a:moveTo>
                              <a:pt x="1034427" y="641377"/>
                            </a:moveTo>
                            <a:cubicBezTo>
                              <a:pt x="1034427" y="640431"/>
                              <a:pt x="1034583" y="640040"/>
                              <a:pt x="1034775" y="640521"/>
                            </a:cubicBezTo>
                            <a:cubicBezTo>
                              <a:pt x="1034966" y="640994"/>
                              <a:pt x="1034966" y="641768"/>
                              <a:pt x="1034775" y="642241"/>
                            </a:cubicBezTo>
                            <a:cubicBezTo>
                              <a:pt x="1034583" y="642721"/>
                              <a:pt x="1034427" y="642330"/>
                              <a:pt x="1034427" y="641377"/>
                            </a:cubicBezTo>
                            <a:close/>
                            <a:moveTo>
                              <a:pt x="386337" y="627801"/>
                            </a:moveTo>
                            <a:cubicBezTo>
                              <a:pt x="386835" y="627597"/>
                              <a:pt x="387430" y="627630"/>
                              <a:pt x="387659" y="627858"/>
                            </a:cubicBezTo>
                            <a:cubicBezTo>
                              <a:pt x="387888" y="628086"/>
                              <a:pt x="387481" y="628249"/>
                              <a:pt x="386753" y="628216"/>
                            </a:cubicBezTo>
                            <a:cubicBezTo>
                              <a:pt x="385950" y="628184"/>
                              <a:pt x="385786" y="628021"/>
                              <a:pt x="386337" y="627801"/>
                            </a:cubicBezTo>
                            <a:close/>
                            <a:moveTo>
                              <a:pt x="414624" y="627801"/>
                            </a:moveTo>
                            <a:cubicBezTo>
                              <a:pt x="415122" y="627597"/>
                              <a:pt x="415717" y="627630"/>
                              <a:pt x="415947" y="627858"/>
                            </a:cubicBezTo>
                            <a:cubicBezTo>
                              <a:pt x="416176" y="628086"/>
                              <a:pt x="415768" y="628249"/>
                              <a:pt x="415041" y="628216"/>
                            </a:cubicBezTo>
                            <a:cubicBezTo>
                              <a:pt x="414237" y="628184"/>
                              <a:pt x="414074" y="628021"/>
                              <a:pt x="414624" y="627801"/>
                            </a:cubicBezTo>
                            <a:close/>
                            <a:moveTo>
                              <a:pt x="392546" y="627108"/>
                            </a:moveTo>
                            <a:cubicBezTo>
                              <a:pt x="393044" y="626913"/>
                              <a:pt x="393639" y="626937"/>
                              <a:pt x="393868" y="627165"/>
                            </a:cubicBezTo>
                            <a:cubicBezTo>
                              <a:pt x="394098" y="627393"/>
                              <a:pt x="393690" y="627556"/>
                              <a:pt x="392963" y="627532"/>
                            </a:cubicBezTo>
                            <a:cubicBezTo>
                              <a:pt x="392159" y="627499"/>
                              <a:pt x="391995" y="627336"/>
                              <a:pt x="392546" y="627116"/>
                            </a:cubicBezTo>
                            <a:close/>
                            <a:moveTo>
                              <a:pt x="408415" y="627108"/>
                            </a:moveTo>
                            <a:cubicBezTo>
                              <a:pt x="408912" y="626913"/>
                              <a:pt x="409507" y="626937"/>
                              <a:pt x="409737" y="627165"/>
                            </a:cubicBezTo>
                            <a:cubicBezTo>
                              <a:pt x="409966" y="627393"/>
                              <a:pt x="409559" y="627556"/>
                              <a:pt x="408832" y="627532"/>
                            </a:cubicBezTo>
                            <a:cubicBezTo>
                              <a:pt x="408027" y="627499"/>
                              <a:pt x="407865" y="627336"/>
                              <a:pt x="408415" y="627116"/>
                            </a:cubicBezTo>
                            <a:close/>
                            <a:moveTo>
                              <a:pt x="1052127" y="622969"/>
                            </a:moveTo>
                            <a:cubicBezTo>
                              <a:pt x="1052625" y="622773"/>
                              <a:pt x="1053220" y="622797"/>
                              <a:pt x="1053450" y="623025"/>
                            </a:cubicBezTo>
                            <a:cubicBezTo>
                              <a:pt x="1053679" y="623254"/>
                              <a:pt x="1053271" y="623417"/>
                              <a:pt x="1052544" y="623392"/>
                            </a:cubicBezTo>
                            <a:cubicBezTo>
                              <a:pt x="1051740" y="623360"/>
                              <a:pt x="1051577" y="623197"/>
                              <a:pt x="1052127" y="622977"/>
                            </a:cubicBezTo>
                            <a:close/>
                            <a:moveTo>
                              <a:pt x="1793409" y="539956"/>
                            </a:moveTo>
                            <a:cubicBezTo>
                              <a:pt x="1793409" y="538628"/>
                              <a:pt x="1793555" y="538090"/>
                              <a:pt x="1793726" y="538750"/>
                            </a:cubicBezTo>
                            <a:cubicBezTo>
                              <a:pt x="1793897" y="539418"/>
                              <a:pt x="1793897" y="540502"/>
                              <a:pt x="1793726" y="541170"/>
                            </a:cubicBezTo>
                            <a:cubicBezTo>
                              <a:pt x="1793555" y="541830"/>
                              <a:pt x="1793409" y="541284"/>
                              <a:pt x="1793409" y="539956"/>
                            </a:cubicBezTo>
                            <a:close/>
                            <a:moveTo>
                              <a:pt x="962" y="521523"/>
                            </a:moveTo>
                            <a:cubicBezTo>
                              <a:pt x="2006" y="521368"/>
                              <a:pt x="3714" y="521368"/>
                              <a:pt x="4757" y="521523"/>
                            </a:cubicBezTo>
                            <a:cubicBezTo>
                              <a:pt x="5801" y="521686"/>
                              <a:pt x="4947" y="521816"/>
                              <a:pt x="2860" y="521816"/>
                            </a:cubicBezTo>
                            <a:cubicBezTo>
                              <a:pt x="773" y="521816"/>
                              <a:pt x="-81" y="521686"/>
                              <a:pt x="962" y="521523"/>
                            </a:cubicBezTo>
                            <a:close/>
                            <a:moveTo>
                              <a:pt x="1774104" y="521523"/>
                            </a:moveTo>
                            <a:cubicBezTo>
                              <a:pt x="1775147" y="521368"/>
                              <a:pt x="1776858" y="521368"/>
                              <a:pt x="1777901" y="521523"/>
                            </a:cubicBezTo>
                            <a:cubicBezTo>
                              <a:pt x="1778944" y="521686"/>
                              <a:pt x="1778089" y="521816"/>
                              <a:pt x="1776003" y="521816"/>
                            </a:cubicBezTo>
                            <a:cubicBezTo>
                              <a:pt x="1773916" y="521816"/>
                              <a:pt x="1773061" y="521686"/>
                              <a:pt x="1774104" y="521523"/>
                            </a:cubicBezTo>
                            <a:close/>
                            <a:moveTo>
                              <a:pt x="628505" y="515346"/>
                            </a:moveTo>
                            <a:cubicBezTo>
                              <a:pt x="629003" y="515151"/>
                              <a:pt x="629598" y="515175"/>
                              <a:pt x="629827" y="515403"/>
                            </a:cubicBezTo>
                            <a:cubicBezTo>
                              <a:pt x="630057" y="515631"/>
                              <a:pt x="629649" y="515794"/>
                              <a:pt x="628922" y="515770"/>
                            </a:cubicBezTo>
                            <a:cubicBezTo>
                              <a:pt x="628118" y="515737"/>
                              <a:pt x="627954" y="515566"/>
                              <a:pt x="628505" y="515346"/>
                            </a:cubicBezTo>
                            <a:close/>
                            <a:moveTo>
                              <a:pt x="649850" y="515363"/>
                            </a:moveTo>
                            <a:cubicBezTo>
                              <a:pt x="650324" y="515175"/>
                              <a:pt x="651100" y="515175"/>
                              <a:pt x="651575" y="515363"/>
                            </a:cubicBezTo>
                            <a:cubicBezTo>
                              <a:pt x="652049" y="515558"/>
                              <a:pt x="651661" y="515713"/>
                              <a:pt x="650713" y="515713"/>
                            </a:cubicBezTo>
                            <a:cubicBezTo>
                              <a:pt x="649764" y="515713"/>
                              <a:pt x="649375" y="515558"/>
                              <a:pt x="649850" y="515363"/>
                            </a:cubicBezTo>
                            <a:close/>
                            <a:moveTo>
                              <a:pt x="628820" y="479467"/>
                            </a:moveTo>
                            <a:cubicBezTo>
                              <a:pt x="629491" y="479287"/>
                              <a:pt x="630423" y="479304"/>
                              <a:pt x="630890" y="479491"/>
                            </a:cubicBezTo>
                            <a:cubicBezTo>
                              <a:pt x="631356" y="479679"/>
                              <a:pt x="630807" y="479825"/>
                              <a:pt x="629669" y="479809"/>
                            </a:cubicBezTo>
                            <a:cubicBezTo>
                              <a:pt x="628530" y="479793"/>
                              <a:pt x="628148" y="479638"/>
                              <a:pt x="628820" y="479467"/>
                            </a:cubicBezTo>
                            <a:close/>
                            <a:moveTo>
                              <a:pt x="648138" y="479467"/>
                            </a:moveTo>
                            <a:cubicBezTo>
                              <a:pt x="648810" y="479287"/>
                              <a:pt x="649741" y="479304"/>
                              <a:pt x="650208" y="479491"/>
                            </a:cubicBezTo>
                            <a:cubicBezTo>
                              <a:pt x="650675" y="479679"/>
                              <a:pt x="650126" y="479825"/>
                              <a:pt x="648987" y="479809"/>
                            </a:cubicBezTo>
                            <a:cubicBezTo>
                              <a:pt x="647849" y="479793"/>
                              <a:pt x="647467" y="479638"/>
                              <a:pt x="648138" y="479467"/>
                            </a:cubicBezTo>
                            <a:close/>
                            <a:moveTo>
                              <a:pt x="622985" y="478782"/>
                            </a:moveTo>
                            <a:cubicBezTo>
                              <a:pt x="623484" y="478578"/>
                              <a:pt x="624079" y="478603"/>
                              <a:pt x="624308" y="478839"/>
                            </a:cubicBezTo>
                            <a:cubicBezTo>
                              <a:pt x="624537" y="479067"/>
                              <a:pt x="624129" y="479230"/>
                              <a:pt x="623402" y="479198"/>
                            </a:cubicBezTo>
                            <a:cubicBezTo>
                              <a:pt x="622598" y="479165"/>
                              <a:pt x="622435" y="479002"/>
                              <a:pt x="622985" y="478782"/>
                            </a:cubicBezTo>
                            <a:close/>
                            <a:moveTo>
                              <a:pt x="654032" y="478782"/>
                            </a:moveTo>
                            <a:cubicBezTo>
                              <a:pt x="654530" y="478578"/>
                              <a:pt x="655126" y="478603"/>
                              <a:pt x="655355" y="478839"/>
                            </a:cubicBezTo>
                            <a:cubicBezTo>
                              <a:pt x="655584" y="479067"/>
                              <a:pt x="655176" y="479230"/>
                              <a:pt x="654450" y="479198"/>
                            </a:cubicBezTo>
                            <a:cubicBezTo>
                              <a:pt x="653645" y="479165"/>
                              <a:pt x="653482" y="479002"/>
                              <a:pt x="654032" y="478782"/>
                            </a:cubicBezTo>
                            <a:close/>
                            <a:moveTo>
                              <a:pt x="901366" y="401466"/>
                            </a:moveTo>
                            <a:cubicBezTo>
                              <a:pt x="904705" y="401335"/>
                              <a:pt x="909983" y="401343"/>
                              <a:pt x="913095" y="401466"/>
                            </a:cubicBezTo>
                            <a:cubicBezTo>
                              <a:pt x="916207" y="401596"/>
                              <a:pt x="913476" y="401694"/>
                              <a:pt x="907024" y="401694"/>
                            </a:cubicBezTo>
                            <a:cubicBezTo>
                              <a:pt x="900573" y="401694"/>
                              <a:pt x="898028" y="401588"/>
                              <a:pt x="901366" y="401466"/>
                            </a:cubicBezTo>
                            <a:close/>
                            <a:moveTo>
                              <a:pt x="882367" y="400806"/>
                            </a:moveTo>
                            <a:cubicBezTo>
                              <a:pt x="883225" y="400635"/>
                              <a:pt x="884467" y="400643"/>
                              <a:pt x="885127" y="400822"/>
                            </a:cubicBezTo>
                            <a:cubicBezTo>
                              <a:pt x="885787" y="400993"/>
                              <a:pt x="885085" y="401123"/>
                              <a:pt x="883567" y="401115"/>
                            </a:cubicBezTo>
                            <a:cubicBezTo>
                              <a:pt x="882049" y="401107"/>
                              <a:pt x="881509" y="400969"/>
                              <a:pt x="882367" y="400806"/>
                            </a:cubicBezTo>
                            <a:close/>
                            <a:moveTo>
                              <a:pt x="929275" y="400806"/>
                            </a:moveTo>
                            <a:cubicBezTo>
                              <a:pt x="930129" y="400635"/>
                              <a:pt x="931526" y="400635"/>
                              <a:pt x="932379" y="400806"/>
                            </a:cubicBezTo>
                            <a:cubicBezTo>
                              <a:pt x="933233" y="400969"/>
                              <a:pt x="932535" y="401099"/>
                              <a:pt x="930827" y="401099"/>
                            </a:cubicBezTo>
                            <a:cubicBezTo>
                              <a:pt x="929120" y="401099"/>
                              <a:pt x="928421" y="400969"/>
                              <a:pt x="929275" y="400806"/>
                            </a:cubicBezTo>
                            <a:close/>
                            <a:moveTo>
                              <a:pt x="872053" y="400129"/>
                            </a:moveTo>
                            <a:cubicBezTo>
                              <a:pt x="872551" y="399926"/>
                              <a:pt x="873146" y="399950"/>
                              <a:pt x="873376" y="400186"/>
                            </a:cubicBezTo>
                            <a:cubicBezTo>
                              <a:pt x="873605" y="400414"/>
                              <a:pt x="873197" y="400577"/>
                              <a:pt x="872470" y="400545"/>
                            </a:cubicBezTo>
                            <a:cubicBezTo>
                              <a:pt x="871666" y="400512"/>
                              <a:pt x="871503" y="400349"/>
                              <a:pt x="872053" y="400129"/>
                            </a:cubicBezTo>
                            <a:close/>
                            <a:moveTo>
                              <a:pt x="939982" y="400121"/>
                            </a:moveTo>
                            <a:cubicBezTo>
                              <a:pt x="940654" y="399942"/>
                              <a:pt x="941585" y="399958"/>
                              <a:pt x="942052" y="400146"/>
                            </a:cubicBezTo>
                            <a:cubicBezTo>
                              <a:pt x="942519" y="400333"/>
                              <a:pt x="941970" y="400480"/>
                              <a:pt x="940831" y="400463"/>
                            </a:cubicBezTo>
                            <a:cubicBezTo>
                              <a:pt x="939693" y="400447"/>
                              <a:pt x="939311" y="400292"/>
                              <a:pt x="939982" y="400121"/>
                            </a:cubicBezTo>
                            <a:close/>
                            <a:moveTo>
                              <a:pt x="976234" y="400129"/>
                            </a:moveTo>
                            <a:cubicBezTo>
                              <a:pt x="976732" y="399926"/>
                              <a:pt x="977327" y="399950"/>
                              <a:pt x="977556" y="400186"/>
                            </a:cubicBezTo>
                            <a:cubicBezTo>
                              <a:pt x="977786" y="400414"/>
                              <a:pt x="977378" y="400577"/>
                              <a:pt x="976651" y="400545"/>
                            </a:cubicBezTo>
                            <a:cubicBezTo>
                              <a:pt x="975847" y="400512"/>
                              <a:pt x="975683" y="400349"/>
                              <a:pt x="976234" y="400129"/>
                            </a:cubicBezTo>
                            <a:close/>
                            <a:moveTo>
                              <a:pt x="862709" y="399428"/>
                            </a:moveTo>
                            <a:cubicBezTo>
                              <a:pt x="863380" y="399257"/>
                              <a:pt x="864312" y="399266"/>
                              <a:pt x="864779" y="399453"/>
                            </a:cubicBezTo>
                            <a:cubicBezTo>
                              <a:pt x="865246" y="399648"/>
                              <a:pt x="864696" y="399787"/>
                              <a:pt x="863558" y="399771"/>
                            </a:cubicBezTo>
                            <a:cubicBezTo>
                              <a:pt x="862420" y="399754"/>
                              <a:pt x="862037" y="399608"/>
                              <a:pt x="862709" y="399428"/>
                            </a:cubicBezTo>
                            <a:close/>
                            <a:moveTo>
                              <a:pt x="953768" y="399396"/>
                            </a:moveTo>
                            <a:cubicBezTo>
                              <a:pt x="956329" y="399266"/>
                              <a:pt x="960521" y="399266"/>
                              <a:pt x="963082" y="399396"/>
                            </a:cubicBezTo>
                            <a:cubicBezTo>
                              <a:pt x="965643" y="399534"/>
                              <a:pt x="963548" y="399640"/>
                              <a:pt x="958425" y="399640"/>
                            </a:cubicBezTo>
                            <a:cubicBezTo>
                              <a:pt x="953302" y="399640"/>
                              <a:pt x="951207" y="399534"/>
                              <a:pt x="953768" y="399396"/>
                            </a:cubicBezTo>
                            <a:close/>
                            <a:moveTo>
                              <a:pt x="850622" y="398068"/>
                            </a:moveTo>
                            <a:cubicBezTo>
                              <a:pt x="851096" y="397880"/>
                              <a:pt x="851872" y="397880"/>
                              <a:pt x="852347" y="398068"/>
                            </a:cubicBezTo>
                            <a:cubicBezTo>
                              <a:pt x="852821" y="398263"/>
                              <a:pt x="852433" y="398418"/>
                              <a:pt x="851485" y="398418"/>
                            </a:cubicBezTo>
                            <a:cubicBezTo>
                              <a:pt x="850536" y="398418"/>
                              <a:pt x="850147" y="398263"/>
                              <a:pt x="850622" y="398068"/>
                            </a:cubicBezTo>
                            <a:close/>
                            <a:moveTo>
                              <a:pt x="841307" y="397359"/>
                            </a:moveTo>
                            <a:cubicBezTo>
                              <a:pt x="841972" y="397188"/>
                              <a:pt x="843059" y="397188"/>
                              <a:pt x="843723" y="397359"/>
                            </a:cubicBezTo>
                            <a:cubicBezTo>
                              <a:pt x="844387" y="397538"/>
                              <a:pt x="843843" y="397676"/>
                              <a:pt x="842515" y="397676"/>
                            </a:cubicBezTo>
                            <a:cubicBezTo>
                              <a:pt x="841187" y="397676"/>
                              <a:pt x="840643" y="397538"/>
                              <a:pt x="841307" y="397359"/>
                            </a:cubicBezTo>
                            <a:close/>
                            <a:moveTo>
                              <a:pt x="900608" y="365586"/>
                            </a:moveTo>
                            <a:cubicBezTo>
                              <a:pt x="903909" y="365464"/>
                              <a:pt x="909497" y="365456"/>
                              <a:pt x="913027" y="365586"/>
                            </a:cubicBezTo>
                            <a:cubicBezTo>
                              <a:pt x="916556" y="365708"/>
                              <a:pt x="913854" y="365814"/>
                              <a:pt x="907024" y="365814"/>
                            </a:cubicBezTo>
                            <a:cubicBezTo>
                              <a:pt x="900194" y="365814"/>
                              <a:pt x="897307" y="365717"/>
                              <a:pt x="900608" y="365586"/>
                            </a:cubicBezTo>
                            <a:close/>
                            <a:moveTo>
                              <a:pt x="990033" y="365627"/>
                            </a:moveTo>
                            <a:cubicBezTo>
                              <a:pt x="990531" y="365431"/>
                              <a:pt x="991125" y="365456"/>
                              <a:pt x="991355" y="365684"/>
                            </a:cubicBezTo>
                            <a:cubicBezTo>
                              <a:pt x="991584" y="365912"/>
                              <a:pt x="991177" y="366075"/>
                              <a:pt x="990450" y="366051"/>
                            </a:cubicBezTo>
                            <a:cubicBezTo>
                              <a:pt x="989646" y="366018"/>
                              <a:pt x="989483" y="365847"/>
                              <a:pt x="990033" y="365627"/>
                            </a:cubicBezTo>
                            <a:close/>
                            <a:moveTo>
                              <a:pt x="883092" y="364934"/>
                            </a:moveTo>
                            <a:cubicBezTo>
                              <a:pt x="883590" y="364739"/>
                              <a:pt x="884185" y="364763"/>
                              <a:pt x="884414" y="364991"/>
                            </a:cubicBezTo>
                            <a:cubicBezTo>
                              <a:pt x="884644" y="365219"/>
                              <a:pt x="884237" y="365382"/>
                              <a:pt x="883509" y="365358"/>
                            </a:cubicBezTo>
                            <a:cubicBezTo>
                              <a:pt x="882705" y="365325"/>
                              <a:pt x="882542" y="365162"/>
                              <a:pt x="883092" y="364942"/>
                            </a:cubicBezTo>
                            <a:close/>
                            <a:moveTo>
                              <a:pt x="985893" y="364934"/>
                            </a:moveTo>
                            <a:cubicBezTo>
                              <a:pt x="986391" y="364739"/>
                              <a:pt x="986986" y="364763"/>
                              <a:pt x="987216" y="364991"/>
                            </a:cubicBezTo>
                            <a:cubicBezTo>
                              <a:pt x="987445" y="365219"/>
                              <a:pt x="987037" y="365382"/>
                              <a:pt x="986310" y="365358"/>
                            </a:cubicBezTo>
                            <a:cubicBezTo>
                              <a:pt x="985506" y="365325"/>
                              <a:pt x="985343" y="365162"/>
                              <a:pt x="985893" y="364942"/>
                            </a:cubicBezTo>
                            <a:close/>
                            <a:moveTo>
                              <a:pt x="873433" y="364250"/>
                            </a:moveTo>
                            <a:cubicBezTo>
                              <a:pt x="873931" y="364046"/>
                              <a:pt x="874526" y="364071"/>
                              <a:pt x="874755" y="364307"/>
                            </a:cubicBezTo>
                            <a:cubicBezTo>
                              <a:pt x="874984" y="364535"/>
                              <a:pt x="874577" y="364698"/>
                              <a:pt x="873850" y="364665"/>
                            </a:cubicBezTo>
                            <a:cubicBezTo>
                              <a:pt x="873046" y="364633"/>
                              <a:pt x="872883" y="364470"/>
                              <a:pt x="873433" y="364250"/>
                            </a:cubicBezTo>
                            <a:close/>
                            <a:moveTo>
                              <a:pt x="938244" y="364266"/>
                            </a:moveTo>
                            <a:cubicBezTo>
                              <a:pt x="938718" y="364071"/>
                              <a:pt x="939495" y="364071"/>
                              <a:pt x="939969" y="364266"/>
                            </a:cubicBezTo>
                            <a:cubicBezTo>
                              <a:pt x="940443" y="364453"/>
                              <a:pt x="940056" y="364608"/>
                              <a:pt x="939106" y="364608"/>
                            </a:cubicBezTo>
                            <a:cubicBezTo>
                              <a:pt x="938158" y="364608"/>
                              <a:pt x="937770" y="364453"/>
                              <a:pt x="938244" y="364266"/>
                            </a:cubicBezTo>
                            <a:close/>
                            <a:moveTo>
                              <a:pt x="979309" y="364242"/>
                            </a:moveTo>
                            <a:cubicBezTo>
                              <a:pt x="979980" y="364062"/>
                              <a:pt x="980912" y="364079"/>
                              <a:pt x="981379" y="364266"/>
                            </a:cubicBezTo>
                            <a:cubicBezTo>
                              <a:pt x="981845" y="364453"/>
                              <a:pt x="981296" y="364592"/>
                              <a:pt x="980158" y="364584"/>
                            </a:cubicBezTo>
                            <a:cubicBezTo>
                              <a:pt x="979019" y="364568"/>
                              <a:pt x="978637" y="364413"/>
                              <a:pt x="979309" y="364233"/>
                            </a:cubicBezTo>
                            <a:close/>
                            <a:moveTo>
                              <a:pt x="864421" y="363573"/>
                            </a:moveTo>
                            <a:cubicBezTo>
                              <a:pt x="864895" y="363378"/>
                              <a:pt x="865671" y="363378"/>
                              <a:pt x="866145" y="363573"/>
                            </a:cubicBezTo>
                            <a:cubicBezTo>
                              <a:pt x="866620" y="363761"/>
                              <a:pt x="866232" y="363916"/>
                              <a:pt x="865283" y="363916"/>
                            </a:cubicBezTo>
                            <a:cubicBezTo>
                              <a:pt x="864335" y="363916"/>
                              <a:pt x="863947" y="363761"/>
                              <a:pt x="864421" y="363573"/>
                            </a:cubicBezTo>
                            <a:close/>
                            <a:moveTo>
                              <a:pt x="954112" y="363516"/>
                            </a:moveTo>
                            <a:cubicBezTo>
                              <a:pt x="957623" y="363386"/>
                              <a:pt x="963366" y="363386"/>
                              <a:pt x="966877" y="363516"/>
                            </a:cubicBezTo>
                            <a:cubicBezTo>
                              <a:pt x="970387" y="363639"/>
                              <a:pt x="967515" y="363736"/>
                              <a:pt x="960495" y="363736"/>
                            </a:cubicBezTo>
                            <a:cubicBezTo>
                              <a:pt x="953474" y="363736"/>
                              <a:pt x="950603" y="363639"/>
                              <a:pt x="954112" y="363516"/>
                            </a:cubicBezTo>
                            <a:close/>
                            <a:moveTo>
                              <a:pt x="858944" y="362864"/>
                            </a:moveTo>
                            <a:cubicBezTo>
                              <a:pt x="859443" y="362669"/>
                              <a:pt x="860038" y="362693"/>
                              <a:pt x="860267" y="362921"/>
                            </a:cubicBezTo>
                            <a:cubicBezTo>
                              <a:pt x="860496" y="363150"/>
                              <a:pt x="860088" y="363313"/>
                              <a:pt x="859361" y="363288"/>
                            </a:cubicBezTo>
                            <a:cubicBezTo>
                              <a:pt x="858557" y="363256"/>
                              <a:pt x="858394" y="363093"/>
                              <a:pt x="858944" y="362873"/>
                            </a:cubicBezTo>
                            <a:close/>
                            <a:moveTo>
                              <a:pt x="832727" y="362172"/>
                            </a:moveTo>
                            <a:cubicBezTo>
                              <a:pt x="833225" y="361976"/>
                              <a:pt x="833819" y="362001"/>
                              <a:pt x="834049" y="362229"/>
                            </a:cubicBezTo>
                            <a:cubicBezTo>
                              <a:pt x="834278" y="362465"/>
                              <a:pt x="833871" y="362628"/>
                              <a:pt x="833144" y="362596"/>
                            </a:cubicBezTo>
                            <a:cubicBezTo>
                              <a:pt x="832340" y="362563"/>
                              <a:pt x="832177" y="362400"/>
                              <a:pt x="832727" y="362180"/>
                            </a:cubicBezTo>
                            <a:close/>
                            <a:moveTo>
                              <a:pt x="852002" y="362188"/>
                            </a:moveTo>
                            <a:cubicBezTo>
                              <a:pt x="852476" y="362001"/>
                              <a:pt x="853252" y="362001"/>
                              <a:pt x="853726" y="362188"/>
                            </a:cubicBezTo>
                            <a:cubicBezTo>
                              <a:pt x="854201" y="362384"/>
                              <a:pt x="853813" y="362538"/>
                              <a:pt x="852864" y="362538"/>
                            </a:cubicBezTo>
                            <a:cubicBezTo>
                              <a:pt x="851916" y="362538"/>
                              <a:pt x="851528" y="362384"/>
                              <a:pt x="852002" y="362188"/>
                            </a:cubicBezTo>
                            <a:close/>
                            <a:moveTo>
                              <a:pt x="840963" y="361471"/>
                            </a:moveTo>
                            <a:cubicBezTo>
                              <a:pt x="841817" y="361308"/>
                              <a:pt x="843213" y="361308"/>
                              <a:pt x="844067" y="361471"/>
                            </a:cubicBezTo>
                            <a:cubicBezTo>
                              <a:pt x="844921" y="361634"/>
                              <a:pt x="844223" y="361772"/>
                              <a:pt x="842515" y="361772"/>
                            </a:cubicBezTo>
                            <a:cubicBezTo>
                              <a:pt x="840808" y="361772"/>
                              <a:pt x="840109" y="361634"/>
                              <a:pt x="840963" y="361471"/>
                            </a:cubicBezTo>
                            <a:close/>
                            <a:moveTo>
                              <a:pt x="648643" y="257781"/>
                            </a:moveTo>
                            <a:cubicBezTo>
                              <a:pt x="648021" y="257379"/>
                              <a:pt x="647935" y="257107"/>
                              <a:pt x="648429" y="257102"/>
                            </a:cubicBezTo>
                            <a:cubicBezTo>
                              <a:pt x="648881" y="257094"/>
                              <a:pt x="649443" y="257402"/>
                              <a:pt x="649678" y="257781"/>
                            </a:cubicBezTo>
                            <a:cubicBezTo>
                              <a:pt x="650206" y="258637"/>
                              <a:pt x="649968" y="258637"/>
                              <a:pt x="648643" y="257781"/>
                            </a:cubicBezTo>
                            <a:close/>
                            <a:moveTo>
                              <a:pt x="641570" y="256634"/>
                            </a:moveTo>
                            <a:cubicBezTo>
                              <a:pt x="642045" y="256443"/>
                              <a:pt x="642821" y="256443"/>
                              <a:pt x="643295" y="256634"/>
                            </a:cubicBezTo>
                            <a:cubicBezTo>
                              <a:pt x="643770" y="256826"/>
                              <a:pt x="643382" y="256982"/>
                              <a:pt x="642433" y="256982"/>
                            </a:cubicBezTo>
                            <a:cubicBezTo>
                              <a:pt x="641485" y="256982"/>
                              <a:pt x="641096" y="256826"/>
                              <a:pt x="641570" y="256634"/>
                            </a:cubicBezTo>
                            <a:close/>
                            <a:moveTo>
                              <a:pt x="636094" y="255930"/>
                            </a:moveTo>
                            <a:cubicBezTo>
                              <a:pt x="636592" y="255730"/>
                              <a:pt x="637187" y="255755"/>
                              <a:pt x="637417" y="255985"/>
                            </a:cubicBezTo>
                            <a:cubicBezTo>
                              <a:pt x="637646" y="256214"/>
                              <a:pt x="637238" y="256377"/>
                              <a:pt x="636511" y="256346"/>
                            </a:cubicBezTo>
                            <a:cubicBezTo>
                              <a:pt x="635707" y="256313"/>
                              <a:pt x="635544" y="256150"/>
                              <a:pt x="636094" y="255930"/>
                            </a:cubicBezTo>
                            <a:close/>
                            <a:moveTo>
                              <a:pt x="625745" y="254550"/>
                            </a:moveTo>
                            <a:cubicBezTo>
                              <a:pt x="626243" y="254351"/>
                              <a:pt x="626838" y="254375"/>
                              <a:pt x="627068" y="254604"/>
                            </a:cubicBezTo>
                            <a:cubicBezTo>
                              <a:pt x="627297" y="254834"/>
                              <a:pt x="626889" y="254997"/>
                              <a:pt x="626162" y="254967"/>
                            </a:cubicBezTo>
                            <a:cubicBezTo>
                              <a:pt x="625358" y="254933"/>
                              <a:pt x="625195" y="254770"/>
                              <a:pt x="625745" y="254550"/>
                            </a:cubicBezTo>
                            <a:close/>
                            <a:moveTo>
                              <a:pt x="616776" y="253170"/>
                            </a:moveTo>
                            <a:cubicBezTo>
                              <a:pt x="617274" y="252970"/>
                              <a:pt x="617869" y="252995"/>
                              <a:pt x="618098" y="253225"/>
                            </a:cubicBezTo>
                            <a:cubicBezTo>
                              <a:pt x="618327" y="253454"/>
                              <a:pt x="617920" y="253617"/>
                              <a:pt x="617193" y="253587"/>
                            </a:cubicBezTo>
                            <a:cubicBezTo>
                              <a:pt x="616389" y="253554"/>
                              <a:pt x="616226" y="253390"/>
                              <a:pt x="616776" y="253170"/>
                            </a:cubicBezTo>
                            <a:close/>
                            <a:moveTo>
                              <a:pt x="1228365" y="228288"/>
                            </a:moveTo>
                            <a:cubicBezTo>
                              <a:pt x="1233198" y="228169"/>
                              <a:pt x="1241118" y="228169"/>
                              <a:pt x="1245959" y="228288"/>
                            </a:cubicBezTo>
                            <a:cubicBezTo>
                              <a:pt x="1250791" y="228406"/>
                              <a:pt x="1246839" y="228503"/>
                              <a:pt x="1237158" y="228503"/>
                            </a:cubicBezTo>
                            <a:cubicBezTo>
                              <a:pt x="1227485" y="228503"/>
                              <a:pt x="1223525" y="228406"/>
                              <a:pt x="1228365" y="228288"/>
                            </a:cubicBezTo>
                            <a:close/>
                            <a:moveTo>
                              <a:pt x="1208352" y="227638"/>
                            </a:moveTo>
                            <a:cubicBezTo>
                              <a:pt x="1209020" y="227464"/>
                              <a:pt x="1210104" y="227464"/>
                              <a:pt x="1210772" y="227638"/>
                            </a:cubicBezTo>
                            <a:cubicBezTo>
                              <a:pt x="1211432" y="227811"/>
                              <a:pt x="1210894" y="227953"/>
                              <a:pt x="1209566" y="227953"/>
                            </a:cubicBezTo>
                            <a:cubicBezTo>
                              <a:pt x="1208238" y="227953"/>
                              <a:pt x="1207692" y="227811"/>
                              <a:pt x="1208352" y="227638"/>
                            </a:cubicBezTo>
                            <a:close/>
                            <a:moveTo>
                              <a:pt x="1263560" y="227638"/>
                            </a:moveTo>
                            <a:cubicBezTo>
                              <a:pt x="1264237" y="227463"/>
                              <a:pt x="1265166" y="227474"/>
                              <a:pt x="1265630" y="227663"/>
                            </a:cubicBezTo>
                            <a:cubicBezTo>
                              <a:pt x="1266103" y="227852"/>
                              <a:pt x="1265549" y="227995"/>
                              <a:pt x="1264416" y="227981"/>
                            </a:cubicBezTo>
                            <a:cubicBezTo>
                              <a:pt x="1263275" y="227967"/>
                              <a:pt x="1262892" y="227812"/>
                              <a:pt x="1263560" y="227638"/>
                            </a:cubicBezTo>
                            <a:close/>
                            <a:moveTo>
                              <a:pt x="1196968" y="226969"/>
                            </a:moveTo>
                            <a:cubicBezTo>
                              <a:pt x="1197448" y="226777"/>
                              <a:pt x="1198223" y="226777"/>
                              <a:pt x="1198695" y="226969"/>
                            </a:cubicBezTo>
                            <a:cubicBezTo>
                              <a:pt x="1199168" y="227160"/>
                              <a:pt x="1198785" y="227317"/>
                              <a:pt x="1197832" y="227317"/>
                            </a:cubicBezTo>
                            <a:cubicBezTo>
                              <a:pt x="1196886" y="227317"/>
                              <a:pt x="1196495" y="227160"/>
                              <a:pt x="1196968" y="226969"/>
                            </a:cubicBezTo>
                            <a:close/>
                            <a:moveTo>
                              <a:pt x="1274244" y="226969"/>
                            </a:moveTo>
                            <a:cubicBezTo>
                              <a:pt x="1274716" y="226777"/>
                              <a:pt x="1275498" y="226777"/>
                              <a:pt x="1275971" y="226969"/>
                            </a:cubicBezTo>
                            <a:cubicBezTo>
                              <a:pt x="1276444" y="227160"/>
                              <a:pt x="1276053" y="227317"/>
                              <a:pt x="1275107" y="227317"/>
                            </a:cubicBezTo>
                            <a:cubicBezTo>
                              <a:pt x="1274154" y="227317"/>
                              <a:pt x="1273771" y="227160"/>
                              <a:pt x="1274244" y="226969"/>
                            </a:cubicBezTo>
                            <a:close/>
                            <a:moveTo>
                              <a:pt x="714359" y="226242"/>
                            </a:moveTo>
                            <a:cubicBezTo>
                              <a:pt x="715402" y="226084"/>
                              <a:pt x="717110" y="226084"/>
                              <a:pt x="718153" y="226242"/>
                            </a:cubicBezTo>
                            <a:cubicBezTo>
                              <a:pt x="719197" y="226400"/>
                              <a:pt x="718343" y="226530"/>
                              <a:pt x="716256" y="226530"/>
                            </a:cubicBezTo>
                            <a:cubicBezTo>
                              <a:pt x="714169" y="226530"/>
                              <a:pt x="713315" y="226400"/>
                              <a:pt x="714359" y="226242"/>
                            </a:cubicBezTo>
                            <a:close/>
                            <a:moveTo>
                              <a:pt x="1189047" y="226257"/>
                            </a:moveTo>
                            <a:cubicBezTo>
                              <a:pt x="1189723" y="226082"/>
                              <a:pt x="1190652" y="226094"/>
                              <a:pt x="1191117" y="226283"/>
                            </a:cubicBezTo>
                            <a:cubicBezTo>
                              <a:pt x="1191589" y="226472"/>
                              <a:pt x="1191035" y="226614"/>
                              <a:pt x="1189903" y="226601"/>
                            </a:cubicBezTo>
                            <a:cubicBezTo>
                              <a:pt x="1188762" y="226587"/>
                              <a:pt x="1188379" y="226432"/>
                              <a:pt x="1189047" y="226257"/>
                            </a:cubicBezTo>
                            <a:close/>
                            <a:moveTo>
                              <a:pt x="1282881" y="226257"/>
                            </a:moveTo>
                            <a:cubicBezTo>
                              <a:pt x="1283550" y="226082"/>
                              <a:pt x="1284487" y="226094"/>
                              <a:pt x="1284951" y="226283"/>
                            </a:cubicBezTo>
                            <a:cubicBezTo>
                              <a:pt x="1285416" y="226472"/>
                              <a:pt x="1284870" y="226614"/>
                              <a:pt x="1283729" y="226601"/>
                            </a:cubicBezTo>
                            <a:cubicBezTo>
                              <a:pt x="1282596" y="226587"/>
                              <a:pt x="1282213" y="226432"/>
                              <a:pt x="1282881" y="226257"/>
                            </a:cubicBezTo>
                            <a:close/>
                            <a:moveTo>
                              <a:pt x="700223" y="225557"/>
                            </a:moveTo>
                            <a:cubicBezTo>
                              <a:pt x="701082" y="225393"/>
                              <a:pt x="702323" y="225399"/>
                              <a:pt x="702983" y="225571"/>
                            </a:cubicBezTo>
                            <a:cubicBezTo>
                              <a:pt x="703643" y="225744"/>
                              <a:pt x="702941" y="225879"/>
                              <a:pt x="701423" y="225871"/>
                            </a:cubicBezTo>
                            <a:cubicBezTo>
                              <a:pt x="699905" y="225864"/>
                              <a:pt x="699365" y="225722"/>
                              <a:pt x="700223" y="225557"/>
                            </a:cubicBezTo>
                            <a:close/>
                            <a:moveTo>
                              <a:pt x="1181795" y="225588"/>
                            </a:moveTo>
                            <a:cubicBezTo>
                              <a:pt x="1182267" y="225397"/>
                              <a:pt x="1183041" y="225397"/>
                              <a:pt x="1183514" y="225588"/>
                            </a:cubicBezTo>
                            <a:cubicBezTo>
                              <a:pt x="1183995" y="225780"/>
                              <a:pt x="1183604" y="225936"/>
                              <a:pt x="1182658" y="225936"/>
                            </a:cubicBezTo>
                            <a:cubicBezTo>
                              <a:pt x="1181705" y="225936"/>
                              <a:pt x="1181322" y="225780"/>
                              <a:pt x="1181795" y="225588"/>
                            </a:cubicBezTo>
                            <a:close/>
                            <a:moveTo>
                              <a:pt x="689866" y="224898"/>
                            </a:moveTo>
                            <a:cubicBezTo>
                              <a:pt x="690341" y="224708"/>
                              <a:pt x="691117" y="224708"/>
                              <a:pt x="691591" y="224898"/>
                            </a:cubicBezTo>
                            <a:cubicBezTo>
                              <a:pt x="692066" y="225090"/>
                              <a:pt x="691678" y="225247"/>
                              <a:pt x="690728" y="225247"/>
                            </a:cubicBezTo>
                            <a:cubicBezTo>
                              <a:pt x="689780" y="225247"/>
                              <a:pt x="689392" y="225090"/>
                              <a:pt x="689866" y="224898"/>
                            </a:cubicBezTo>
                            <a:close/>
                            <a:moveTo>
                              <a:pt x="1176318" y="224884"/>
                            </a:moveTo>
                            <a:cubicBezTo>
                              <a:pt x="1176816" y="224685"/>
                              <a:pt x="1177410" y="224709"/>
                              <a:pt x="1177639" y="224938"/>
                            </a:cubicBezTo>
                            <a:cubicBezTo>
                              <a:pt x="1177867" y="225168"/>
                              <a:pt x="1177459" y="225331"/>
                              <a:pt x="1176734" y="225301"/>
                            </a:cubicBezTo>
                            <a:cubicBezTo>
                              <a:pt x="1175927" y="225267"/>
                              <a:pt x="1175764" y="225104"/>
                              <a:pt x="1176318" y="224884"/>
                            </a:cubicBezTo>
                            <a:close/>
                            <a:moveTo>
                              <a:pt x="1295634" y="224898"/>
                            </a:moveTo>
                            <a:cubicBezTo>
                              <a:pt x="1296107" y="224708"/>
                              <a:pt x="1296881" y="224708"/>
                              <a:pt x="1297354" y="224898"/>
                            </a:cubicBezTo>
                            <a:cubicBezTo>
                              <a:pt x="1297835" y="225090"/>
                              <a:pt x="1297443" y="225247"/>
                              <a:pt x="1296498" y="225247"/>
                            </a:cubicBezTo>
                            <a:cubicBezTo>
                              <a:pt x="1295545" y="225247"/>
                              <a:pt x="1295162" y="225090"/>
                              <a:pt x="1295634" y="224898"/>
                            </a:cubicBezTo>
                            <a:close/>
                            <a:moveTo>
                              <a:pt x="679875" y="224188"/>
                            </a:moveTo>
                            <a:cubicBezTo>
                              <a:pt x="680546" y="224012"/>
                              <a:pt x="681478" y="224024"/>
                              <a:pt x="681945" y="224213"/>
                            </a:cubicBezTo>
                            <a:cubicBezTo>
                              <a:pt x="682412" y="224402"/>
                              <a:pt x="681863" y="224545"/>
                              <a:pt x="680725" y="224531"/>
                            </a:cubicBezTo>
                            <a:cubicBezTo>
                              <a:pt x="679586" y="224517"/>
                              <a:pt x="679204" y="224362"/>
                              <a:pt x="679875" y="224187"/>
                            </a:cubicBezTo>
                            <a:close/>
                            <a:moveTo>
                              <a:pt x="1170794" y="224194"/>
                            </a:moveTo>
                            <a:cubicBezTo>
                              <a:pt x="1171291" y="223995"/>
                              <a:pt x="1171894" y="224020"/>
                              <a:pt x="1172122" y="224249"/>
                            </a:cubicBezTo>
                            <a:cubicBezTo>
                              <a:pt x="1172350" y="224479"/>
                              <a:pt x="1171943" y="224642"/>
                              <a:pt x="1171217" y="224611"/>
                            </a:cubicBezTo>
                            <a:cubicBezTo>
                              <a:pt x="1170411" y="224578"/>
                              <a:pt x="1170248" y="224415"/>
                              <a:pt x="1170794" y="224194"/>
                            </a:cubicBezTo>
                            <a:close/>
                            <a:moveTo>
                              <a:pt x="670906" y="223497"/>
                            </a:moveTo>
                            <a:cubicBezTo>
                              <a:pt x="671578" y="223323"/>
                              <a:pt x="672509" y="223335"/>
                              <a:pt x="672976" y="223523"/>
                            </a:cubicBezTo>
                            <a:cubicBezTo>
                              <a:pt x="673443" y="223712"/>
                              <a:pt x="672894" y="223855"/>
                              <a:pt x="671755" y="223841"/>
                            </a:cubicBezTo>
                            <a:cubicBezTo>
                              <a:pt x="670617" y="223827"/>
                              <a:pt x="670235" y="223672"/>
                              <a:pt x="670906" y="223497"/>
                            </a:cubicBezTo>
                            <a:close/>
                            <a:moveTo>
                              <a:pt x="1165969" y="223505"/>
                            </a:moveTo>
                            <a:cubicBezTo>
                              <a:pt x="1166467" y="223305"/>
                              <a:pt x="1167061" y="223330"/>
                              <a:pt x="1167290" y="223559"/>
                            </a:cubicBezTo>
                            <a:cubicBezTo>
                              <a:pt x="1167518" y="223788"/>
                              <a:pt x="1167110" y="223951"/>
                              <a:pt x="1166385" y="223921"/>
                            </a:cubicBezTo>
                            <a:cubicBezTo>
                              <a:pt x="1165578" y="223888"/>
                              <a:pt x="1165415" y="223725"/>
                              <a:pt x="1165969" y="223505"/>
                            </a:cubicBezTo>
                            <a:close/>
                            <a:moveTo>
                              <a:pt x="663649" y="222829"/>
                            </a:moveTo>
                            <a:cubicBezTo>
                              <a:pt x="664123" y="222638"/>
                              <a:pt x="664899" y="222638"/>
                              <a:pt x="665373" y="222829"/>
                            </a:cubicBezTo>
                            <a:cubicBezTo>
                              <a:pt x="665848" y="223021"/>
                              <a:pt x="665460" y="223177"/>
                              <a:pt x="664511" y="223177"/>
                            </a:cubicBezTo>
                            <a:cubicBezTo>
                              <a:pt x="663562" y="223177"/>
                              <a:pt x="663175" y="223021"/>
                              <a:pt x="663649" y="222829"/>
                            </a:cubicBezTo>
                            <a:close/>
                            <a:moveTo>
                              <a:pt x="1310856" y="222815"/>
                            </a:moveTo>
                            <a:cubicBezTo>
                              <a:pt x="1311354" y="222615"/>
                              <a:pt x="1311948" y="222639"/>
                              <a:pt x="1312177" y="222869"/>
                            </a:cubicBezTo>
                            <a:cubicBezTo>
                              <a:pt x="1312405" y="223098"/>
                              <a:pt x="1311997" y="223261"/>
                              <a:pt x="1311272" y="223231"/>
                            </a:cubicBezTo>
                            <a:cubicBezTo>
                              <a:pt x="1310465" y="223198"/>
                              <a:pt x="1310302" y="223035"/>
                              <a:pt x="1310856" y="222815"/>
                            </a:cubicBezTo>
                            <a:close/>
                            <a:moveTo>
                              <a:pt x="656749" y="222139"/>
                            </a:moveTo>
                            <a:cubicBezTo>
                              <a:pt x="657223" y="221948"/>
                              <a:pt x="658000" y="221948"/>
                              <a:pt x="658474" y="222139"/>
                            </a:cubicBezTo>
                            <a:cubicBezTo>
                              <a:pt x="658949" y="222331"/>
                              <a:pt x="658561" y="222488"/>
                              <a:pt x="657611" y="222488"/>
                            </a:cubicBezTo>
                            <a:cubicBezTo>
                              <a:pt x="656663" y="222488"/>
                              <a:pt x="656275" y="222331"/>
                              <a:pt x="656749" y="222139"/>
                            </a:cubicBezTo>
                            <a:close/>
                            <a:moveTo>
                              <a:pt x="1314996" y="222124"/>
                            </a:moveTo>
                            <a:cubicBezTo>
                              <a:pt x="1315493" y="221926"/>
                              <a:pt x="1316088" y="221950"/>
                              <a:pt x="1316316" y="222179"/>
                            </a:cubicBezTo>
                            <a:cubicBezTo>
                              <a:pt x="1316544" y="222409"/>
                              <a:pt x="1316137" y="222572"/>
                              <a:pt x="1315412" y="222542"/>
                            </a:cubicBezTo>
                            <a:cubicBezTo>
                              <a:pt x="1314605" y="222508"/>
                              <a:pt x="1314442" y="222345"/>
                              <a:pt x="1314996" y="222125"/>
                            </a:cubicBezTo>
                            <a:close/>
                            <a:moveTo>
                              <a:pt x="650540" y="221449"/>
                            </a:moveTo>
                            <a:cubicBezTo>
                              <a:pt x="651014" y="221257"/>
                              <a:pt x="651791" y="221257"/>
                              <a:pt x="652265" y="221449"/>
                            </a:cubicBezTo>
                            <a:cubicBezTo>
                              <a:pt x="652739" y="221640"/>
                              <a:pt x="652351" y="221797"/>
                              <a:pt x="651402" y="221797"/>
                            </a:cubicBezTo>
                            <a:cubicBezTo>
                              <a:pt x="650453" y="221797"/>
                              <a:pt x="650065" y="221640"/>
                              <a:pt x="650540" y="221449"/>
                            </a:cubicBezTo>
                            <a:close/>
                            <a:moveTo>
                              <a:pt x="639500" y="220069"/>
                            </a:moveTo>
                            <a:cubicBezTo>
                              <a:pt x="639975" y="219878"/>
                              <a:pt x="640751" y="219878"/>
                              <a:pt x="641226" y="220069"/>
                            </a:cubicBezTo>
                            <a:cubicBezTo>
                              <a:pt x="641700" y="220261"/>
                              <a:pt x="641312" y="220417"/>
                              <a:pt x="640363" y="220417"/>
                            </a:cubicBezTo>
                            <a:cubicBezTo>
                              <a:pt x="639415" y="220417"/>
                              <a:pt x="639026" y="220261"/>
                              <a:pt x="639500" y="220069"/>
                            </a:cubicBezTo>
                            <a:close/>
                            <a:moveTo>
                              <a:pt x="1144579" y="220055"/>
                            </a:moveTo>
                            <a:cubicBezTo>
                              <a:pt x="1145076" y="219856"/>
                              <a:pt x="1145671" y="219880"/>
                              <a:pt x="1145899" y="220109"/>
                            </a:cubicBezTo>
                            <a:cubicBezTo>
                              <a:pt x="1146127" y="220339"/>
                              <a:pt x="1145719" y="220502"/>
                              <a:pt x="1144994" y="220472"/>
                            </a:cubicBezTo>
                            <a:cubicBezTo>
                              <a:pt x="1144196" y="220438"/>
                              <a:pt x="1144024" y="220275"/>
                              <a:pt x="1144579" y="220055"/>
                            </a:cubicBezTo>
                            <a:close/>
                            <a:moveTo>
                              <a:pt x="1231845" y="192414"/>
                            </a:moveTo>
                            <a:cubicBezTo>
                              <a:pt x="1235186" y="192287"/>
                              <a:pt x="1240466" y="192288"/>
                              <a:pt x="1243579" y="192414"/>
                            </a:cubicBezTo>
                            <a:cubicBezTo>
                              <a:pt x="1246684" y="192542"/>
                              <a:pt x="1243954" y="192646"/>
                              <a:pt x="1237508" y="192645"/>
                            </a:cubicBezTo>
                            <a:cubicBezTo>
                              <a:pt x="1231054" y="192645"/>
                              <a:pt x="1228504" y="192540"/>
                              <a:pt x="1231845" y="192413"/>
                            </a:cubicBezTo>
                            <a:close/>
                            <a:moveTo>
                              <a:pt x="1211122" y="191744"/>
                            </a:moveTo>
                            <a:cubicBezTo>
                              <a:pt x="1212174" y="191585"/>
                              <a:pt x="1213722" y="191589"/>
                              <a:pt x="1214577" y="191754"/>
                            </a:cubicBezTo>
                            <a:cubicBezTo>
                              <a:pt x="1215425" y="191917"/>
                              <a:pt x="1214569" y="192047"/>
                              <a:pt x="1212671" y="192041"/>
                            </a:cubicBezTo>
                            <a:cubicBezTo>
                              <a:pt x="1210772" y="192035"/>
                              <a:pt x="1210079" y="191903"/>
                              <a:pt x="1211122" y="191744"/>
                            </a:cubicBezTo>
                            <a:close/>
                            <a:moveTo>
                              <a:pt x="1260798" y="191744"/>
                            </a:moveTo>
                            <a:cubicBezTo>
                              <a:pt x="1261849" y="191585"/>
                              <a:pt x="1263397" y="191589"/>
                              <a:pt x="1264253" y="191754"/>
                            </a:cubicBezTo>
                            <a:cubicBezTo>
                              <a:pt x="1265100" y="191917"/>
                              <a:pt x="1264245" y="192047"/>
                              <a:pt x="1262346" y="192041"/>
                            </a:cubicBezTo>
                            <a:cubicBezTo>
                              <a:pt x="1260447" y="192035"/>
                              <a:pt x="1259755" y="191903"/>
                              <a:pt x="1260798" y="191744"/>
                            </a:cubicBezTo>
                            <a:close/>
                            <a:moveTo>
                              <a:pt x="1192502" y="190380"/>
                            </a:moveTo>
                            <a:cubicBezTo>
                              <a:pt x="1193170" y="190206"/>
                              <a:pt x="1194099" y="190217"/>
                              <a:pt x="1194572" y="190406"/>
                            </a:cubicBezTo>
                            <a:cubicBezTo>
                              <a:pt x="1195036" y="190595"/>
                              <a:pt x="1194490" y="190738"/>
                              <a:pt x="1193350" y="190723"/>
                            </a:cubicBezTo>
                            <a:cubicBezTo>
                              <a:pt x="1192209" y="190710"/>
                              <a:pt x="1191826" y="190556"/>
                              <a:pt x="1192502" y="190380"/>
                            </a:cubicBezTo>
                            <a:close/>
                            <a:moveTo>
                              <a:pt x="1280119" y="190380"/>
                            </a:moveTo>
                            <a:cubicBezTo>
                              <a:pt x="1280795" y="190206"/>
                              <a:pt x="1281724" y="190217"/>
                              <a:pt x="1282189" y="190406"/>
                            </a:cubicBezTo>
                            <a:cubicBezTo>
                              <a:pt x="1282661" y="190595"/>
                              <a:pt x="1282107" y="190738"/>
                              <a:pt x="1280974" y="190723"/>
                            </a:cubicBezTo>
                            <a:cubicBezTo>
                              <a:pt x="1279834" y="190710"/>
                              <a:pt x="1279451" y="190556"/>
                              <a:pt x="1280119" y="190380"/>
                            </a:cubicBezTo>
                            <a:close/>
                            <a:moveTo>
                              <a:pt x="968644" y="189698"/>
                            </a:moveTo>
                            <a:cubicBezTo>
                              <a:pt x="969143" y="189498"/>
                              <a:pt x="969738" y="189522"/>
                              <a:pt x="969967" y="189752"/>
                            </a:cubicBezTo>
                            <a:cubicBezTo>
                              <a:pt x="970196" y="189981"/>
                              <a:pt x="969788" y="190144"/>
                              <a:pt x="969062" y="190115"/>
                            </a:cubicBezTo>
                            <a:cubicBezTo>
                              <a:pt x="968257" y="190081"/>
                              <a:pt x="968094" y="189918"/>
                              <a:pt x="968644" y="189698"/>
                            </a:cubicBezTo>
                            <a:close/>
                            <a:moveTo>
                              <a:pt x="1185242" y="189712"/>
                            </a:moveTo>
                            <a:cubicBezTo>
                              <a:pt x="1185714" y="189521"/>
                              <a:pt x="1186496" y="189521"/>
                              <a:pt x="1186969" y="189712"/>
                            </a:cubicBezTo>
                            <a:cubicBezTo>
                              <a:pt x="1187442" y="189904"/>
                              <a:pt x="1187051" y="190060"/>
                              <a:pt x="1186105" y="190060"/>
                            </a:cubicBezTo>
                            <a:cubicBezTo>
                              <a:pt x="1185152" y="190060"/>
                              <a:pt x="1184769" y="189904"/>
                              <a:pt x="1185242" y="189712"/>
                            </a:cubicBezTo>
                            <a:close/>
                            <a:moveTo>
                              <a:pt x="973474" y="189008"/>
                            </a:moveTo>
                            <a:cubicBezTo>
                              <a:pt x="973972" y="188809"/>
                              <a:pt x="974567" y="188833"/>
                              <a:pt x="974797" y="189063"/>
                            </a:cubicBezTo>
                            <a:cubicBezTo>
                              <a:pt x="975026" y="189292"/>
                              <a:pt x="974618" y="189455"/>
                              <a:pt x="973891" y="189425"/>
                            </a:cubicBezTo>
                            <a:cubicBezTo>
                              <a:pt x="973087" y="189391"/>
                              <a:pt x="972924" y="189228"/>
                              <a:pt x="973474" y="189008"/>
                            </a:cubicBezTo>
                            <a:close/>
                            <a:moveTo>
                              <a:pt x="1026599" y="189008"/>
                            </a:moveTo>
                            <a:cubicBezTo>
                              <a:pt x="1027098" y="188809"/>
                              <a:pt x="1027693" y="188833"/>
                              <a:pt x="1027922" y="189063"/>
                            </a:cubicBezTo>
                            <a:cubicBezTo>
                              <a:pt x="1028151" y="189292"/>
                              <a:pt x="1027743" y="189455"/>
                              <a:pt x="1027016" y="189425"/>
                            </a:cubicBezTo>
                            <a:cubicBezTo>
                              <a:pt x="1026212" y="189391"/>
                              <a:pt x="1026049" y="189228"/>
                              <a:pt x="1026599" y="189008"/>
                            </a:cubicBezTo>
                            <a:close/>
                            <a:moveTo>
                              <a:pt x="1179765" y="189008"/>
                            </a:moveTo>
                            <a:cubicBezTo>
                              <a:pt x="1180263" y="188809"/>
                              <a:pt x="1180857" y="188833"/>
                              <a:pt x="1181086" y="189063"/>
                            </a:cubicBezTo>
                            <a:cubicBezTo>
                              <a:pt x="1181314" y="189292"/>
                              <a:pt x="1180906" y="189455"/>
                              <a:pt x="1180181" y="189425"/>
                            </a:cubicBezTo>
                            <a:cubicBezTo>
                              <a:pt x="1179382" y="189391"/>
                              <a:pt x="1179211" y="189228"/>
                              <a:pt x="1179765" y="189008"/>
                            </a:cubicBezTo>
                            <a:close/>
                            <a:moveTo>
                              <a:pt x="1292913" y="189008"/>
                            </a:moveTo>
                            <a:cubicBezTo>
                              <a:pt x="1293410" y="188809"/>
                              <a:pt x="1294013" y="188833"/>
                              <a:pt x="1294241" y="189063"/>
                            </a:cubicBezTo>
                            <a:cubicBezTo>
                              <a:pt x="1294469" y="189292"/>
                              <a:pt x="1294062" y="189455"/>
                              <a:pt x="1293336" y="189425"/>
                            </a:cubicBezTo>
                            <a:cubicBezTo>
                              <a:pt x="1292530" y="189391"/>
                              <a:pt x="1292367" y="189228"/>
                              <a:pt x="1292913" y="189008"/>
                            </a:cubicBezTo>
                            <a:close/>
                            <a:moveTo>
                              <a:pt x="1174249" y="188318"/>
                            </a:moveTo>
                            <a:cubicBezTo>
                              <a:pt x="1174746" y="188118"/>
                              <a:pt x="1175341" y="188143"/>
                              <a:pt x="1175569" y="188373"/>
                            </a:cubicBezTo>
                            <a:cubicBezTo>
                              <a:pt x="1175797" y="188601"/>
                              <a:pt x="1175389" y="188765"/>
                              <a:pt x="1174664" y="188735"/>
                            </a:cubicBezTo>
                            <a:cubicBezTo>
                              <a:pt x="1173858" y="188702"/>
                              <a:pt x="1173695" y="188538"/>
                              <a:pt x="1174249" y="188318"/>
                            </a:cubicBezTo>
                            <a:close/>
                            <a:moveTo>
                              <a:pt x="1298438" y="188318"/>
                            </a:moveTo>
                            <a:cubicBezTo>
                              <a:pt x="1298935" y="188118"/>
                              <a:pt x="1299529" y="188143"/>
                              <a:pt x="1299758" y="188373"/>
                            </a:cubicBezTo>
                            <a:cubicBezTo>
                              <a:pt x="1299986" y="188601"/>
                              <a:pt x="1299578" y="188765"/>
                              <a:pt x="1298853" y="188735"/>
                            </a:cubicBezTo>
                            <a:cubicBezTo>
                              <a:pt x="1298046" y="188702"/>
                              <a:pt x="1297883" y="188538"/>
                              <a:pt x="1298438" y="188318"/>
                            </a:cubicBezTo>
                            <a:close/>
                            <a:moveTo>
                              <a:pt x="986548" y="187611"/>
                            </a:moveTo>
                            <a:cubicBezTo>
                              <a:pt x="987406" y="187446"/>
                              <a:pt x="988648" y="187453"/>
                              <a:pt x="989307" y="187625"/>
                            </a:cubicBezTo>
                            <a:cubicBezTo>
                              <a:pt x="989967" y="187798"/>
                              <a:pt x="989265" y="187932"/>
                              <a:pt x="987747" y="187925"/>
                            </a:cubicBezTo>
                            <a:cubicBezTo>
                              <a:pt x="986230" y="187918"/>
                              <a:pt x="985689" y="187776"/>
                              <a:pt x="986548" y="187611"/>
                            </a:cubicBezTo>
                            <a:close/>
                            <a:moveTo>
                              <a:pt x="1012766" y="187611"/>
                            </a:moveTo>
                            <a:cubicBezTo>
                              <a:pt x="1013624" y="187446"/>
                              <a:pt x="1014866" y="187453"/>
                              <a:pt x="1015526" y="187625"/>
                            </a:cubicBezTo>
                            <a:cubicBezTo>
                              <a:pt x="1016185" y="187798"/>
                              <a:pt x="1015482" y="187932"/>
                              <a:pt x="1013965" y="187925"/>
                            </a:cubicBezTo>
                            <a:cubicBezTo>
                              <a:pt x="1012447" y="187918"/>
                              <a:pt x="1011907" y="187776"/>
                              <a:pt x="1012766" y="187611"/>
                            </a:cubicBezTo>
                            <a:close/>
                            <a:moveTo>
                              <a:pt x="1169416" y="187628"/>
                            </a:moveTo>
                            <a:cubicBezTo>
                              <a:pt x="1169913" y="187428"/>
                              <a:pt x="1170508" y="187453"/>
                              <a:pt x="1170736" y="187682"/>
                            </a:cubicBezTo>
                            <a:cubicBezTo>
                              <a:pt x="1170965" y="187911"/>
                              <a:pt x="1170557" y="188074"/>
                              <a:pt x="1169832" y="188045"/>
                            </a:cubicBezTo>
                            <a:cubicBezTo>
                              <a:pt x="1169033" y="188012"/>
                              <a:pt x="1168862" y="187848"/>
                              <a:pt x="1169416" y="187628"/>
                            </a:cubicBezTo>
                            <a:close/>
                            <a:moveTo>
                              <a:pt x="1164584" y="186937"/>
                            </a:moveTo>
                            <a:cubicBezTo>
                              <a:pt x="1165081" y="186739"/>
                              <a:pt x="1165684" y="186763"/>
                              <a:pt x="1165912" y="186992"/>
                            </a:cubicBezTo>
                            <a:cubicBezTo>
                              <a:pt x="1166141" y="187221"/>
                              <a:pt x="1165733" y="187385"/>
                              <a:pt x="1165008" y="187355"/>
                            </a:cubicBezTo>
                            <a:cubicBezTo>
                              <a:pt x="1164201" y="187321"/>
                              <a:pt x="1164038" y="187158"/>
                              <a:pt x="1164584" y="186937"/>
                            </a:cubicBezTo>
                            <a:close/>
                            <a:moveTo>
                              <a:pt x="1307401" y="186937"/>
                            </a:moveTo>
                            <a:cubicBezTo>
                              <a:pt x="1307898" y="186739"/>
                              <a:pt x="1308501" y="186763"/>
                              <a:pt x="1308730" y="186992"/>
                            </a:cubicBezTo>
                            <a:cubicBezTo>
                              <a:pt x="1308958" y="187221"/>
                              <a:pt x="1308550" y="187385"/>
                              <a:pt x="1307825" y="187355"/>
                            </a:cubicBezTo>
                            <a:cubicBezTo>
                              <a:pt x="1307018" y="187321"/>
                              <a:pt x="1306855" y="187158"/>
                              <a:pt x="1307401" y="186937"/>
                            </a:cubicBezTo>
                            <a:close/>
                            <a:moveTo>
                              <a:pt x="1311541" y="186247"/>
                            </a:moveTo>
                            <a:cubicBezTo>
                              <a:pt x="1312038" y="186048"/>
                              <a:pt x="1312641" y="186073"/>
                              <a:pt x="1312869" y="186302"/>
                            </a:cubicBezTo>
                            <a:cubicBezTo>
                              <a:pt x="1313097" y="186532"/>
                              <a:pt x="1312690" y="186695"/>
                              <a:pt x="1311965" y="186665"/>
                            </a:cubicBezTo>
                            <a:cubicBezTo>
                              <a:pt x="1311158" y="186631"/>
                              <a:pt x="1310995" y="186468"/>
                              <a:pt x="1311541" y="186248"/>
                            </a:cubicBezTo>
                            <a:close/>
                            <a:moveTo>
                              <a:pt x="953466" y="155890"/>
                            </a:moveTo>
                            <a:cubicBezTo>
                              <a:pt x="953964" y="155691"/>
                              <a:pt x="954559" y="155716"/>
                              <a:pt x="954788" y="155945"/>
                            </a:cubicBezTo>
                            <a:cubicBezTo>
                              <a:pt x="955018" y="156175"/>
                              <a:pt x="954610" y="156338"/>
                              <a:pt x="953883" y="156308"/>
                            </a:cubicBezTo>
                            <a:cubicBezTo>
                              <a:pt x="953079" y="156274"/>
                              <a:pt x="952915" y="156111"/>
                              <a:pt x="953466" y="155891"/>
                            </a:cubicBezTo>
                            <a:close/>
                            <a:moveTo>
                              <a:pt x="965842" y="153835"/>
                            </a:moveTo>
                            <a:cubicBezTo>
                              <a:pt x="966316" y="153644"/>
                              <a:pt x="967092" y="153644"/>
                              <a:pt x="967566" y="153835"/>
                            </a:cubicBezTo>
                            <a:cubicBezTo>
                              <a:pt x="968041" y="154027"/>
                              <a:pt x="967653" y="154183"/>
                              <a:pt x="966704" y="154183"/>
                            </a:cubicBezTo>
                            <a:cubicBezTo>
                              <a:pt x="965756" y="154183"/>
                              <a:pt x="965368" y="154027"/>
                              <a:pt x="965842" y="153835"/>
                            </a:cubicBezTo>
                            <a:close/>
                            <a:moveTo>
                              <a:pt x="1033499" y="153820"/>
                            </a:moveTo>
                            <a:cubicBezTo>
                              <a:pt x="1033997" y="153621"/>
                              <a:pt x="1034592" y="153646"/>
                              <a:pt x="1034821" y="153875"/>
                            </a:cubicBezTo>
                            <a:cubicBezTo>
                              <a:pt x="1035050" y="154104"/>
                              <a:pt x="1034643" y="154268"/>
                              <a:pt x="1033916" y="154238"/>
                            </a:cubicBezTo>
                            <a:cubicBezTo>
                              <a:pt x="1033112" y="154204"/>
                              <a:pt x="1032949" y="154041"/>
                              <a:pt x="1033499" y="153820"/>
                            </a:cubicBezTo>
                            <a:close/>
                            <a:moveTo>
                              <a:pt x="977928" y="152434"/>
                            </a:moveTo>
                            <a:cubicBezTo>
                              <a:pt x="978600" y="152259"/>
                              <a:pt x="979531" y="152271"/>
                              <a:pt x="979999" y="152459"/>
                            </a:cubicBezTo>
                            <a:cubicBezTo>
                              <a:pt x="980466" y="152648"/>
                              <a:pt x="979917" y="152791"/>
                              <a:pt x="978778" y="152777"/>
                            </a:cubicBezTo>
                            <a:cubicBezTo>
                              <a:pt x="977640" y="152764"/>
                              <a:pt x="977258" y="152609"/>
                              <a:pt x="977928" y="152434"/>
                            </a:cubicBezTo>
                            <a:close/>
                            <a:moveTo>
                              <a:pt x="1021727" y="152455"/>
                            </a:moveTo>
                            <a:cubicBezTo>
                              <a:pt x="1022201" y="152263"/>
                              <a:pt x="1022977" y="152263"/>
                              <a:pt x="1023451" y="152455"/>
                            </a:cubicBezTo>
                            <a:cubicBezTo>
                              <a:pt x="1023926" y="152646"/>
                              <a:pt x="1023538" y="152803"/>
                              <a:pt x="1022589" y="152803"/>
                            </a:cubicBezTo>
                            <a:cubicBezTo>
                              <a:pt x="1021641" y="152803"/>
                              <a:pt x="1021253" y="152646"/>
                              <a:pt x="1021727" y="152455"/>
                            </a:cubicBezTo>
                            <a:close/>
                            <a:moveTo>
                              <a:pt x="986885" y="151728"/>
                            </a:moveTo>
                            <a:cubicBezTo>
                              <a:pt x="987929" y="151570"/>
                              <a:pt x="989636" y="151570"/>
                              <a:pt x="990680" y="151728"/>
                            </a:cubicBezTo>
                            <a:cubicBezTo>
                              <a:pt x="991723" y="151886"/>
                              <a:pt x="990870" y="152015"/>
                              <a:pt x="988782" y="152015"/>
                            </a:cubicBezTo>
                            <a:cubicBezTo>
                              <a:pt x="986695" y="152015"/>
                              <a:pt x="985841" y="151886"/>
                              <a:pt x="986885" y="151728"/>
                            </a:cubicBezTo>
                            <a:close/>
                            <a:moveTo>
                              <a:pt x="1010343" y="151728"/>
                            </a:moveTo>
                            <a:cubicBezTo>
                              <a:pt x="1011386" y="151570"/>
                              <a:pt x="1013094" y="151570"/>
                              <a:pt x="1014137" y="151728"/>
                            </a:cubicBezTo>
                            <a:cubicBezTo>
                              <a:pt x="1015181" y="151886"/>
                              <a:pt x="1014327" y="152015"/>
                              <a:pt x="1012240" y="152015"/>
                            </a:cubicBezTo>
                            <a:cubicBezTo>
                              <a:pt x="1010153" y="152015"/>
                              <a:pt x="1009299" y="151886"/>
                              <a:pt x="1010343" y="151728"/>
                            </a:cubicBezTo>
                            <a:close/>
                            <a:moveTo>
                              <a:pt x="1285513" y="114563"/>
                            </a:moveTo>
                            <a:cubicBezTo>
                              <a:pt x="1285546" y="113759"/>
                              <a:pt x="1285709" y="113596"/>
                              <a:pt x="1285929" y="114146"/>
                            </a:cubicBezTo>
                            <a:cubicBezTo>
                              <a:pt x="1286125" y="114644"/>
                              <a:pt x="1286100" y="115239"/>
                              <a:pt x="1285872" y="115469"/>
                            </a:cubicBezTo>
                            <a:cubicBezTo>
                              <a:pt x="1285644" y="115698"/>
                              <a:pt x="1285481" y="115290"/>
                              <a:pt x="1285505" y="114563"/>
                            </a:cubicBezTo>
                            <a:close/>
                            <a:moveTo>
                              <a:pt x="1436072" y="19062"/>
                            </a:moveTo>
                            <a:cubicBezTo>
                              <a:pt x="1436072" y="16975"/>
                              <a:pt x="1436202" y="16121"/>
                              <a:pt x="1436357" y="17165"/>
                            </a:cubicBezTo>
                            <a:cubicBezTo>
                              <a:pt x="1436512" y="18208"/>
                              <a:pt x="1436512" y="19916"/>
                              <a:pt x="1436357" y="20959"/>
                            </a:cubicBezTo>
                            <a:cubicBezTo>
                              <a:pt x="1436202" y="22003"/>
                              <a:pt x="1436072" y="21149"/>
                              <a:pt x="1436072" y="19062"/>
                            </a:cubicBezTo>
                            <a:close/>
                            <a:moveTo>
                              <a:pt x="360075" y="667"/>
                            </a:moveTo>
                            <a:cubicBezTo>
                              <a:pt x="360551" y="476"/>
                              <a:pt x="361326" y="476"/>
                              <a:pt x="361801" y="667"/>
                            </a:cubicBezTo>
                            <a:cubicBezTo>
                              <a:pt x="362275" y="858"/>
                              <a:pt x="361887" y="1015"/>
                              <a:pt x="360938" y="1015"/>
                            </a:cubicBezTo>
                            <a:cubicBezTo>
                              <a:pt x="359990" y="1015"/>
                              <a:pt x="359601" y="858"/>
                              <a:pt x="360075" y="667"/>
                            </a:cubicBezTo>
                            <a:close/>
                            <a:moveTo>
                              <a:pt x="1419171" y="653"/>
                            </a:moveTo>
                            <a:cubicBezTo>
                              <a:pt x="1419668" y="453"/>
                              <a:pt x="1420271" y="477"/>
                              <a:pt x="1420500" y="707"/>
                            </a:cubicBezTo>
                            <a:cubicBezTo>
                              <a:pt x="1420728" y="936"/>
                              <a:pt x="1420320" y="1099"/>
                              <a:pt x="1419595" y="1069"/>
                            </a:cubicBezTo>
                            <a:cubicBezTo>
                              <a:pt x="1418788" y="1036"/>
                              <a:pt x="1418625" y="873"/>
                              <a:pt x="1419171" y="653"/>
                            </a:cubicBezTo>
                            <a:close/>
                          </a:path>
                        </a:pathLst>
                      </a:custGeom>
                      <a:gradFill>
                        <a:gsLst>
                          <a:gs pos="0">
                            <a:srgbClr val="022565">
                              <a:alpha val="54000"/>
                            </a:srgbClr>
                          </a:gs>
                          <a:gs pos="70000">
                            <a:schemeClr val="accent4">
                              <a:lumMod val="60000"/>
                              <a:lumOff val="40000"/>
                              <a:alpha val="62000"/>
                            </a:schemeClr>
                          </a:gs>
                          <a:gs pos="17000">
                            <a:srgbClr val="022565">
                              <a:alpha val="47000"/>
                            </a:srgbClr>
                          </a:gs>
                          <a:gs pos="86000">
                            <a:schemeClr val="accent4">
                              <a:lumMod val="60000"/>
                              <a:lumOff val="40000"/>
                              <a:alpha val="76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14" name="Freeform: Shape 13">
                        <a:extLst>
                          <a:ext uri="{FF2B5EF4-FFF2-40B4-BE49-F238E27FC236}">
                            <a16:creationId xmlns:a16="http://schemas.microsoft.com/office/drawing/2014/main" id="{F98BA2A8-042C-401F-A061-DEB7E6A0AD64}"/>
                          </a:ext>
                        </a:extLst>
                      </p:cNvPr>
                      <p:cNvSpPr/>
                      <p:nvPr/>
                    </p:nvSpPr>
                    <p:spPr>
                      <a:xfrm>
                        <a:off x="2002291" y="5895034"/>
                        <a:ext cx="1800307" cy="1170738"/>
                      </a:xfrm>
                      <a:custGeom>
                        <a:avLst/>
                        <a:gdLst>
                          <a:gd name="connsiteX0" fmla="*/ 1069926 w 1800306"/>
                          <a:gd name="connsiteY0" fmla="*/ 1168929 h 1170738"/>
                          <a:gd name="connsiteX1" fmla="*/ 1071892 w 1800306"/>
                          <a:gd name="connsiteY1" fmla="*/ 1167201 h 1170738"/>
                          <a:gd name="connsiteX2" fmla="*/ 1070615 w 1800306"/>
                          <a:gd name="connsiteY2" fmla="*/ 1168929 h 1170738"/>
                          <a:gd name="connsiteX3" fmla="*/ 1068651 w 1800306"/>
                          <a:gd name="connsiteY3" fmla="*/ 1170656 h 1170738"/>
                          <a:gd name="connsiteX4" fmla="*/ 1069926 w 1800306"/>
                          <a:gd name="connsiteY4" fmla="*/ 1168929 h 1170738"/>
                          <a:gd name="connsiteX5" fmla="*/ 769803 w 1800306"/>
                          <a:gd name="connsiteY5" fmla="*/ 1169703 h 1170738"/>
                          <a:gd name="connsiteX6" fmla="*/ 771010 w 1800306"/>
                          <a:gd name="connsiteY6" fmla="*/ 1168497 h 1170738"/>
                          <a:gd name="connsiteX7" fmla="*/ 771270 w 1800306"/>
                          <a:gd name="connsiteY7" fmla="*/ 1168758 h 1170738"/>
                          <a:gd name="connsiteX8" fmla="*/ 769803 w 1800306"/>
                          <a:gd name="connsiteY8" fmla="*/ 1169703 h 1170738"/>
                          <a:gd name="connsiteX9" fmla="*/ 649365 w 1800306"/>
                          <a:gd name="connsiteY9" fmla="*/ 1166337 h 1170738"/>
                          <a:gd name="connsiteX10" fmla="*/ 647338 w 1800306"/>
                          <a:gd name="connsiteY10" fmla="*/ 1164097 h 1170738"/>
                          <a:gd name="connsiteX11" fmla="*/ 649581 w 1800306"/>
                          <a:gd name="connsiteY11" fmla="*/ 1166126 h 1170738"/>
                          <a:gd name="connsiteX12" fmla="*/ 651607 w 1800306"/>
                          <a:gd name="connsiteY12" fmla="*/ 1168578 h 1170738"/>
                          <a:gd name="connsiteX13" fmla="*/ 649365 w 1800306"/>
                          <a:gd name="connsiteY13" fmla="*/ 1166337 h 1170738"/>
                          <a:gd name="connsiteX14" fmla="*/ 644535 w 1800306"/>
                          <a:gd name="connsiteY14" fmla="*/ 1161513 h 1170738"/>
                          <a:gd name="connsiteX15" fmla="*/ 642509 w 1800306"/>
                          <a:gd name="connsiteY15" fmla="*/ 1159264 h 1170738"/>
                          <a:gd name="connsiteX16" fmla="*/ 644751 w 1800306"/>
                          <a:gd name="connsiteY16" fmla="*/ 1161293 h 1170738"/>
                          <a:gd name="connsiteX17" fmla="*/ 646778 w 1800306"/>
                          <a:gd name="connsiteY17" fmla="*/ 1163754 h 1170738"/>
                          <a:gd name="connsiteX18" fmla="*/ 644535 w 1800306"/>
                          <a:gd name="connsiteY18" fmla="*/ 1161513 h 1170738"/>
                          <a:gd name="connsiteX19" fmla="*/ 779462 w 1800306"/>
                          <a:gd name="connsiteY19" fmla="*/ 1160046 h 1170738"/>
                          <a:gd name="connsiteX20" fmla="*/ 780669 w 1800306"/>
                          <a:gd name="connsiteY20" fmla="*/ 1158832 h 1170738"/>
                          <a:gd name="connsiteX21" fmla="*/ 780929 w 1800306"/>
                          <a:gd name="connsiteY21" fmla="*/ 1159093 h 1170738"/>
                          <a:gd name="connsiteX22" fmla="*/ 779462 w 1800306"/>
                          <a:gd name="connsiteY22" fmla="*/ 1160046 h 1170738"/>
                          <a:gd name="connsiteX23" fmla="*/ 1079930 w 1800306"/>
                          <a:gd name="connsiteY23" fmla="*/ 1158922 h 1170738"/>
                          <a:gd name="connsiteX24" fmla="*/ 1081524 w 1800306"/>
                          <a:gd name="connsiteY24" fmla="*/ 1157545 h 1170738"/>
                          <a:gd name="connsiteX25" fmla="*/ 1080620 w 1800306"/>
                          <a:gd name="connsiteY25" fmla="*/ 1158922 h 1170738"/>
                          <a:gd name="connsiteX26" fmla="*/ 1079026 w 1800306"/>
                          <a:gd name="connsiteY26" fmla="*/ 1160299 h 1170738"/>
                          <a:gd name="connsiteX27" fmla="*/ 1079930 w 1800306"/>
                          <a:gd name="connsiteY27" fmla="*/ 1158922 h 1170738"/>
                          <a:gd name="connsiteX28" fmla="*/ 746345 w 1800306"/>
                          <a:gd name="connsiteY28" fmla="*/ 1142795 h 1170738"/>
                          <a:gd name="connsiteX29" fmla="*/ 747552 w 1800306"/>
                          <a:gd name="connsiteY29" fmla="*/ 1141589 h 1170738"/>
                          <a:gd name="connsiteX30" fmla="*/ 747812 w 1800306"/>
                          <a:gd name="connsiteY30" fmla="*/ 1141850 h 1170738"/>
                          <a:gd name="connsiteX31" fmla="*/ 746345 w 1800306"/>
                          <a:gd name="connsiteY31" fmla="*/ 1142795 h 1170738"/>
                          <a:gd name="connsiteX32" fmla="*/ 1049917 w 1800306"/>
                          <a:gd name="connsiteY32" fmla="*/ 1138566 h 1170738"/>
                          <a:gd name="connsiteX33" fmla="*/ 1054010 w 1800306"/>
                          <a:gd name="connsiteY33" fmla="*/ 1134777 h 1170738"/>
                          <a:gd name="connsiteX34" fmla="*/ 1050608 w 1800306"/>
                          <a:gd name="connsiteY34" fmla="*/ 1138566 h 1170738"/>
                          <a:gd name="connsiteX35" fmla="*/ 1046515 w 1800306"/>
                          <a:gd name="connsiteY35" fmla="*/ 1142363 h 1170738"/>
                          <a:gd name="connsiteX36" fmla="*/ 1049917 w 1800306"/>
                          <a:gd name="connsiteY36" fmla="*/ 1138566 h 1170738"/>
                          <a:gd name="connsiteX37" fmla="*/ 672144 w 1800306"/>
                          <a:gd name="connsiteY37" fmla="*/ 1138745 h 1170738"/>
                          <a:gd name="connsiteX38" fmla="*/ 669417 w 1800306"/>
                          <a:gd name="connsiteY38" fmla="*/ 1135812 h 1170738"/>
                          <a:gd name="connsiteX39" fmla="*/ 672349 w 1800306"/>
                          <a:gd name="connsiteY39" fmla="*/ 1138542 h 1170738"/>
                          <a:gd name="connsiteX40" fmla="*/ 675076 w 1800306"/>
                          <a:gd name="connsiteY40" fmla="*/ 1141679 h 1170738"/>
                          <a:gd name="connsiteX41" fmla="*/ 672144 w 1800306"/>
                          <a:gd name="connsiteY41" fmla="*/ 1138745 h 1170738"/>
                          <a:gd name="connsiteX42" fmla="*/ 752554 w 1800306"/>
                          <a:gd name="connsiteY42" fmla="*/ 1136586 h 1170738"/>
                          <a:gd name="connsiteX43" fmla="*/ 753762 w 1800306"/>
                          <a:gd name="connsiteY43" fmla="*/ 1135380 h 1170738"/>
                          <a:gd name="connsiteX44" fmla="*/ 754022 w 1800306"/>
                          <a:gd name="connsiteY44" fmla="*/ 1135641 h 1170738"/>
                          <a:gd name="connsiteX45" fmla="*/ 752554 w 1800306"/>
                          <a:gd name="connsiteY45" fmla="*/ 1136586 h 1170738"/>
                          <a:gd name="connsiteX46" fmla="*/ 500316 w 1800306"/>
                          <a:gd name="connsiteY46" fmla="*/ 1113215 h 1170738"/>
                          <a:gd name="connsiteX47" fmla="*/ 499002 w 1800306"/>
                          <a:gd name="connsiteY47" fmla="*/ 1111667 h 1170738"/>
                          <a:gd name="connsiteX48" fmla="*/ 500554 w 1800306"/>
                          <a:gd name="connsiteY48" fmla="*/ 1112979 h 1170738"/>
                          <a:gd name="connsiteX49" fmla="*/ 501868 w 1800306"/>
                          <a:gd name="connsiteY49" fmla="*/ 1114771 h 1170738"/>
                          <a:gd name="connsiteX50" fmla="*/ 500316 w 1800306"/>
                          <a:gd name="connsiteY50" fmla="*/ 1113215 h 1170738"/>
                          <a:gd name="connsiteX51" fmla="*/ 492037 w 1800306"/>
                          <a:gd name="connsiteY51" fmla="*/ 1104936 h 1170738"/>
                          <a:gd name="connsiteX52" fmla="*/ 490722 w 1800306"/>
                          <a:gd name="connsiteY52" fmla="*/ 1103387 h 1170738"/>
                          <a:gd name="connsiteX53" fmla="*/ 492275 w 1800306"/>
                          <a:gd name="connsiteY53" fmla="*/ 1104699 h 1170738"/>
                          <a:gd name="connsiteX54" fmla="*/ 493589 w 1800306"/>
                          <a:gd name="connsiteY54" fmla="*/ 1106492 h 1170738"/>
                          <a:gd name="connsiteX55" fmla="*/ 492037 w 1800306"/>
                          <a:gd name="connsiteY55" fmla="*/ 1104936 h 1170738"/>
                          <a:gd name="connsiteX56" fmla="*/ 521401 w 1800306"/>
                          <a:gd name="connsiteY56" fmla="*/ 1083895 h 1170738"/>
                          <a:gd name="connsiteX57" fmla="*/ 517630 w 1800306"/>
                          <a:gd name="connsiteY57" fmla="*/ 1079927 h 1170738"/>
                          <a:gd name="connsiteX58" fmla="*/ 521597 w 1800306"/>
                          <a:gd name="connsiteY58" fmla="*/ 1083700 h 1170738"/>
                          <a:gd name="connsiteX59" fmla="*/ 525368 w 1800306"/>
                          <a:gd name="connsiteY59" fmla="*/ 1087864 h 1170738"/>
                          <a:gd name="connsiteX60" fmla="*/ 521401 w 1800306"/>
                          <a:gd name="connsiteY60" fmla="*/ 1083895 h 1170738"/>
                          <a:gd name="connsiteX61" fmla="*/ 608012 w 1800306"/>
                          <a:gd name="connsiteY61" fmla="*/ 1084409 h 1170738"/>
                          <a:gd name="connsiteX62" fmla="*/ 611754 w 1800306"/>
                          <a:gd name="connsiteY62" fmla="*/ 1080962 h 1170738"/>
                          <a:gd name="connsiteX63" fmla="*/ 608702 w 1800306"/>
                          <a:gd name="connsiteY63" fmla="*/ 1084409 h 1170738"/>
                          <a:gd name="connsiteX64" fmla="*/ 604959 w 1800306"/>
                          <a:gd name="connsiteY64" fmla="*/ 1087864 h 1170738"/>
                          <a:gd name="connsiteX65" fmla="*/ 608012 w 1800306"/>
                          <a:gd name="connsiteY65" fmla="*/ 1084409 h 1170738"/>
                          <a:gd name="connsiteX66" fmla="*/ 1206879 w 1800306"/>
                          <a:gd name="connsiteY66" fmla="*/ 1082339 h 1170738"/>
                          <a:gd name="connsiteX67" fmla="*/ 1208468 w 1800306"/>
                          <a:gd name="connsiteY67" fmla="*/ 1080962 h 1170738"/>
                          <a:gd name="connsiteX68" fmla="*/ 1207572 w 1800306"/>
                          <a:gd name="connsiteY68" fmla="*/ 1082339 h 1170738"/>
                          <a:gd name="connsiteX69" fmla="*/ 1205975 w 1800306"/>
                          <a:gd name="connsiteY69" fmla="*/ 1083724 h 1170738"/>
                          <a:gd name="connsiteX70" fmla="*/ 1206879 w 1800306"/>
                          <a:gd name="connsiteY70" fmla="*/ 1082339 h 1170738"/>
                          <a:gd name="connsiteX71" fmla="*/ 1049829 w 1800306"/>
                          <a:gd name="connsiteY71" fmla="*/ 1080440 h 1170738"/>
                          <a:gd name="connsiteX72" fmla="*/ 1050090 w 1800306"/>
                          <a:gd name="connsiteY72" fmla="*/ 1080179 h 1170738"/>
                          <a:gd name="connsiteX73" fmla="*/ 1051037 w 1800306"/>
                          <a:gd name="connsiteY73" fmla="*/ 1081646 h 1170738"/>
                          <a:gd name="connsiteX74" fmla="*/ 1049829 w 1800306"/>
                          <a:gd name="connsiteY74" fmla="*/ 1080440 h 1170738"/>
                          <a:gd name="connsiteX75" fmla="*/ 1215851 w 1800306"/>
                          <a:gd name="connsiteY75" fmla="*/ 1073375 h 1170738"/>
                          <a:gd name="connsiteX76" fmla="*/ 1217440 w 1800306"/>
                          <a:gd name="connsiteY76" fmla="*/ 1071990 h 1170738"/>
                          <a:gd name="connsiteX77" fmla="*/ 1216536 w 1800306"/>
                          <a:gd name="connsiteY77" fmla="*/ 1073375 h 1170738"/>
                          <a:gd name="connsiteX78" fmla="*/ 1214947 w 1800306"/>
                          <a:gd name="connsiteY78" fmla="*/ 1074752 h 1170738"/>
                          <a:gd name="connsiteX79" fmla="*/ 1215851 w 1800306"/>
                          <a:gd name="connsiteY79" fmla="*/ 1073375 h 1170738"/>
                          <a:gd name="connsiteX80" fmla="*/ 1186181 w 1800306"/>
                          <a:gd name="connsiteY80" fmla="*/ 1053361 h 1170738"/>
                          <a:gd name="connsiteX81" fmla="*/ 1189221 w 1800306"/>
                          <a:gd name="connsiteY81" fmla="*/ 1050607 h 1170738"/>
                          <a:gd name="connsiteX82" fmla="*/ 1186874 w 1800306"/>
                          <a:gd name="connsiteY82" fmla="*/ 1053361 h 1170738"/>
                          <a:gd name="connsiteX83" fmla="*/ 1183834 w 1800306"/>
                          <a:gd name="connsiteY83" fmla="*/ 1056124 h 1170738"/>
                          <a:gd name="connsiteX84" fmla="*/ 1186181 w 1800306"/>
                          <a:gd name="connsiteY84" fmla="*/ 1053361 h 1170738"/>
                          <a:gd name="connsiteX85" fmla="*/ 468299 w 1800306"/>
                          <a:gd name="connsiteY85" fmla="*/ 1003425 h 1170738"/>
                          <a:gd name="connsiteX86" fmla="*/ 469507 w 1800306"/>
                          <a:gd name="connsiteY86" fmla="*/ 1002219 h 1170738"/>
                          <a:gd name="connsiteX87" fmla="*/ 469768 w 1800306"/>
                          <a:gd name="connsiteY87" fmla="*/ 1002480 h 1170738"/>
                          <a:gd name="connsiteX88" fmla="*/ 468299 w 1800306"/>
                          <a:gd name="connsiteY88" fmla="*/ 1003425 h 1170738"/>
                          <a:gd name="connsiteX89" fmla="*/ 382659 w 1800306"/>
                          <a:gd name="connsiteY89" fmla="*/ 994201 h 1170738"/>
                          <a:gd name="connsiteX90" fmla="*/ 382919 w 1800306"/>
                          <a:gd name="connsiteY90" fmla="*/ 993940 h 1170738"/>
                          <a:gd name="connsiteX91" fmla="*/ 384127 w 1800306"/>
                          <a:gd name="connsiteY91" fmla="*/ 995146 h 1170738"/>
                          <a:gd name="connsiteX92" fmla="*/ 382659 w 1800306"/>
                          <a:gd name="connsiteY92" fmla="*/ 994201 h 1170738"/>
                          <a:gd name="connsiteX93" fmla="*/ 808068 w 1800306"/>
                          <a:gd name="connsiteY93" fmla="*/ 985579 h 1170738"/>
                          <a:gd name="connsiteX94" fmla="*/ 804644 w 1800306"/>
                          <a:gd name="connsiteY94" fmla="*/ 981953 h 1170738"/>
                          <a:gd name="connsiteX95" fmla="*/ 808266 w 1800306"/>
                          <a:gd name="connsiteY95" fmla="*/ 985375 h 1170738"/>
                          <a:gd name="connsiteX96" fmla="*/ 811691 w 1800306"/>
                          <a:gd name="connsiteY96" fmla="*/ 989197 h 1170738"/>
                          <a:gd name="connsiteX97" fmla="*/ 808068 w 1800306"/>
                          <a:gd name="connsiteY97" fmla="*/ 985579 h 1170738"/>
                          <a:gd name="connsiteX98" fmla="*/ 730821 w 1800306"/>
                          <a:gd name="connsiteY98" fmla="*/ 985057 h 1170738"/>
                          <a:gd name="connsiteX99" fmla="*/ 733861 w 1800306"/>
                          <a:gd name="connsiteY99" fmla="*/ 982303 h 1170738"/>
                          <a:gd name="connsiteX100" fmla="*/ 731511 w 1800306"/>
                          <a:gd name="connsiteY100" fmla="*/ 985057 h 1170738"/>
                          <a:gd name="connsiteX101" fmla="*/ 728471 w 1800306"/>
                          <a:gd name="connsiteY101" fmla="*/ 987820 h 1170738"/>
                          <a:gd name="connsiteX102" fmla="*/ 730821 w 1800306"/>
                          <a:gd name="connsiteY102" fmla="*/ 985057 h 1170738"/>
                          <a:gd name="connsiteX103" fmla="*/ 1354178 w 1800306"/>
                          <a:gd name="connsiteY103" fmla="*/ 973071 h 1170738"/>
                          <a:gd name="connsiteX104" fmla="*/ 1355385 w 1800306"/>
                          <a:gd name="connsiteY104" fmla="*/ 971864 h 1170738"/>
                          <a:gd name="connsiteX105" fmla="*/ 1355645 w 1800306"/>
                          <a:gd name="connsiteY105" fmla="*/ 972125 h 1170738"/>
                          <a:gd name="connsiteX106" fmla="*/ 1354178 w 1800306"/>
                          <a:gd name="connsiteY106" fmla="*/ 973071 h 1170738"/>
                          <a:gd name="connsiteX107" fmla="*/ 701153 w 1800306"/>
                          <a:gd name="connsiteY107" fmla="*/ 964359 h 1170738"/>
                          <a:gd name="connsiteX108" fmla="*/ 702747 w 1800306"/>
                          <a:gd name="connsiteY108" fmla="*/ 962982 h 1170738"/>
                          <a:gd name="connsiteX109" fmla="*/ 701844 w 1800306"/>
                          <a:gd name="connsiteY109" fmla="*/ 964359 h 1170738"/>
                          <a:gd name="connsiteX110" fmla="*/ 700250 w 1800306"/>
                          <a:gd name="connsiteY110" fmla="*/ 965745 h 1170738"/>
                          <a:gd name="connsiteX111" fmla="*/ 701153 w 1800306"/>
                          <a:gd name="connsiteY111" fmla="*/ 964359 h 1170738"/>
                          <a:gd name="connsiteX112" fmla="*/ 837328 w 1800306"/>
                          <a:gd name="connsiteY112" fmla="*/ 964530 h 1170738"/>
                          <a:gd name="connsiteX113" fmla="*/ 837589 w 1800306"/>
                          <a:gd name="connsiteY113" fmla="*/ 964270 h 1170738"/>
                          <a:gd name="connsiteX114" fmla="*/ 838536 w 1800306"/>
                          <a:gd name="connsiteY114" fmla="*/ 965745 h 1170738"/>
                          <a:gd name="connsiteX115" fmla="*/ 837328 w 1800306"/>
                          <a:gd name="connsiteY115" fmla="*/ 964530 h 1170738"/>
                          <a:gd name="connsiteX116" fmla="*/ 1365220 w 1800306"/>
                          <a:gd name="connsiteY116" fmla="*/ 962029 h 1170738"/>
                          <a:gd name="connsiteX117" fmla="*/ 1366426 w 1800306"/>
                          <a:gd name="connsiteY117" fmla="*/ 960823 h 1170738"/>
                          <a:gd name="connsiteX118" fmla="*/ 1366687 w 1800306"/>
                          <a:gd name="connsiteY118" fmla="*/ 961083 h 1170738"/>
                          <a:gd name="connsiteX119" fmla="*/ 1365220 w 1800306"/>
                          <a:gd name="connsiteY119" fmla="*/ 962029 h 1170738"/>
                          <a:gd name="connsiteX120" fmla="*/ 1188186 w 1800306"/>
                          <a:gd name="connsiteY120" fmla="*/ 958671 h 1170738"/>
                          <a:gd name="connsiteX121" fmla="*/ 1186874 w 1800306"/>
                          <a:gd name="connsiteY121" fmla="*/ 957115 h 1170738"/>
                          <a:gd name="connsiteX122" fmla="*/ 1188422 w 1800306"/>
                          <a:gd name="connsiteY122" fmla="*/ 958435 h 1170738"/>
                          <a:gd name="connsiteX123" fmla="*/ 1189734 w 1800306"/>
                          <a:gd name="connsiteY123" fmla="*/ 960220 h 1170738"/>
                          <a:gd name="connsiteX124" fmla="*/ 1188186 w 1800306"/>
                          <a:gd name="connsiteY124" fmla="*/ 958671 h 1170738"/>
                          <a:gd name="connsiteX125" fmla="*/ 829049 w 1800306"/>
                          <a:gd name="connsiteY125" fmla="*/ 956251 h 1170738"/>
                          <a:gd name="connsiteX126" fmla="*/ 829310 w 1800306"/>
                          <a:gd name="connsiteY126" fmla="*/ 955990 h 1170738"/>
                          <a:gd name="connsiteX127" fmla="*/ 830257 w 1800306"/>
                          <a:gd name="connsiteY127" fmla="*/ 957465 h 1170738"/>
                          <a:gd name="connsiteX128" fmla="*/ 829049 w 1800306"/>
                          <a:gd name="connsiteY128" fmla="*/ 956251 h 1170738"/>
                          <a:gd name="connsiteX129" fmla="*/ 1181284 w 1800306"/>
                          <a:gd name="connsiteY129" fmla="*/ 951769 h 1170738"/>
                          <a:gd name="connsiteX130" fmla="*/ 1179972 w 1800306"/>
                          <a:gd name="connsiteY130" fmla="*/ 950221 h 1170738"/>
                          <a:gd name="connsiteX131" fmla="*/ 1181520 w 1800306"/>
                          <a:gd name="connsiteY131" fmla="*/ 951533 h 1170738"/>
                          <a:gd name="connsiteX132" fmla="*/ 1183076 w 1800306"/>
                          <a:gd name="connsiteY132" fmla="*/ 953081 h 1170738"/>
                          <a:gd name="connsiteX133" fmla="*/ 1181284 w 1800306"/>
                          <a:gd name="connsiteY133" fmla="*/ 951769 h 1170738"/>
                          <a:gd name="connsiteX134" fmla="*/ 1335208 w 1800306"/>
                          <a:gd name="connsiteY134" fmla="*/ 942284 h 1170738"/>
                          <a:gd name="connsiteX135" fmla="*/ 1338247 w 1800306"/>
                          <a:gd name="connsiteY135" fmla="*/ 939522 h 1170738"/>
                          <a:gd name="connsiteX136" fmla="*/ 1335901 w 1800306"/>
                          <a:gd name="connsiteY136" fmla="*/ 942284 h 1170738"/>
                          <a:gd name="connsiteX137" fmla="*/ 1332861 w 1800306"/>
                          <a:gd name="connsiteY137" fmla="*/ 945046 h 1170738"/>
                          <a:gd name="connsiteX138" fmla="*/ 1335208 w 1800306"/>
                          <a:gd name="connsiteY138" fmla="*/ 942284 h 1170738"/>
                          <a:gd name="connsiteX139" fmla="*/ 265737 w 1800306"/>
                          <a:gd name="connsiteY139" fmla="*/ 897261 h 1170738"/>
                          <a:gd name="connsiteX140" fmla="*/ 264423 w 1800306"/>
                          <a:gd name="connsiteY140" fmla="*/ 895713 h 1170738"/>
                          <a:gd name="connsiteX141" fmla="*/ 265975 w 1800306"/>
                          <a:gd name="connsiteY141" fmla="*/ 897025 h 1170738"/>
                          <a:gd name="connsiteX142" fmla="*/ 267289 w 1800306"/>
                          <a:gd name="connsiteY142" fmla="*/ 898818 h 1170738"/>
                          <a:gd name="connsiteX143" fmla="*/ 265737 w 1800306"/>
                          <a:gd name="connsiteY143" fmla="*/ 897261 h 1170738"/>
                          <a:gd name="connsiteX144" fmla="*/ 257458 w 1800306"/>
                          <a:gd name="connsiteY144" fmla="*/ 888982 h 1170738"/>
                          <a:gd name="connsiteX145" fmla="*/ 256143 w 1800306"/>
                          <a:gd name="connsiteY145" fmla="*/ 887434 h 1170738"/>
                          <a:gd name="connsiteX146" fmla="*/ 257696 w 1800306"/>
                          <a:gd name="connsiteY146" fmla="*/ 888746 h 1170738"/>
                          <a:gd name="connsiteX147" fmla="*/ 259010 w 1800306"/>
                          <a:gd name="connsiteY147" fmla="*/ 890539 h 1170738"/>
                          <a:gd name="connsiteX148" fmla="*/ 257458 w 1800306"/>
                          <a:gd name="connsiteY148" fmla="*/ 888982 h 1170738"/>
                          <a:gd name="connsiteX149" fmla="*/ 368948 w 1800306"/>
                          <a:gd name="connsiteY149" fmla="*/ 873027 h 1170738"/>
                          <a:gd name="connsiteX150" fmla="*/ 370156 w 1800306"/>
                          <a:gd name="connsiteY150" fmla="*/ 871821 h 1170738"/>
                          <a:gd name="connsiteX151" fmla="*/ 370416 w 1800306"/>
                          <a:gd name="connsiteY151" fmla="*/ 872081 h 1170738"/>
                          <a:gd name="connsiteX152" fmla="*/ 368948 w 1800306"/>
                          <a:gd name="connsiteY152" fmla="*/ 873027 h 1170738"/>
                          <a:gd name="connsiteX153" fmla="*/ 287165 w 1800306"/>
                          <a:gd name="connsiteY153" fmla="*/ 868284 h 1170738"/>
                          <a:gd name="connsiteX154" fmla="*/ 283741 w 1800306"/>
                          <a:gd name="connsiteY154" fmla="*/ 864666 h 1170738"/>
                          <a:gd name="connsiteX155" fmla="*/ 287363 w 1800306"/>
                          <a:gd name="connsiteY155" fmla="*/ 868088 h 1170738"/>
                          <a:gd name="connsiteX156" fmla="*/ 290787 w 1800306"/>
                          <a:gd name="connsiteY156" fmla="*/ 871910 h 1170738"/>
                          <a:gd name="connsiteX157" fmla="*/ 287165 w 1800306"/>
                          <a:gd name="connsiteY157" fmla="*/ 868284 h 1170738"/>
                          <a:gd name="connsiteX158" fmla="*/ 377227 w 1800306"/>
                          <a:gd name="connsiteY158" fmla="*/ 864748 h 1170738"/>
                          <a:gd name="connsiteX159" fmla="*/ 378435 w 1800306"/>
                          <a:gd name="connsiteY159" fmla="*/ 863541 h 1170738"/>
                          <a:gd name="connsiteX160" fmla="*/ 378696 w 1800306"/>
                          <a:gd name="connsiteY160" fmla="*/ 863802 h 1170738"/>
                          <a:gd name="connsiteX161" fmla="*/ 377227 w 1800306"/>
                          <a:gd name="connsiteY161" fmla="*/ 864748 h 1170738"/>
                          <a:gd name="connsiteX162" fmla="*/ 633540 w 1800306"/>
                          <a:gd name="connsiteY162" fmla="*/ 851905 h 1170738"/>
                          <a:gd name="connsiteX163" fmla="*/ 635134 w 1800306"/>
                          <a:gd name="connsiteY163" fmla="*/ 850520 h 1170738"/>
                          <a:gd name="connsiteX164" fmla="*/ 634230 w 1800306"/>
                          <a:gd name="connsiteY164" fmla="*/ 851905 h 1170738"/>
                          <a:gd name="connsiteX165" fmla="*/ 632636 w 1800306"/>
                          <a:gd name="connsiteY165" fmla="*/ 853282 h 1170738"/>
                          <a:gd name="connsiteX166" fmla="*/ 633540 w 1800306"/>
                          <a:gd name="connsiteY166" fmla="*/ 851905 h 1170738"/>
                          <a:gd name="connsiteX167" fmla="*/ 720407 w 1800306"/>
                          <a:gd name="connsiteY167" fmla="*/ 851726 h 1170738"/>
                          <a:gd name="connsiteX168" fmla="*/ 719092 w 1800306"/>
                          <a:gd name="connsiteY168" fmla="*/ 850177 h 1170738"/>
                          <a:gd name="connsiteX169" fmla="*/ 720645 w 1800306"/>
                          <a:gd name="connsiteY169" fmla="*/ 851489 h 1170738"/>
                          <a:gd name="connsiteX170" fmla="*/ 722197 w 1800306"/>
                          <a:gd name="connsiteY170" fmla="*/ 853046 h 1170738"/>
                          <a:gd name="connsiteX171" fmla="*/ 720407 w 1800306"/>
                          <a:gd name="connsiteY171" fmla="*/ 851726 h 1170738"/>
                          <a:gd name="connsiteX172" fmla="*/ 1335167 w 1800306"/>
                          <a:gd name="connsiteY172" fmla="*/ 839999 h 1170738"/>
                          <a:gd name="connsiteX173" fmla="*/ 1333138 w 1800306"/>
                          <a:gd name="connsiteY173" fmla="*/ 837758 h 1170738"/>
                          <a:gd name="connsiteX174" fmla="*/ 1335379 w 1800306"/>
                          <a:gd name="connsiteY174" fmla="*/ 839779 h 1170738"/>
                          <a:gd name="connsiteX175" fmla="*/ 1337620 w 1800306"/>
                          <a:gd name="connsiteY175" fmla="*/ 842028 h 1170738"/>
                          <a:gd name="connsiteX176" fmla="*/ 1335167 w 1800306"/>
                          <a:gd name="connsiteY176" fmla="*/ 839999 h 1170738"/>
                          <a:gd name="connsiteX177" fmla="*/ 601802 w 1800306"/>
                          <a:gd name="connsiteY177" fmla="*/ 833961 h 1170738"/>
                          <a:gd name="connsiteX178" fmla="*/ 603396 w 1800306"/>
                          <a:gd name="connsiteY178" fmla="*/ 832584 h 1170738"/>
                          <a:gd name="connsiteX179" fmla="*/ 602492 w 1800306"/>
                          <a:gd name="connsiteY179" fmla="*/ 833961 h 1170738"/>
                          <a:gd name="connsiteX180" fmla="*/ 600899 w 1800306"/>
                          <a:gd name="connsiteY180" fmla="*/ 835346 h 1170738"/>
                          <a:gd name="connsiteX181" fmla="*/ 601802 w 1800306"/>
                          <a:gd name="connsiteY181" fmla="*/ 833961 h 1170738"/>
                          <a:gd name="connsiteX182" fmla="*/ 745631 w 1800306"/>
                          <a:gd name="connsiteY182" fmla="*/ 826546 h 1170738"/>
                          <a:gd name="connsiteX183" fmla="*/ 741860 w 1800306"/>
                          <a:gd name="connsiteY183" fmla="*/ 822577 h 1170738"/>
                          <a:gd name="connsiteX184" fmla="*/ 745827 w 1800306"/>
                          <a:gd name="connsiteY184" fmla="*/ 826350 h 1170738"/>
                          <a:gd name="connsiteX185" fmla="*/ 749599 w 1800306"/>
                          <a:gd name="connsiteY185" fmla="*/ 830514 h 1170738"/>
                          <a:gd name="connsiteX186" fmla="*/ 745631 w 1800306"/>
                          <a:gd name="connsiteY186" fmla="*/ 826546 h 1170738"/>
                          <a:gd name="connsiteX187" fmla="*/ 1466983 w 1800306"/>
                          <a:gd name="connsiteY187" fmla="*/ 823612 h 1170738"/>
                          <a:gd name="connsiteX188" fmla="*/ 1471424 w 1800306"/>
                          <a:gd name="connsiteY188" fmla="*/ 819472 h 1170738"/>
                          <a:gd name="connsiteX189" fmla="*/ 1467676 w 1800306"/>
                          <a:gd name="connsiteY189" fmla="*/ 823612 h 1170738"/>
                          <a:gd name="connsiteX190" fmla="*/ 1463235 w 1800306"/>
                          <a:gd name="connsiteY190" fmla="*/ 827752 h 1170738"/>
                          <a:gd name="connsiteX191" fmla="*/ 1466983 w 1800306"/>
                          <a:gd name="connsiteY191" fmla="*/ 823612 h 1170738"/>
                          <a:gd name="connsiteX192" fmla="*/ 1473543 w 1800306"/>
                          <a:gd name="connsiteY192" fmla="*/ 816457 h 1170738"/>
                          <a:gd name="connsiteX193" fmla="*/ 1474749 w 1800306"/>
                          <a:gd name="connsiteY193" fmla="*/ 815243 h 1170738"/>
                          <a:gd name="connsiteX194" fmla="*/ 1475010 w 1800306"/>
                          <a:gd name="connsiteY194" fmla="*/ 815504 h 1170738"/>
                          <a:gd name="connsiteX195" fmla="*/ 1473543 w 1800306"/>
                          <a:gd name="connsiteY195" fmla="*/ 816457 h 1170738"/>
                          <a:gd name="connsiteX196" fmla="*/ 1441803 w 1800306"/>
                          <a:gd name="connsiteY196" fmla="*/ 798432 h 1170738"/>
                          <a:gd name="connsiteX197" fmla="*/ 1444484 w 1800306"/>
                          <a:gd name="connsiteY197" fmla="*/ 796012 h 1170738"/>
                          <a:gd name="connsiteX198" fmla="*/ 1442496 w 1800306"/>
                          <a:gd name="connsiteY198" fmla="*/ 798432 h 1170738"/>
                          <a:gd name="connsiteX199" fmla="*/ 1439807 w 1800306"/>
                          <a:gd name="connsiteY199" fmla="*/ 800844 h 1170738"/>
                          <a:gd name="connsiteX200" fmla="*/ 1441803 w 1800306"/>
                          <a:gd name="connsiteY200" fmla="*/ 798432 h 1170738"/>
                          <a:gd name="connsiteX201" fmla="*/ 976784 w 1800306"/>
                          <a:gd name="connsiteY201" fmla="*/ 791660 h 1170738"/>
                          <a:gd name="connsiteX202" fmla="*/ 979026 w 1800306"/>
                          <a:gd name="connsiteY202" fmla="*/ 789419 h 1170738"/>
                          <a:gd name="connsiteX203" fmla="*/ 981269 w 1800306"/>
                          <a:gd name="connsiteY203" fmla="*/ 787390 h 1170738"/>
                          <a:gd name="connsiteX204" fmla="*/ 979242 w 1800306"/>
                          <a:gd name="connsiteY204" fmla="*/ 789631 h 1170738"/>
                          <a:gd name="connsiteX205" fmla="*/ 976784 w 1800306"/>
                          <a:gd name="connsiteY205" fmla="*/ 791660 h 1170738"/>
                          <a:gd name="connsiteX206" fmla="*/ 617605 w 1800306"/>
                          <a:gd name="connsiteY206" fmla="*/ 733062 h 1170738"/>
                          <a:gd name="connsiteX207" fmla="*/ 616291 w 1800306"/>
                          <a:gd name="connsiteY207" fmla="*/ 731505 h 1170738"/>
                          <a:gd name="connsiteX208" fmla="*/ 617843 w 1800306"/>
                          <a:gd name="connsiteY208" fmla="*/ 732817 h 1170738"/>
                          <a:gd name="connsiteX209" fmla="*/ 619396 w 1800306"/>
                          <a:gd name="connsiteY209" fmla="*/ 734374 h 1170738"/>
                          <a:gd name="connsiteX210" fmla="*/ 617605 w 1800306"/>
                          <a:gd name="connsiteY210" fmla="*/ 733062 h 1170738"/>
                          <a:gd name="connsiteX211" fmla="*/ 527979 w 1800306"/>
                          <a:gd name="connsiteY211" fmla="*/ 729786 h 1170738"/>
                          <a:gd name="connsiteX212" fmla="*/ 531019 w 1800306"/>
                          <a:gd name="connsiteY212" fmla="*/ 727023 h 1170738"/>
                          <a:gd name="connsiteX213" fmla="*/ 528669 w 1800306"/>
                          <a:gd name="connsiteY213" fmla="*/ 729786 h 1170738"/>
                          <a:gd name="connsiteX214" fmla="*/ 525629 w 1800306"/>
                          <a:gd name="connsiteY214" fmla="*/ 732540 h 1170738"/>
                          <a:gd name="connsiteX215" fmla="*/ 527979 w 1800306"/>
                          <a:gd name="connsiteY215" fmla="*/ 729786 h 1170738"/>
                          <a:gd name="connsiteX216" fmla="*/ 262000 w 1800306"/>
                          <a:gd name="connsiteY216" fmla="*/ 720985 h 1170738"/>
                          <a:gd name="connsiteX217" fmla="*/ 251314 w 1800306"/>
                          <a:gd name="connsiteY217" fmla="*/ 710114 h 1170738"/>
                          <a:gd name="connsiteX218" fmla="*/ 262180 w 1800306"/>
                          <a:gd name="connsiteY218" fmla="*/ 720806 h 1170738"/>
                          <a:gd name="connsiteX219" fmla="*/ 272866 w 1800306"/>
                          <a:gd name="connsiteY219" fmla="*/ 731856 h 1170738"/>
                          <a:gd name="connsiteX220" fmla="*/ 262000 w 1800306"/>
                          <a:gd name="connsiteY220" fmla="*/ 720985 h 1170738"/>
                          <a:gd name="connsiteX221" fmla="*/ 611719 w 1800306"/>
                          <a:gd name="connsiteY221" fmla="*/ 727194 h 1170738"/>
                          <a:gd name="connsiteX222" fmla="*/ 611979 w 1800306"/>
                          <a:gd name="connsiteY222" fmla="*/ 726934 h 1170738"/>
                          <a:gd name="connsiteX223" fmla="*/ 612926 w 1800306"/>
                          <a:gd name="connsiteY223" fmla="*/ 728400 h 1170738"/>
                          <a:gd name="connsiteX224" fmla="*/ 611719 w 1800306"/>
                          <a:gd name="connsiteY224" fmla="*/ 727194 h 1170738"/>
                          <a:gd name="connsiteX225" fmla="*/ 644836 w 1800306"/>
                          <a:gd name="connsiteY225" fmla="*/ 709943 h 1170738"/>
                          <a:gd name="connsiteX226" fmla="*/ 645096 w 1800306"/>
                          <a:gd name="connsiteY226" fmla="*/ 709682 h 1170738"/>
                          <a:gd name="connsiteX227" fmla="*/ 646303 w 1800306"/>
                          <a:gd name="connsiteY227" fmla="*/ 710888 h 1170738"/>
                          <a:gd name="connsiteX228" fmla="*/ 644836 w 1800306"/>
                          <a:gd name="connsiteY228" fmla="*/ 709943 h 1170738"/>
                          <a:gd name="connsiteX229" fmla="*/ 244017 w 1800306"/>
                          <a:gd name="connsiteY229" fmla="*/ 702357 h 1170738"/>
                          <a:gd name="connsiteX230" fmla="*/ 242345 w 1800306"/>
                          <a:gd name="connsiteY230" fmla="*/ 700458 h 1170738"/>
                          <a:gd name="connsiteX231" fmla="*/ 244242 w 1800306"/>
                          <a:gd name="connsiteY231" fmla="*/ 702128 h 1170738"/>
                          <a:gd name="connsiteX232" fmla="*/ 245915 w 1800306"/>
                          <a:gd name="connsiteY232" fmla="*/ 704255 h 1170738"/>
                          <a:gd name="connsiteX233" fmla="*/ 244017 w 1800306"/>
                          <a:gd name="connsiteY233" fmla="*/ 702357 h 1170738"/>
                          <a:gd name="connsiteX234" fmla="*/ 634487 w 1800306"/>
                          <a:gd name="connsiteY234" fmla="*/ 699594 h 1170738"/>
                          <a:gd name="connsiteX235" fmla="*/ 634747 w 1800306"/>
                          <a:gd name="connsiteY235" fmla="*/ 699333 h 1170738"/>
                          <a:gd name="connsiteX236" fmla="*/ 635694 w 1800306"/>
                          <a:gd name="connsiteY236" fmla="*/ 700800 h 1170738"/>
                          <a:gd name="connsiteX237" fmla="*/ 634487 w 1800306"/>
                          <a:gd name="connsiteY237" fmla="*/ 699594 h 1170738"/>
                          <a:gd name="connsiteX238" fmla="*/ 287512 w 1800306"/>
                          <a:gd name="connsiteY238" fmla="*/ 696147 h 1170738"/>
                          <a:gd name="connsiteX239" fmla="*/ 283741 w 1800306"/>
                          <a:gd name="connsiteY239" fmla="*/ 692179 h 1170738"/>
                          <a:gd name="connsiteX240" fmla="*/ 287708 w 1800306"/>
                          <a:gd name="connsiteY240" fmla="*/ 695952 h 1170738"/>
                          <a:gd name="connsiteX241" fmla="*/ 291479 w 1800306"/>
                          <a:gd name="connsiteY241" fmla="*/ 700116 h 1170738"/>
                          <a:gd name="connsiteX242" fmla="*/ 287512 w 1800306"/>
                          <a:gd name="connsiteY242" fmla="*/ 696147 h 1170738"/>
                          <a:gd name="connsiteX243" fmla="*/ 509006 w 1800306"/>
                          <a:gd name="connsiteY243" fmla="*/ 699162 h 1170738"/>
                          <a:gd name="connsiteX244" fmla="*/ 510213 w 1800306"/>
                          <a:gd name="connsiteY244" fmla="*/ 697956 h 1170738"/>
                          <a:gd name="connsiteX245" fmla="*/ 510474 w 1800306"/>
                          <a:gd name="connsiteY245" fmla="*/ 698217 h 1170738"/>
                          <a:gd name="connsiteX246" fmla="*/ 509006 w 1800306"/>
                          <a:gd name="connsiteY246" fmla="*/ 699162 h 1170738"/>
                          <a:gd name="connsiteX247" fmla="*/ 238139 w 1800306"/>
                          <a:gd name="connsiteY247" fmla="*/ 695805 h 1170738"/>
                          <a:gd name="connsiteX248" fmla="*/ 236825 w 1800306"/>
                          <a:gd name="connsiteY248" fmla="*/ 694249 h 1170738"/>
                          <a:gd name="connsiteX249" fmla="*/ 238378 w 1800306"/>
                          <a:gd name="connsiteY249" fmla="*/ 695560 h 1170738"/>
                          <a:gd name="connsiteX250" fmla="*/ 239692 w 1800306"/>
                          <a:gd name="connsiteY250" fmla="*/ 697353 h 1170738"/>
                          <a:gd name="connsiteX251" fmla="*/ 238139 w 1800306"/>
                          <a:gd name="connsiteY251" fmla="*/ 695805 h 1170738"/>
                          <a:gd name="connsiteX252" fmla="*/ 232942 w 1800306"/>
                          <a:gd name="connsiteY252" fmla="*/ 689938 h 1170738"/>
                          <a:gd name="connsiteX253" fmla="*/ 233203 w 1800306"/>
                          <a:gd name="connsiteY253" fmla="*/ 689677 h 1170738"/>
                          <a:gd name="connsiteX254" fmla="*/ 234150 w 1800306"/>
                          <a:gd name="connsiteY254" fmla="*/ 691144 h 1170738"/>
                          <a:gd name="connsiteX255" fmla="*/ 232942 w 1800306"/>
                          <a:gd name="connsiteY255" fmla="*/ 689938 h 1170738"/>
                          <a:gd name="connsiteX256" fmla="*/ 228803 w 1800306"/>
                          <a:gd name="connsiteY256" fmla="*/ 685105 h 1170738"/>
                          <a:gd name="connsiteX257" fmla="*/ 229063 w 1800306"/>
                          <a:gd name="connsiteY257" fmla="*/ 684845 h 1170738"/>
                          <a:gd name="connsiteX258" fmla="*/ 230271 w 1800306"/>
                          <a:gd name="connsiteY258" fmla="*/ 686051 h 1170738"/>
                          <a:gd name="connsiteX259" fmla="*/ 228803 w 1800306"/>
                          <a:gd name="connsiteY259" fmla="*/ 685105 h 1170738"/>
                          <a:gd name="connsiteX260" fmla="*/ 273700 w 1800306"/>
                          <a:gd name="connsiteY260" fmla="*/ 681659 h 1170738"/>
                          <a:gd name="connsiteX261" fmla="*/ 271322 w 1800306"/>
                          <a:gd name="connsiteY261" fmla="*/ 679067 h 1170738"/>
                          <a:gd name="connsiteX262" fmla="*/ 273909 w 1800306"/>
                          <a:gd name="connsiteY262" fmla="*/ 681447 h 1170738"/>
                          <a:gd name="connsiteX263" fmla="*/ 276287 w 1800306"/>
                          <a:gd name="connsiteY263" fmla="*/ 684242 h 1170738"/>
                          <a:gd name="connsiteX264" fmla="*/ 273700 w 1800306"/>
                          <a:gd name="connsiteY264" fmla="*/ 681659 h 1170738"/>
                          <a:gd name="connsiteX265" fmla="*/ 225353 w 1800306"/>
                          <a:gd name="connsiteY265" fmla="*/ 680966 h 1170738"/>
                          <a:gd name="connsiteX266" fmla="*/ 225614 w 1800306"/>
                          <a:gd name="connsiteY266" fmla="*/ 680705 h 1170738"/>
                          <a:gd name="connsiteX267" fmla="*/ 226821 w 1800306"/>
                          <a:gd name="connsiteY267" fmla="*/ 681911 h 1170738"/>
                          <a:gd name="connsiteX268" fmla="*/ 225353 w 1800306"/>
                          <a:gd name="connsiteY268" fmla="*/ 680966 h 1170738"/>
                          <a:gd name="connsiteX269" fmla="*/ 368603 w 1800306"/>
                          <a:gd name="connsiteY269" fmla="*/ 676655 h 1170738"/>
                          <a:gd name="connsiteX270" fmla="*/ 372346 w 1800306"/>
                          <a:gd name="connsiteY270" fmla="*/ 673208 h 1170738"/>
                          <a:gd name="connsiteX271" fmla="*/ 369294 w 1800306"/>
                          <a:gd name="connsiteY271" fmla="*/ 676655 h 1170738"/>
                          <a:gd name="connsiteX272" fmla="*/ 365551 w 1800306"/>
                          <a:gd name="connsiteY272" fmla="*/ 680102 h 1170738"/>
                          <a:gd name="connsiteX273" fmla="*/ 368603 w 1800306"/>
                          <a:gd name="connsiteY273" fmla="*/ 676655 h 1170738"/>
                          <a:gd name="connsiteX274" fmla="*/ 455828 w 1800306"/>
                          <a:gd name="connsiteY274" fmla="*/ 676826 h 1170738"/>
                          <a:gd name="connsiteX275" fmla="*/ 454156 w 1800306"/>
                          <a:gd name="connsiteY275" fmla="*/ 674936 h 1170738"/>
                          <a:gd name="connsiteX276" fmla="*/ 456053 w 1800306"/>
                          <a:gd name="connsiteY276" fmla="*/ 676606 h 1170738"/>
                          <a:gd name="connsiteX277" fmla="*/ 457726 w 1800306"/>
                          <a:gd name="connsiteY277" fmla="*/ 678725 h 1170738"/>
                          <a:gd name="connsiteX278" fmla="*/ 455828 w 1800306"/>
                          <a:gd name="connsiteY278" fmla="*/ 676826 h 1170738"/>
                          <a:gd name="connsiteX279" fmla="*/ 266427 w 1800306"/>
                          <a:gd name="connsiteY279" fmla="*/ 673722 h 1170738"/>
                          <a:gd name="connsiteX280" fmla="*/ 265113 w 1800306"/>
                          <a:gd name="connsiteY280" fmla="*/ 672173 h 1170738"/>
                          <a:gd name="connsiteX281" fmla="*/ 266665 w 1800306"/>
                          <a:gd name="connsiteY281" fmla="*/ 673485 h 1170738"/>
                          <a:gd name="connsiteX282" fmla="*/ 268217 w 1800306"/>
                          <a:gd name="connsiteY282" fmla="*/ 675042 h 1170738"/>
                          <a:gd name="connsiteX283" fmla="*/ 266427 w 1800306"/>
                          <a:gd name="connsiteY283" fmla="*/ 673722 h 1170738"/>
                          <a:gd name="connsiteX284" fmla="*/ 261230 w 1800306"/>
                          <a:gd name="connsiteY284" fmla="*/ 667862 h 1170738"/>
                          <a:gd name="connsiteX285" fmla="*/ 261491 w 1800306"/>
                          <a:gd name="connsiteY285" fmla="*/ 667602 h 1170738"/>
                          <a:gd name="connsiteX286" fmla="*/ 262698 w 1800306"/>
                          <a:gd name="connsiteY286" fmla="*/ 668808 h 1170738"/>
                          <a:gd name="connsiteX287" fmla="*/ 261230 w 1800306"/>
                          <a:gd name="connsiteY287" fmla="*/ 667862 h 1170738"/>
                          <a:gd name="connsiteX288" fmla="*/ 1460342 w 1800306"/>
                          <a:gd name="connsiteY288" fmla="*/ 666477 h 1170738"/>
                          <a:gd name="connsiteX289" fmla="*/ 1460603 w 1800306"/>
                          <a:gd name="connsiteY289" fmla="*/ 666216 h 1170738"/>
                          <a:gd name="connsiteX290" fmla="*/ 1461548 w 1800306"/>
                          <a:gd name="connsiteY290" fmla="*/ 667683 h 1170738"/>
                          <a:gd name="connsiteX291" fmla="*/ 1460342 w 1800306"/>
                          <a:gd name="connsiteY291" fmla="*/ 666477 h 1170738"/>
                          <a:gd name="connsiteX292" fmla="*/ 257090 w 1800306"/>
                          <a:gd name="connsiteY292" fmla="*/ 663030 h 1170738"/>
                          <a:gd name="connsiteX293" fmla="*/ 257351 w 1800306"/>
                          <a:gd name="connsiteY293" fmla="*/ 662769 h 1170738"/>
                          <a:gd name="connsiteX294" fmla="*/ 258558 w 1800306"/>
                          <a:gd name="connsiteY294" fmla="*/ 663975 h 1170738"/>
                          <a:gd name="connsiteX295" fmla="*/ 257090 w 1800306"/>
                          <a:gd name="connsiteY295" fmla="*/ 663030 h 1170738"/>
                          <a:gd name="connsiteX296" fmla="*/ 339626 w 1800306"/>
                          <a:gd name="connsiteY296" fmla="*/ 655272 h 1170738"/>
                          <a:gd name="connsiteX297" fmla="*/ 341220 w 1800306"/>
                          <a:gd name="connsiteY297" fmla="*/ 653887 h 1170738"/>
                          <a:gd name="connsiteX298" fmla="*/ 340316 w 1800306"/>
                          <a:gd name="connsiteY298" fmla="*/ 655272 h 1170738"/>
                          <a:gd name="connsiteX299" fmla="*/ 338722 w 1800306"/>
                          <a:gd name="connsiteY299" fmla="*/ 656650 h 1170738"/>
                          <a:gd name="connsiteX300" fmla="*/ 339626 w 1800306"/>
                          <a:gd name="connsiteY300" fmla="*/ 655272 h 1170738"/>
                          <a:gd name="connsiteX301" fmla="*/ 480694 w 1800306"/>
                          <a:gd name="connsiteY301" fmla="*/ 651304 h 1170738"/>
                          <a:gd name="connsiteX302" fmla="*/ 476924 w 1800306"/>
                          <a:gd name="connsiteY302" fmla="*/ 647335 h 1170738"/>
                          <a:gd name="connsiteX303" fmla="*/ 480891 w 1800306"/>
                          <a:gd name="connsiteY303" fmla="*/ 651108 h 1170738"/>
                          <a:gd name="connsiteX304" fmla="*/ 484662 w 1800306"/>
                          <a:gd name="connsiteY304" fmla="*/ 655272 h 1170738"/>
                          <a:gd name="connsiteX305" fmla="*/ 480694 w 1800306"/>
                          <a:gd name="connsiteY305" fmla="*/ 651304 h 1170738"/>
                          <a:gd name="connsiteX306" fmla="*/ 347215 w 1800306"/>
                          <a:gd name="connsiteY306" fmla="*/ 647678 h 1170738"/>
                          <a:gd name="connsiteX307" fmla="*/ 348809 w 1800306"/>
                          <a:gd name="connsiteY307" fmla="*/ 646301 h 1170738"/>
                          <a:gd name="connsiteX308" fmla="*/ 347905 w 1800306"/>
                          <a:gd name="connsiteY308" fmla="*/ 647678 h 1170738"/>
                          <a:gd name="connsiteX309" fmla="*/ 346312 w 1800306"/>
                          <a:gd name="connsiteY309" fmla="*/ 649063 h 1170738"/>
                          <a:gd name="connsiteX310" fmla="*/ 347215 w 1800306"/>
                          <a:gd name="connsiteY310" fmla="*/ 647678 h 1170738"/>
                          <a:gd name="connsiteX311" fmla="*/ 1650113 w 1800306"/>
                          <a:gd name="connsiteY311" fmla="*/ 647164 h 1170738"/>
                          <a:gd name="connsiteX312" fmla="*/ 1648443 w 1800306"/>
                          <a:gd name="connsiteY312" fmla="*/ 645266 h 1170738"/>
                          <a:gd name="connsiteX313" fmla="*/ 1650333 w 1800306"/>
                          <a:gd name="connsiteY313" fmla="*/ 646936 h 1170738"/>
                          <a:gd name="connsiteX314" fmla="*/ 1652012 w 1800306"/>
                          <a:gd name="connsiteY314" fmla="*/ 649063 h 1170738"/>
                          <a:gd name="connsiteX315" fmla="*/ 1650113 w 1800306"/>
                          <a:gd name="connsiteY315" fmla="*/ 647164 h 1170738"/>
                          <a:gd name="connsiteX316" fmla="*/ 1602556 w 1800306"/>
                          <a:gd name="connsiteY316" fmla="*/ 626034 h 1170738"/>
                          <a:gd name="connsiteX317" fmla="*/ 1603762 w 1800306"/>
                          <a:gd name="connsiteY317" fmla="*/ 624820 h 1170738"/>
                          <a:gd name="connsiteX318" fmla="*/ 1604023 w 1800306"/>
                          <a:gd name="connsiteY318" fmla="*/ 625081 h 1170738"/>
                          <a:gd name="connsiteX319" fmla="*/ 1602556 w 1800306"/>
                          <a:gd name="connsiteY319" fmla="*/ 626034 h 1170738"/>
                          <a:gd name="connsiteX320" fmla="*/ 1606696 w 1800306"/>
                          <a:gd name="connsiteY320" fmla="*/ 622579 h 1170738"/>
                          <a:gd name="connsiteX321" fmla="*/ 1607902 w 1800306"/>
                          <a:gd name="connsiteY321" fmla="*/ 621373 h 1170738"/>
                          <a:gd name="connsiteX322" fmla="*/ 1608163 w 1800306"/>
                          <a:gd name="connsiteY322" fmla="*/ 621634 h 1170738"/>
                          <a:gd name="connsiteX323" fmla="*/ 1606696 w 1800306"/>
                          <a:gd name="connsiteY323" fmla="*/ 622579 h 1170738"/>
                          <a:gd name="connsiteX324" fmla="*/ 1612563 w 1800306"/>
                          <a:gd name="connsiteY324" fmla="*/ 617323 h 1170738"/>
                          <a:gd name="connsiteX325" fmla="*/ 1614152 w 1800306"/>
                          <a:gd name="connsiteY325" fmla="*/ 615946 h 1170738"/>
                          <a:gd name="connsiteX326" fmla="*/ 1613256 w 1800306"/>
                          <a:gd name="connsiteY326" fmla="*/ 617323 h 1170738"/>
                          <a:gd name="connsiteX327" fmla="*/ 1611659 w 1800306"/>
                          <a:gd name="connsiteY327" fmla="*/ 618700 h 1170738"/>
                          <a:gd name="connsiteX328" fmla="*/ 1612563 w 1800306"/>
                          <a:gd name="connsiteY328" fmla="*/ 617323 h 1170738"/>
                          <a:gd name="connsiteX329" fmla="*/ 1619115 w 1800306"/>
                          <a:gd name="connsiteY329" fmla="*/ 611456 h 1170738"/>
                          <a:gd name="connsiteX330" fmla="*/ 1621079 w 1800306"/>
                          <a:gd name="connsiteY330" fmla="*/ 609737 h 1170738"/>
                          <a:gd name="connsiteX331" fmla="*/ 1619807 w 1800306"/>
                          <a:gd name="connsiteY331" fmla="*/ 611456 h 1170738"/>
                          <a:gd name="connsiteX332" fmla="*/ 1617844 w 1800306"/>
                          <a:gd name="connsiteY332" fmla="*/ 613184 h 1170738"/>
                          <a:gd name="connsiteX333" fmla="*/ 1619115 w 1800306"/>
                          <a:gd name="connsiteY333" fmla="*/ 611456 h 1170738"/>
                          <a:gd name="connsiteX334" fmla="*/ 174808 w 1800306"/>
                          <a:gd name="connsiteY334" fmla="*/ 611676 h 1170738"/>
                          <a:gd name="connsiteX335" fmla="*/ 175813 w 1800306"/>
                          <a:gd name="connsiteY335" fmla="*/ 611488 h 1170738"/>
                          <a:gd name="connsiteX336" fmla="*/ 175451 w 1800306"/>
                          <a:gd name="connsiteY336" fmla="*/ 612263 h 1170738"/>
                          <a:gd name="connsiteX337" fmla="*/ 174808 w 1800306"/>
                          <a:gd name="connsiteY337" fmla="*/ 611676 h 1170738"/>
                          <a:gd name="connsiteX338" fmla="*/ 1579104 w 1800306"/>
                          <a:gd name="connsiteY338" fmla="*/ 599127 h 1170738"/>
                          <a:gd name="connsiteX339" fmla="*/ 1580310 w 1800306"/>
                          <a:gd name="connsiteY339" fmla="*/ 597912 h 1170738"/>
                          <a:gd name="connsiteX340" fmla="*/ 1580571 w 1800306"/>
                          <a:gd name="connsiteY340" fmla="*/ 598173 h 1170738"/>
                          <a:gd name="connsiteX341" fmla="*/ 1579104 w 1800306"/>
                          <a:gd name="connsiteY341" fmla="*/ 599127 h 1170738"/>
                          <a:gd name="connsiteX342" fmla="*/ 1583243 w 1800306"/>
                          <a:gd name="connsiteY342" fmla="*/ 595672 h 1170738"/>
                          <a:gd name="connsiteX343" fmla="*/ 1584450 w 1800306"/>
                          <a:gd name="connsiteY343" fmla="*/ 594466 h 1170738"/>
                          <a:gd name="connsiteX344" fmla="*/ 1584710 w 1800306"/>
                          <a:gd name="connsiteY344" fmla="*/ 594726 h 1170738"/>
                          <a:gd name="connsiteX345" fmla="*/ 1583243 w 1800306"/>
                          <a:gd name="connsiteY345" fmla="*/ 595672 h 1170738"/>
                          <a:gd name="connsiteX346" fmla="*/ 1589103 w 1800306"/>
                          <a:gd name="connsiteY346" fmla="*/ 590415 h 1170738"/>
                          <a:gd name="connsiteX347" fmla="*/ 1590700 w 1800306"/>
                          <a:gd name="connsiteY347" fmla="*/ 589030 h 1170738"/>
                          <a:gd name="connsiteX348" fmla="*/ 1589795 w 1800306"/>
                          <a:gd name="connsiteY348" fmla="*/ 590415 h 1170738"/>
                          <a:gd name="connsiteX349" fmla="*/ 1588198 w 1800306"/>
                          <a:gd name="connsiteY349" fmla="*/ 591793 h 1170738"/>
                          <a:gd name="connsiteX350" fmla="*/ 1589103 w 1800306"/>
                          <a:gd name="connsiteY350" fmla="*/ 590415 h 1170738"/>
                          <a:gd name="connsiteX351" fmla="*/ 1595662 w 1800306"/>
                          <a:gd name="connsiteY351" fmla="*/ 584548 h 1170738"/>
                          <a:gd name="connsiteX352" fmla="*/ 1597626 w 1800306"/>
                          <a:gd name="connsiteY352" fmla="*/ 582821 h 1170738"/>
                          <a:gd name="connsiteX353" fmla="*/ 1596347 w 1800306"/>
                          <a:gd name="connsiteY353" fmla="*/ 584548 h 1170738"/>
                          <a:gd name="connsiteX354" fmla="*/ 1594383 w 1800306"/>
                          <a:gd name="connsiteY354" fmla="*/ 586276 h 1170738"/>
                          <a:gd name="connsiteX355" fmla="*/ 1595662 w 1800306"/>
                          <a:gd name="connsiteY355" fmla="*/ 584548 h 1170738"/>
                          <a:gd name="connsiteX356" fmla="*/ 1123 w 1800306"/>
                          <a:gd name="connsiteY356" fmla="*/ 547813 h 1170738"/>
                          <a:gd name="connsiteX357" fmla="*/ 1384 w 1800306"/>
                          <a:gd name="connsiteY357" fmla="*/ 547552 h 1170738"/>
                          <a:gd name="connsiteX358" fmla="*/ 2591 w 1800306"/>
                          <a:gd name="connsiteY358" fmla="*/ 548758 h 1170738"/>
                          <a:gd name="connsiteX359" fmla="*/ 1123 w 1800306"/>
                          <a:gd name="connsiteY359" fmla="*/ 547813 h 1170738"/>
                          <a:gd name="connsiteX360" fmla="*/ 1799474 w 1800306"/>
                          <a:gd name="connsiteY360" fmla="*/ 522625 h 1170738"/>
                          <a:gd name="connsiteX361" fmla="*/ 1798154 w 1800306"/>
                          <a:gd name="connsiteY361" fmla="*/ 521077 h 1170738"/>
                          <a:gd name="connsiteX362" fmla="*/ 1799710 w 1800306"/>
                          <a:gd name="connsiteY362" fmla="*/ 522389 h 1170738"/>
                          <a:gd name="connsiteX363" fmla="*/ 1801022 w 1800306"/>
                          <a:gd name="connsiteY363" fmla="*/ 524181 h 1170738"/>
                          <a:gd name="connsiteX364" fmla="*/ 1799474 w 1800306"/>
                          <a:gd name="connsiteY364" fmla="*/ 522625 h 1170738"/>
                          <a:gd name="connsiteX365" fmla="*/ 527546 w 1800306"/>
                          <a:gd name="connsiteY365" fmla="*/ 463635 h 1170738"/>
                          <a:gd name="connsiteX366" fmla="*/ 527806 w 1800306"/>
                          <a:gd name="connsiteY366" fmla="*/ 463375 h 1170738"/>
                          <a:gd name="connsiteX367" fmla="*/ 529014 w 1800306"/>
                          <a:gd name="connsiteY367" fmla="*/ 464581 h 1170738"/>
                          <a:gd name="connsiteX368" fmla="*/ 527546 w 1800306"/>
                          <a:gd name="connsiteY368" fmla="*/ 463635 h 1170738"/>
                          <a:gd name="connsiteX369" fmla="*/ 777392 w 1800306"/>
                          <a:gd name="connsiteY369" fmla="*/ 455617 h 1170738"/>
                          <a:gd name="connsiteX370" fmla="*/ 778600 w 1800306"/>
                          <a:gd name="connsiteY370" fmla="*/ 454411 h 1170738"/>
                          <a:gd name="connsiteX371" fmla="*/ 778859 w 1800306"/>
                          <a:gd name="connsiteY371" fmla="*/ 454672 h 1170738"/>
                          <a:gd name="connsiteX372" fmla="*/ 777392 w 1800306"/>
                          <a:gd name="connsiteY372" fmla="*/ 455617 h 1170738"/>
                          <a:gd name="connsiteX373" fmla="*/ 782222 w 1800306"/>
                          <a:gd name="connsiteY373" fmla="*/ 451477 h 1170738"/>
                          <a:gd name="connsiteX374" fmla="*/ 783429 w 1800306"/>
                          <a:gd name="connsiteY374" fmla="*/ 450271 h 1170738"/>
                          <a:gd name="connsiteX375" fmla="*/ 783689 w 1800306"/>
                          <a:gd name="connsiteY375" fmla="*/ 450532 h 1170738"/>
                          <a:gd name="connsiteX376" fmla="*/ 782222 w 1800306"/>
                          <a:gd name="connsiteY376" fmla="*/ 451477 h 1170738"/>
                          <a:gd name="connsiteX377" fmla="*/ 788086 w 1800306"/>
                          <a:gd name="connsiteY377" fmla="*/ 446213 h 1170738"/>
                          <a:gd name="connsiteX378" fmla="*/ 789680 w 1800306"/>
                          <a:gd name="connsiteY378" fmla="*/ 444836 h 1170738"/>
                          <a:gd name="connsiteX379" fmla="*/ 788776 w 1800306"/>
                          <a:gd name="connsiteY379" fmla="*/ 446213 h 1170738"/>
                          <a:gd name="connsiteX380" fmla="*/ 787182 w 1800306"/>
                          <a:gd name="connsiteY380" fmla="*/ 447598 h 1170738"/>
                          <a:gd name="connsiteX381" fmla="*/ 788086 w 1800306"/>
                          <a:gd name="connsiteY381" fmla="*/ 446213 h 1170738"/>
                          <a:gd name="connsiteX382" fmla="*/ 795330 w 1800306"/>
                          <a:gd name="connsiteY382" fmla="*/ 439661 h 1170738"/>
                          <a:gd name="connsiteX383" fmla="*/ 797296 w 1800306"/>
                          <a:gd name="connsiteY383" fmla="*/ 437934 h 1170738"/>
                          <a:gd name="connsiteX384" fmla="*/ 796020 w 1800306"/>
                          <a:gd name="connsiteY384" fmla="*/ 439661 h 1170738"/>
                          <a:gd name="connsiteX385" fmla="*/ 794055 w 1800306"/>
                          <a:gd name="connsiteY385" fmla="*/ 441389 h 1170738"/>
                          <a:gd name="connsiteX386" fmla="*/ 795330 w 1800306"/>
                          <a:gd name="connsiteY386" fmla="*/ 439661 h 1170738"/>
                          <a:gd name="connsiteX387" fmla="*/ 806025 w 1800306"/>
                          <a:gd name="connsiteY387" fmla="*/ 429654 h 1170738"/>
                          <a:gd name="connsiteX388" fmla="*/ 809767 w 1800306"/>
                          <a:gd name="connsiteY388" fmla="*/ 426207 h 1170738"/>
                          <a:gd name="connsiteX389" fmla="*/ 806714 w 1800306"/>
                          <a:gd name="connsiteY389" fmla="*/ 429654 h 1170738"/>
                          <a:gd name="connsiteX390" fmla="*/ 802971 w 1800306"/>
                          <a:gd name="connsiteY390" fmla="*/ 433110 h 1170738"/>
                          <a:gd name="connsiteX391" fmla="*/ 806025 w 1800306"/>
                          <a:gd name="connsiteY391" fmla="*/ 429654 h 1170738"/>
                          <a:gd name="connsiteX392" fmla="*/ 758764 w 1800306"/>
                          <a:gd name="connsiteY392" fmla="*/ 424570 h 1170738"/>
                          <a:gd name="connsiteX393" fmla="*/ 759971 w 1800306"/>
                          <a:gd name="connsiteY393" fmla="*/ 423364 h 1170738"/>
                          <a:gd name="connsiteX394" fmla="*/ 760231 w 1800306"/>
                          <a:gd name="connsiteY394" fmla="*/ 423624 h 1170738"/>
                          <a:gd name="connsiteX395" fmla="*/ 758764 w 1800306"/>
                          <a:gd name="connsiteY395" fmla="*/ 424570 h 1170738"/>
                          <a:gd name="connsiteX396" fmla="*/ 813614 w 1800306"/>
                          <a:gd name="connsiteY396" fmla="*/ 422068 h 1170738"/>
                          <a:gd name="connsiteX397" fmla="*/ 816653 w 1800306"/>
                          <a:gd name="connsiteY397" fmla="*/ 419305 h 1170738"/>
                          <a:gd name="connsiteX398" fmla="*/ 814304 w 1800306"/>
                          <a:gd name="connsiteY398" fmla="*/ 422068 h 1170738"/>
                          <a:gd name="connsiteX399" fmla="*/ 811263 w 1800306"/>
                          <a:gd name="connsiteY399" fmla="*/ 424830 h 1170738"/>
                          <a:gd name="connsiteX400" fmla="*/ 813614 w 1800306"/>
                          <a:gd name="connsiteY400" fmla="*/ 422068 h 1170738"/>
                          <a:gd name="connsiteX401" fmla="*/ 765318 w 1800306"/>
                          <a:gd name="connsiteY401" fmla="*/ 418621 h 1170738"/>
                          <a:gd name="connsiteX402" fmla="*/ 766912 w 1800306"/>
                          <a:gd name="connsiteY402" fmla="*/ 417236 h 1170738"/>
                          <a:gd name="connsiteX403" fmla="*/ 766008 w 1800306"/>
                          <a:gd name="connsiteY403" fmla="*/ 418621 h 1170738"/>
                          <a:gd name="connsiteX404" fmla="*/ 764414 w 1800306"/>
                          <a:gd name="connsiteY404" fmla="*/ 419998 h 1170738"/>
                          <a:gd name="connsiteX405" fmla="*/ 765318 w 1800306"/>
                          <a:gd name="connsiteY405" fmla="*/ 418621 h 1170738"/>
                          <a:gd name="connsiteX406" fmla="*/ 821203 w 1800306"/>
                          <a:gd name="connsiteY406" fmla="*/ 413789 h 1170738"/>
                          <a:gd name="connsiteX407" fmla="*/ 822797 w 1800306"/>
                          <a:gd name="connsiteY407" fmla="*/ 412411 h 1170738"/>
                          <a:gd name="connsiteX408" fmla="*/ 821893 w 1800306"/>
                          <a:gd name="connsiteY408" fmla="*/ 413789 h 1170738"/>
                          <a:gd name="connsiteX409" fmla="*/ 820299 w 1800306"/>
                          <a:gd name="connsiteY409" fmla="*/ 415166 h 1170738"/>
                          <a:gd name="connsiteX410" fmla="*/ 821203 w 1800306"/>
                          <a:gd name="connsiteY410" fmla="*/ 413789 h 1170738"/>
                          <a:gd name="connsiteX411" fmla="*/ 772562 w 1800306"/>
                          <a:gd name="connsiteY411" fmla="*/ 412061 h 1170738"/>
                          <a:gd name="connsiteX412" fmla="*/ 774528 w 1800306"/>
                          <a:gd name="connsiteY412" fmla="*/ 410342 h 1170738"/>
                          <a:gd name="connsiteX413" fmla="*/ 773252 w 1800306"/>
                          <a:gd name="connsiteY413" fmla="*/ 412061 h 1170738"/>
                          <a:gd name="connsiteX414" fmla="*/ 771287 w 1800306"/>
                          <a:gd name="connsiteY414" fmla="*/ 413789 h 1170738"/>
                          <a:gd name="connsiteX415" fmla="*/ 772562 w 1800306"/>
                          <a:gd name="connsiteY415" fmla="*/ 412061 h 1170738"/>
                          <a:gd name="connsiteX416" fmla="*/ 827067 w 1800306"/>
                          <a:gd name="connsiteY416" fmla="*/ 407367 h 1170738"/>
                          <a:gd name="connsiteX417" fmla="*/ 829310 w 1800306"/>
                          <a:gd name="connsiteY417" fmla="*/ 405118 h 1170738"/>
                          <a:gd name="connsiteX418" fmla="*/ 831552 w 1800306"/>
                          <a:gd name="connsiteY418" fmla="*/ 403097 h 1170738"/>
                          <a:gd name="connsiteX419" fmla="*/ 829526 w 1800306"/>
                          <a:gd name="connsiteY419" fmla="*/ 405338 h 1170738"/>
                          <a:gd name="connsiteX420" fmla="*/ 827067 w 1800306"/>
                          <a:gd name="connsiteY420" fmla="*/ 407367 h 1170738"/>
                          <a:gd name="connsiteX421" fmla="*/ 784981 w 1800306"/>
                          <a:gd name="connsiteY421" fmla="*/ 400335 h 1170738"/>
                          <a:gd name="connsiteX422" fmla="*/ 789771 w 1800306"/>
                          <a:gd name="connsiteY422" fmla="*/ 395853 h 1170738"/>
                          <a:gd name="connsiteX423" fmla="*/ 785671 w 1800306"/>
                          <a:gd name="connsiteY423" fmla="*/ 400335 h 1170738"/>
                          <a:gd name="connsiteX424" fmla="*/ 780881 w 1800306"/>
                          <a:gd name="connsiteY424" fmla="*/ 404817 h 1170738"/>
                          <a:gd name="connsiteX425" fmla="*/ 784981 w 1800306"/>
                          <a:gd name="connsiteY425" fmla="*/ 400335 h 1170738"/>
                          <a:gd name="connsiteX426" fmla="*/ 793950 w 1800306"/>
                          <a:gd name="connsiteY426" fmla="*/ 390678 h 1170738"/>
                          <a:gd name="connsiteX427" fmla="*/ 795916 w 1800306"/>
                          <a:gd name="connsiteY427" fmla="*/ 388951 h 1170738"/>
                          <a:gd name="connsiteX428" fmla="*/ 794641 w 1800306"/>
                          <a:gd name="connsiteY428" fmla="*/ 390678 h 1170738"/>
                          <a:gd name="connsiteX429" fmla="*/ 792675 w 1800306"/>
                          <a:gd name="connsiteY429" fmla="*/ 392398 h 1170738"/>
                          <a:gd name="connsiteX430" fmla="*/ 793950 w 1800306"/>
                          <a:gd name="connsiteY430" fmla="*/ 390678 h 1170738"/>
                          <a:gd name="connsiteX431" fmla="*/ 803609 w 1800306"/>
                          <a:gd name="connsiteY431" fmla="*/ 380329 h 1170738"/>
                          <a:gd name="connsiteX432" fmla="*/ 808399 w 1800306"/>
                          <a:gd name="connsiteY432" fmla="*/ 375839 h 1170738"/>
                          <a:gd name="connsiteX433" fmla="*/ 804299 w 1800306"/>
                          <a:gd name="connsiteY433" fmla="*/ 380329 h 1170738"/>
                          <a:gd name="connsiteX434" fmla="*/ 799510 w 1800306"/>
                          <a:gd name="connsiteY434" fmla="*/ 384811 h 1170738"/>
                          <a:gd name="connsiteX435" fmla="*/ 803609 w 1800306"/>
                          <a:gd name="connsiteY435" fmla="*/ 380329 h 1170738"/>
                          <a:gd name="connsiteX436" fmla="*/ 662862 w 1800306"/>
                          <a:gd name="connsiteY436" fmla="*/ 301070 h 1170738"/>
                          <a:gd name="connsiteX437" fmla="*/ 664070 w 1800306"/>
                          <a:gd name="connsiteY437" fmla="*/ 299862 h 1170738"/>
                          <a:gd name="connsiteX438" fmla="*/ 664330 w 1800306"/>
                          <a:gd name="connsiteY438" fmla="*/ 300123 h 1170738"/>
                          <a:gd name="connsiteX439" fmla="*/ 662862 w 1800306"/>
                          <a:gd name="connsiteY439" fmla="*/ 301070 h 1170738"/>
                          <a:gd name="connsiteX440" fmla="*/ 669071 w 1800306"/>
                          <a:gd name="connsiteY440" fmla="*/ 294215 h 1170738"/>
                          <a:gd name="connsiteX441" fmla="*/ 671314 w 1800306"/>
                          <a:gd name="connsiteY441" fmla="*/ 291973 h 1170738"/>
                          <a:gd name="connsiteX442" fmla="*/ 673556 w 1800306"/>
                          <a:gd name="connsiteY442" fmla="*/ 289946 h 1170738"/>
                          <a:gd name="connsiteX443" fmla="*/ 671530 w 1800306"/>
                          <a:gd name="connsiteY443" fmla="*/ 292189 h 1170738"/>
                          <a:gd name="connsiteX444" fmla="*/ 669071 w 1800306"/>
                          <a:gd name="connsiteY444" fmla="*/ 294215 h 1170738"/>
                          <a:gd name="connsiteX445" fmla="*/ 676661 w 1800306"/>
                          <a:gd name="connsiteY445" fmla="*/ 287271 h 1170738"/>
                          <a:gd name="connsiteX446" fmla="*/ 677868 w 1800306"/>
                          <a:gd name="connsiteY446" fmla="*/ 286064 h 1170738"/>
                          <a:gd name="connsiteX447" fmla="*/ 678129 w 1800306"/>
                          <a:gd name="connsiteY447" fmla="*/ 286324 h 1170738"/>
                          <a:gd name="connsiteX448" fmla="*/ 676661 w 1800306"/>
                          <a:gd name="connsiteY448" fmla="*/ 287271 h 1170738"/>
                          <a:gd name="connsiteX449" fmla="*/ 632505 w 1800306"/>
                          <a:gd name="connsiteY449" fmla="*/ 281752 h 1170738"/>
                          <a:gd name="connsiteX450" fmla="*/ 633712 w 1800306"/>
                          <a:gd name="connsiteY450" fmla="*/ 280544 h 1170738"/>
                          <a:gd name="connsiteX451" fmla="*/ 633972 w 1800306"/>
                          <a:gd name="connsiteY451" fmla="*/ 280805 h 1170738"/>
                          <a:gd name="connsiteX452" fmla="*/ 632505 w 1800306"/>
                          <a:gd name="connsiteY452" fmla="*/ 281752 h 1170738"/>
                          <a:gd name="connsiteX453" fmla="*/ 635954 w 1800306"/>
                          <a:gd name="connsiteY453" fmla="*/ 277612 h 1170738"/>
                          <a:gd name="connsiteX454" fmla="*/ 637162 w 1800306"/>
                          <a:gd name="connsiteY454" fmla="*/ 276404 h 1170738"/>
                          <a:gd name="connsiteX455" fmla="*/ 637423 w 1800306"/>
                          <a:gd name="connsiteY455" fmla="*/ 276665 h 1170738"/>
                          <a:gd name="connsiteX456" fmla="*/ 635954 w 1800306"/>
                          <a:gd name="connsiteY456" fmla="*/ 277612 h 1170738"/>
                          <a:gd name="connsiteX457" fmla="*/ 645268 w 1800306"/>
                          <a:gd name="connsiteY457" fmla="*/ 267524 h 1170738"/>
                          <a:gd name="connsiteX458" fmla="*/ 650406 w 1800306"/>
                          <a:gd name="connsiteY458" fmla="*/ 262694 h 1170738"/>
                          <a:gd name="connsiteX459" fmla="*/ 645959 w 1800306"/>
                          <a:gd name="connsiteY459" fmla="*/ 267524 h 1170738"/>
                          <a:gd name="connsiteX460" fmla="*/ 640821 w 1800306"/>
                          <a:gd name="connsiteY460" fmla="*/ 272353 h 1170738"/>
                          <a:gd name="connsiteX461" fmla="*/ 645268 w 1800306"/>
                          <a:gd name="connsiteY461" fmla="*/ 267524 h 1170738"/>
                          <a:gd name="connsiteX462" fmla="*/ 653203 w 1800306"/>
                          <a:gd name="connsiteY462" fmla="*/ 260363 h 1170738"/>
                          <a:gd name="connsiteX463" fmla="*/ 654411 w 1800306"/>
                          <a:gd name="connsiteY463" fmla="*/ 259156 h 1170738"/>
                          <a:gd name="connsiteX464" fmla="*/ 654671 w 1800306"/>
                          <a:gd name="connsiteY464" fmla="*/ 259416 h 1170738"/>
                          <a:gd name="connsiteX465" fmla="*/ 653203 w 1800306"/>
                          <a:gd name="connsiteY465" fmla="*/ 260363 h 1170738"/>
                          <a:gd name="connsiteX466" fmla="*/ 1349354 w 1800306"/>
                          <a:gd name="connsiteY466" fmla="*/ 104438 h 1170738"/>
                          <a:gd name="connsiteX467" fmla="*/ 1350560 w 1800306"/>
                          <a:gd name="connsiteY467" fmla="*/ 103230 h 1170738"/>
                          <a:gd name="connsiteX468" fmla="*/ 1350821 w 1800306"/>
                          <a:gd name="connsiteY468" fmla="*/ 103491 h 1170738"/>
                          <a:gd name="connsiteX469" fmla="*/ 1349354 w 1800306"/>
                          <a:gd name="connsiteY469" fmla="*/ 104438 h 1170738"/>
                          <a:gd name="connsiteX470" fmla="*/ 448203 w 1800306"/>
                          <a:gd name="connsiteY470" fmla="*/ 101421 h 1170738"/>
                          <a:gd name="connsiteX471" fmla="*/ 448464 w 1800306"/>
                          <a:gd name="connsiteY471" fmla="*/ 101160 h 1170738"/>
                          <a:gd name="connsiteX472" fmla="*/ 449411 w 1800306"/>
                          <a:gd name="connsiteY472" fmla="*/ 102628 h 1170738"/>
                          <a:gd name="connsiteX473" fmla="*/ 448203 w 1800306"/>
                          <a:gd name="connsiteY473" fmla="*/ 101421 h 1170738"/>
                          <a:gd name="connsiteX474" fmla="*/ 1353494 w 1800306"/>
                          <a:gd name="connsiteY474" fmla="*/ 100987 h 1170738"/>
                          <a:gd name="connsiteX475" fmla="*/ 1354700 w 1800306"/>
                          <a:gd name="connsiteY475" fmla="*/ 99781 h 1170738"/>
                          <a:gd name="connsiteX476" fmla="*/ 1354961 w 1800306"/>
                          <a:gd name="connsiteY476" fmla="*/ 100041 h 1170738"/>
                          <a:gd name="connsiteX477" fmla="*/ 1353494 w 1800306"/>
                          <a:gd name="connsiteY477" fmla="*/ 100987 h 1170738"/>
                          <a:gd name="connsiteX478" fmla="*/ 444064 w 1800306"/>
                          <a:gd name="connsiteY478" fmla="*/ 97971 h 1170738"/>
                          <a:gd name="connsiteX479" fmla="*/ 444324 w 1800306"/>
                          <a:gd name="connsiteY479" fmla="*/ 97711 h 1170738"/>
                          <a:gd name="connsiteX480" fmla="*/ 445531 w 1800306"/>
                          <a:gd name="connsiteY480" fmla="*/ 98918 h 1170738"/>
                          <a:gd name="connsiteX481" fmla="*/ 444064 w 1800306"/>
                          <a:gd name="connsiteY481" fmla="*/ 97971 h 1170738"/>
                          <a:gd name="connsiteX482" fmla="*/ 1302091 w 1800306"/>
                          <a:gd name="connsiteY482" fmla="*/ 97109 h 1170738"/>
                          <a:gd name="connsiteX483" fmla="*/ 1303680 w 1800306"/>
                          <a:gd name="connsiteY483" fmla="*/ 95729 h 1170738"/>
                          <a:gd name="connsiteX484" fmla="*/ 1302784 w 1800306"/>
                          <a:gd name="connsiteY484" fmla="*/ 97109 h 1170738"/>
                          <a:gd name="connsiteX485" fmla="*/ 1301186 w 1800306"/>
                          <a:gd name="connsiteY485" fmla="*/ 98488 h 1170738"/>
                          <a:gd name="connsiteX486" fmla="*/ 1302091 w 1800306"/>
                          <a:gd name="connsiteY486" fmla="*/ 97109 h 1170738"/>
                          <a:gd name="connsiteX487" fmla="*/ 432335 w 1800306"/>
                          <a:gd name="connsiteY487" fmla="*/ 88312 h 1170738"/>
                          <a:gd name="connsiteX488" fmla="*/ 432595 w 1800306"/>
                          <a:gd name="connsiteY488" fmla="*/ 88051 h 1170738"/>
                          <a:gd name="connsiteX489" fmla="*/ 433803 w 1800306"/>
                          <a:gd name="connsiteY489" fmla="*/ 89259 h 1170738"/>
                          <a:gd name="connsiteX490" fmla="*/ 432335 w 1800306"/>
                          <a:gd name="connsiteY490" fmla="*/ 88312 h 1170738"/>
                          <a:gd name="connsiteX491" fmla="*/ 487530 w 1800306"/>
                          <a:gd name="connsiteY491" fmla="*/ 87622 h 1170738"/>
                          <a:gd name="connsiteX492" fmla="*/ 487790 w 1800306"/>
                          <a:gd name="connsiteY492" fmla="*/ 87362 h 1170738"/>
                          <a:gd name="connsiteX493" fmla="*/ 488737 w 1800306"/>
                          <a:gd name="connsiteY493" fmla="*/ 88829 h 1170738"/>
                          <a:gd name="connsiteX494" fmla="*/ 487530 w 1800306"/>
                          <a:gd name="connsiteY494" fmla="*/ 87622 h 1170738"/>
                          <a:gd name="connsiteX495" fmla="*/ 1369360 w 1800306"/>
                          <a:gd name="connsiteY495" fmla="*/ 87879 h 1170738"/>
                          <a:gd name="connsiteX496" fmla="*/ 1370566 w 1800306"/>
                          <a:gd name="connsiteY496" fmla="*/ 86671 h 1170738"/>
                          <a:gd name="connsiteX497" fmla="*/ 1370827 w 1800306"/>
                          <a:gd name="connsiteY497" fmla="*/ 86932 h 1170738"/>
                          <a:gd name="connsiteX498" fmla="*/ 1369360 w 1800306"/>
                          <a:gd name="connsiteY498" fmla="*/ 87879 h 1170738"/>
                          <a:gd name="connsiteX499" fmla="*/ 1314167 w 1800306"/>
                          <a:gd name="connsiteY499" fmla="*/ 87189 h 1170738"/>
                          <a:gd name="connsiteX500" fmla="*/ 1315374 w 1800306"/>
                          <a:gd name="connsiteY500" fmla="*/ 85981 h 1170738"/>
                          <a:gd name="connsiteX501" fmla="*/ 1315634 w 1800306"/>
                          <a:gd name="connsiteY501" fmla="*/ 86242 h 1170738"/>
                          <a:gd name="connsiteX502" fmla="*/ 1314167 w 1800306"/>
                          <a:gd name="connsiteY502" fmla="*/ 87189 h 1170738"/>
                          <a:gd name="connsiteX503" fmla="*/ 428195 w 1800306"/>
                          <a:gd name="connsiteY503" fmla="*/ 84862 h 1170738"/>
                          <a:gd name="connsiteX504" fmla="*/ 428455 w 1800306"/>
                          <a:gd name="connsiteY504" fmla="*/ 84602 h 1170738"/>
                          <a:gd name="connsiteX505" fmla="*/ 429402 w 1800306"/>
                          <a:gd name="connsiteY505" fmla="*/ 86069 h 1170738"/>
                          <a:gd name="connsiteX506" fmla="*/ 428195 w 1800306"/>
                          <a:gd name="connsiteY506" fmla="*/ 84862 h 1170738"/>
                          <a:gd name="connsiteX507" fmla="*/ 483390 w 1800306"/>
                          <a:gd name="connsiteY507" fmla="*/ 84172 h 1170738"/>
                          <a:gd name="connsiteX508" fmla="*/ 483651 w 1800306"/>
                          <a:gd name="connsiteY508" fmla="*/ 83911 h 1170738"/>
                          <a:gd name="connsiteX509" fmla="*/ 484598 w 1800306"/>
                          <a:gd name="connsiteY509" fmla="*/ 85380 h 1170738"/>
                          <a:gd name="connsiteX510" fmla="*/ 483390 w 1800306"/>
                          <a:gd name="connsiteY510" fmla="*/ 84172 h 1170738"/>
                          <a:gd name="connsiteX511" fmla="*/ 1373499 w 1800306"/>
                          <a:gd name="connsiteY511" fmla="*/ 84429 h 1170738"/>
                          <a:gd name="connsiteX512" fmla="*/ 1374706 w 1800306"/>
                          <a:gd name="connsiteY512" fmla="*/ 83222 h 1170738"/>
                          <a:gd name="connsiteX513" fmla="*/ 1374966 w 1800306"/>
                          <a:gd name="connsiteY513" fmla="*/ 83482 h 1170738"/>
                          <a:gd name="connsiteX514" fmla="*/ 1373499 w 1800306"/>
                          <a:gd name="connsiteY514" fmla="*/ 84429 h 1170738"/>
                          <a:gd name="connsiteX515" fmla="*/ 1385226 w 1800306"/>
                          <a:gd name="connsiteY515" fmla="*/ 74770 h 1170738"/>
                          <a:gd name="connsiteX516" fmla="*/ 1386432 w 1800306"/>
                          <a:gd name="connsiteY516" fmla="*/ 73562 h 1170738"/>
                          <a:gd name="connsiteX517" fmla="*/ 1386692 w 1800306"/>
                          <a:gd name="connsiteY517" fmla="*/ 73823 h 1170738"/>
                          <a:gd name="connsiteX518" fmla="*/ 1385226 w 1800306"/>
                          <a:gd name="connsiteY518" fmla="*/ 74770 h 1170738"/>
                          <a:gd name="connsiteX519" fmla="*/ 1330033 w 1800306"/>
                          <a:gd name="connsiteY519" fmla="*/ 74080 h 1170738"/>
                          <a:gd name="connsiteX520" fmla="*/ 1331239 w 1800306"/>
                          <a:gd name="connsiteY520" fmla="*/ 72872 h 1170738"/>
                          <a:gd name="connsiteX521" fmla="*/ 1331500 w 1800306"/>
                          <a:gd name="connsiteY521" fmla="*/ 73133 h 1170738"/>
                          <a:gd name="connsiteX522" fmla="*/ 1330033 w 1800306"/>
                          <a:gd name="connsiteY522" fmla="*/ 74080 h 1170738"/>
                          <a:gd name="connsiteX523" fmla="*/ 412326 w 1800306"/>
                          <a:gd name="connsiteY523" fmla="*/ 71753 h 1170738"/>
                          <a:gd name="connsiteX524" fmla="*/ 412587 w 1800306"/>
                          <a:gd name="connsiteY524" fmla="*/ 71493 h 1170738"/>
                          <a:gd name="connsiteX525" fmla="*/ 413534 w 1800306"/>
                          <a:gd name="connsiteY525" fmla="*/ 72961 h 1170738"/>
                          <a:gd name="connsiteX526" fmla="*/ 412326 w 1800306"/>
                          <a:gd name="connsiteY526" fmla="*/ 71753 h 1170738"/>
                          <a:gd name="connsiteX527" fmla="*/ 467522 w 1800306"/>
                          <a:gd name="connsiteY527" fmla="*/ 71063 h 1170738"/>
                          <a:gd name="connsiteX528" fmla="*/ 467782 w 1800306"/>
                          <a:gd name="connsiteY528" fmla="*/ 70803 h 1170738"/>
                          <a:gd name="connsiteX529" fmla="*/ 468729 w 1800306"/>
                          <a:gd name="connsiteY529" fmla="*/ 72271 h 1170738"/>
                          <a:gd name="connsiteX530" fmla="*/ 467522 w 1800306"/>
                          <a:gd name="connsiteY530" fmla="*/ 71063 h 1170738"/>
                          <a:gd name="connsiteX531" fmla="*/ 1389365 w 1800306"/>
                          <a:gd name="connsiteY531" fmla="*/ 71321 h 1170738"/>
                          <a:gd name="connsiteX532" fmla="*/ 1390571 w 1800306"/>
                          <a:gd name="connsiteY532" fmla="*/ 70113 h 1170738"/>
                          <a:gd name="connsiteX533" fmla="*/ 1390832 w 1800306"/>
                          <a:gd name="connsiteY533" fmla="*/ 70374 h 1170738"/>
                          <a:gd name="connsiteX534" fmla="*/ 1389365 w 1800306"/>
                          <a:gd name="connsiteY534" fmla="*/ 71321 h 1170738"/>
                          <a:gd name="connsiteX535" fmla="*/ 1334173 w 1800306"/>
                          <a:gd name="connsiteY535" fmla="*/ 70630 h 1170738"/>
                          <a:gd name="connsiteX536" fmla="*/ 1335379 w 1800306"/>
                          <a:gd name="connsiteY536" fmla="*/ 69423 h 1170738"/>
                          <a:gd name="connsiteX537" fmla="*/ 1335640 w 1800306"/>
                          <a:gd name="connsiteY537" fmla="*/ 69684 h 1170738"/>
                          <a:gd name="connsiteX538" fmla="*/ 1334173 w 1800306"/>
                          <a:gd name="connsiteY538" fmla="*/ 70630 h 1170738"/>
                          <a:gd name="connsiteX539" fmla="*/ 408187 w 1800306"/>
                          <a:gd name="connsiteY539" fmla="*/ 68304 h 1170738"/>
                          <a:gd name="connsiteX540" fmla="*/ 408447 w 1800306"/>
                          <a:gd name="connsiteY540" fmla="*/ 68043 h 1170738"/>
                          <a:gd name="connsiteX541" fmla="*/ 409394 w 1800306"/>
                          <a:gd name="connsiteY541" fmla="*/ 69511 h 1170738"/>
                          <a:gd name="connsiteX542" fmla="*/ 408187 w 1800306"/>
                          <a:gd name="connsiteY542" fmla="*/ 68304 h 1170738"/>
                          <a:gd name="connsiteX543" fmla="*/ 463382 w 1800306"/>
                          <a:gd name="connsiteY543" fmla="*/ 67614 h 1170738"/>
                          <a:gd name="connsiteX544" fmla="*/ 463642 w 1800306"/>
                          <a:gd name="connsiteY544" fmla="*/ 67353 h 1170738"/>
                          <a:gd name="connsiteX545" fmla="*/ 464850 w 1800306"/>
                          <a:gd name="connsiteY545" fmla="*/ 68561 h 1170738"/>
                          <a:gd name="connsiteX546" fmla="*/ 463382 w 1800306"/>
                          <a:gd name="connsiteY546" fmla="*/ 67614 h 1170738"/>
                          <a:gd name="connsiteX547" fmla="*/ 451653 w 1800306"/>
                          <a:gd name="connsiteY547" fmla="*/ 57955 h 1170738"/>
                          <a:gd name="connsiteX548" fmla="*/ 451913 w 1800306"/>
                          <a:gd name="connsiteY548" fmla="*/ 57694 h 1170738"/>
                          <a:gd name="connsiteX549" fmla="*/ 452860 w 1800306"/>
                          <a:gd name="connsiteY549" fmla="*/ 59162 h 1170738"/>
                          <a:gd name="connsiteX550" fmla="*/ 451653 w 1800306"/>
                          <a:gd name="connsiteY550" fmla="*/ 57955 h 1170738"/>
                          <a:gd name="connsiteX551" fmla="*/ 1405239 w 1800306"/>
                          <a:gd name="connsiteY551" fmla="*/ 58212 h 1170738"/>
                          <a:gd name="connsiteX552" fmla="*/ 1406445 w 1800306"/>
                          <a:gd name="connsiteY552" fmla="*/ 57004 h 1170738"/>
                          <a:gd name="connsiteX553" fmla="*/ 1406706 w 1800306"/>
                          <a:gd name="connsiteY553" fmla="*/ 57265 h 1170738"/>
                          <a:gd name="connsiteX554" fmla="*/ 1405239 w 1800306"/>
                          <a:gd name="connsiteY554" fmla="*/ 58212 h 1170738"/>
                          <a:gd name="connsiteX555" fmla="*/ 1350039 w 1800306"/>
                          <a:gd name="connsiteY555" fmla="*/ 57521 h 1170738"/>
                          <a:gd name="connsiteX556" fmla="*/ 1351245 w 1800306"/>
                          <a:gd name="connsiteY556" fmla="*/ 56314 h 1170738"/>
                          <a:gd name="connsiteX557" fmla="*/ 1351506 w 1800306"/>
                          <a:gd name="connsiteY557" fmla="*/ 56574 h 1170738"/>
                          <a:gd name="connsiteX558" fmla="*/ 1350039 w 1800306"/>
                          <a:gd name="connsiteY558" fmla="*/ 57521 h 1170738"/>
                          <a:gd name="connsiteX559" fmla="*/ 392318 w 1800306"/>
                          <a:gd name="connsiteY559" fmla="*/ 55195 h 1170738"/>
                          <a:gd name="connsiteX560" fmla="*/ 392579 w 1800306"/>
                          <a:gd name="connsiteY560" fmla="*/ 54934 h 1170738"/>
                          <a:gd name="connsiteX561" fmla="*/ 393786 w 1800306"/>
                          <a:gd name="connsiteY561" fmla="*/ 56142 h 1170738"/>
                          <a:gd name="connsiteX562" fmla="*/ 392318 w 1800306"/>
                          <a:gd name="connsiteY562" fmla="*/ 55195 h 1170738"/>
                          <a:gd name="connsiteX563" fmla="*/ 447513 w 1800306"/>
                          <a:gd name="connsiteY563" fmla="*/ 54505 h 1170738"/>
                          <a:gd name="connsiteX564" fmla="*/ 447774 w 1800306"/>
                          <a:gd name="connsiteY564" fmla="*/ 54245 h 1170738"/>
                          <a:gd name="connsiteX565" fmla="*/ 448981 w 1800306"/>
                          <a:gd name="connsiteY565" fmla="*/ 55452 h 1170738"/>
                          <a:gd name="connsiteX566" fmla="*/ 447513 w 1800306"/>
                          <a:gd name="connsiteY566" fmla="*/ 54505 h 1170738"/>
                          <a:gd name="connsiteX567" fmla="*/ 1409379 w 1800306"/>
                          <a:gd name="connsiteY567" fmla="*/ 54762 h 1170738"/>
                          <a:gd name="connsiteX568" fmla="*/ 1410585 w 1800306"/>
                          <a:gd name="connsiteY568" fmla="*/ 53554 h 1170738"/>
                          <a:gd name="connsiteX569" fmla="*/ 1410846 w 1800306"/>
                          <a:gd name="connsiteY569" fmla="*/ 53815 h 1170738"/>
                          <a:gd name="connsiteX570" fmla="*/ 1409379 w 1800306"/>
                          <a:gd name="connsiteY570" fmla="*/ 54762 h 1170738"/>
                          <a:gd name="connsiteX571" fmla="*/ 1354178 w 1800306"/>
                          <a:gd name="connsiteY571" fmla="*/ 54072 h 1170738"/>
                          <a:gd name="connsiteX572" fmla="*/ 1355385 w 1800306"/>
                          <a:gd name="connsiteY572" fmla="*/ 52864 h 1170738"/>
                          <a:gd name="connsiteX573" fmla="*/ 1355645 w 1800306"/>
                          <a:gd name="connsiteY573" fmla="*/ 53125 h 1170738"/>
                          <a:gd name="connsiteX574" fmla="*/ 1354178 w 1800306"/>
                          <a:gd name="connsiteY574" fmla="*/ 54072 h 1170738"/>
                          <a:gd name="connsiteX575" fmla="*/ 1365913 w 1800306"/>
                          <a:gd name="connsiteY575" fmla="*/ 44412 h 1170738"/>
                          <a:gd name="connsiteX576" fmla="*/ 1367119 w 1800306"/>
                          <a:gd name="connsiteY576" fmla="*/ 43205 h 1170738"/>
                          <a:gd name="connsiteX577" fmla="*/ 1367380 w 1800306"/>
                          <a:gd name="connsiteY577" fmla="*/ 43466 h 1170738"/>
                          <a:gd name="connsiteX578" fmla="*/ 1365913 w 1800306"/>
                          <a:gd name="connsiteY578" fmla="*/ 44412 h 1170738"/>
                          <a:gd name="connsiteX579" fmla="*/ 376450 w 1800306"/>
                          <a:gd name="connsiteY579" fmla="*/ 42086 h 1170738"/>
                          <a:gd name="connsiteX580" fmla="*/ 376710 w 1800306"/>
                          <a:gd name="connsiteY580" fmla="*/ 41826 h 1170738"/>
                          <a:gd name="connsiteX581" fmla="*/ 377918 w 1800306"/>
                          <a:gd name="connsiteY581" fmla="*/ 43033 h 1170738"/>
                          <a:gd name="connsiteX582" fmla="*/ 376450 w 1800306"/>
                          <a:gd name="connsiteY582" fmla="*/ 42086 h 1170738"/>
                          <a:gd name="connsiteX583" fmla="*/ 431645 w 1800306"/>
                          <a:gd name="connsiteY583" fmla="*/ 41396 h 1170738"/>
                          <a:gd name="connsiteX584" fmla="*/ 431905 w 1800306"/>
                          <a:gd name="connsiteY584" fmla="*/ 41136 h 1170738"/>
                          <a:gd name="connsiteX585" fmla="*/ 433112 w 1800306"/>
                          <a:gd name="connsiteY585" fmla="*/ 42342 h 1170738"/>
                          <a:gd name="connsiteX586" fmla="*/ 431645 w 1800306"/>
                          <a:gd name="connsiteY586" fmla="*/ 41396 h 1170738"/>
                          <a:gd name="connsiteX587" fmla="*/ 1425245 w 1800306"/>
                          <a:gd name="connsiteY587" fmla="*/ 41653 h 1170738"/>
                          <a:gd name="connsiteX588" fmla="*/ 1426451 w 1800306"/>
                          <a:gd name="connsiteY588" fmla="*/ 40445 h 1170738"/>
                          <a:gd name="connsiteX589" fmla="*/ 1426712 w 1800306"/>
                          <a:gd name="connsiteY589" fmla="*/ 40706 h 1170738"/>
                          <a:gd name="connsiteX590" fmla="*/ 1425245 w 1800306"/>
                          <a:gd name="connsiteY590" fmla="*/ 41653 h 1170738"/>
                          <a:gd name="connsiteX591" fmla="*/ 1370053 w 1800306"/>
                          <a:gd name="connsiteY591" fmla="*/ 40963 h 1170738"/>
                          <a:gd name="connsiteX592" fmla="*/ 1371259 w 1800306"/>
                          <a:gd name="connsiteY592" fmla="*/ 39755 h 1170738"/>
                          <a:gd name="connsiteX593" fmla="*/ 1371519 w 1800306"/>
                          <a:gd name="connsiteY593" fmla="*/ 40016 h 1170738"/>
                          <a:gd name="connsiteX594" fmla="*/ 1370053 w 1800306"/>
                          <a:gd name="connsiteY594" fmla="*/ 40963 h 1170738"/>
                          <a:gd name="connsiteX595" fmla="*/ 372310 w 1800306"/>
                          <a:gd name="connsiteY595" fmla="*/ 38636 h 1170738"/>
                          <a:gd name="connsiteX596" fmla="*/ 372570 w 1800306"/>
                          <a:gd name="connsiteY596" fmla="*/ 38375 h 1170738"/>
                          <a:gd name="connsiteX597" fmla="*/ 373517 w 1800306"/>
                          <a:gd name="connsiteY597" fmla="*/ 39843 h 1170738"/>
                          <a:gd name="connsiteX598" fmla="*/ 372310 w 1800306"/>
                          <a:gd name="connsiteY598" fmla="*/ 38636 h 1170738"/>
                          <a:gd name="connsiteX599" fmla="*/ 427505 w 1800306"/>
                          <a:gd name="connsiteY599" fmla="*/ 37946 h 1170738"/>
                          <a:gd name="connsiteX600" fmla="*/ 427766 w 1800306"/>
                          <a:gd name="connsiteY600" fmla="*/ 37685 h 1170738"/>
                          <a:gd name="connsiteX601" fmla="*/ 428973 w 1800306"/>
                          <a:gd name="connsiteY601" fmla="*/ 38893 h 1170738"/>
                          <a:gd name="connsiteX602" fmla="*/ 427505 w 1800306"/>
                          <a:gd name="connsiteY602" fmla="*/ 37946 h 1170738"/>
                          <a:gd name="connsiteX603" fmla="*/ 1442146 w 1800306"/>
                          <a:gd name="connsiteY603" fmla="*/ 27425 h 1170738"/>
                          <a:gd name="connsiteX604" fmla="*/ 1443743 w 1800306"/>
                          <a:gd name="connsiteY604" fmla="*/ 26045 h 1170738"/>
                          <a:gd name="connsiteX605" fmla="*/ 1442838 w 1800306"/>
                          <a:gd name="connsiteY605" fmla="*/ 27425 h 1170738"/>
                          <a:gd name="connsiteX606" fmla="*/ 1441241 w 1800306"/>
                          <a:gd name="connsiteY606" fmla="*/ 28805 h 1170738"/>
                          <a:gd name="connsiteX607" fmla="*/ 1442146 w 1800306"/>
                          <a:gd name="connsiteY607" fmla="*/ 27425 h 1170738"/>
                          <a:gd name="connsiteX608" fmla="*/ 1385918 w 1800306"/>
                          <a:gd name="connsiteY608" fmla="*/ 27854 h 1170738"/>
                          <a:gd name="connsiteX609" fmla="*/ 1387124 w 1800306"/>
                          <a:gd name="connsiteY609" fmla="*/ 26647 h 1170738"/>
                          <a:gd name="connsiteX610" fmla="*/ 1387385 w 1800306"/>
                          <a:gd name="connsiteY610" fmla="*/ 26908 h 1170738"/>
                          <a:gd name="connsiteX611" fmla="*/ 1385918 w 1800306"/>
                          <a:gd name="connsiteY611" fmla="*/ 27854 h 1170738"/>
                          <a:gd name="connsiteX612" fmla="*/ 411637 w 1800306"/>
                          <a:gd name="connsiteY612" fmla="*/ 24838 h 1170738"/>
                          <a:gd name="connsiteX613" fmla="*/ 411897 w 1800306"/>
                          <a:gd name="connsiteY613" fmla="*/ 24577 h 1170738"/>
                          <a:gd name="connsiteX614" fmla="*/ 413104 w 1800306"/>
                          <a:gd name="connsiteY614" fmla="*/ 25785 h 1170738"/>
                          <a:gd name="connsiteX615" fmla="*/ 411637 w 1800306"/>
                          <a:gd name="connsiteY615" fmla="*/ 24838 h 1170738"/>
                          <a:gd name="connsiteX616" fmla="*/ 1390058 w 1800306"/>
                          <a:gd name="connsiteY616" fmla="*/ 24404 h 1170738"/>
                          <a:gd name="connsiteX617" fmla="*/ 1391264 w 1800306"/>
                          <a:gd name="connsiteY617" fmla="*/ 23197 h 1170738"/>
                          <a:gd name="connsiteX618" fmla="*/ 1391525 w 1800306"/>
                          <a:gd name="connsiteY618" fmla="*/ 23457 h 1170738"/>
                          <a:gd name="connsiteX619" fmla="*/ 1390058 w 1800306"/>
                          <a:gd name="connsiteY619" fmla="*/ 24404 h 1170738"/>
                          <a:gd name="connsiteX620" fmla="*/ 395768 w 1800306"/>
                          <a:gd name="connsiteY620" fmla="*/ 11729 h 1170738"/>
                          <a:gd name="connsiteX621" fmla="*/ 396028 w 1800306"/>
                          <a:gd name="connsiteY621" fmla="*/ 11468 h 1170738"/>
                          <a:gd name="connsiteX622" fmla="*/ 396975 w 1800306"/>
                          <a:gd name="connsiteY622" fmla="*/ 12936 h 1170738"/>
                          <a:gd name="connsiteX623" fmla="*/ 395768 w 1800306"/>
                          <a:gd name="connsiteY623" fmla="*/ 11729 h 1170738"/>
                          <a:gd name="connsiteX624" fmla="*/ 1405924 w 1800306"/>
                          <a:gd name="connsiteY624" fmla="*/ 11296 h 1170738"/>
                          <a:gd name="connsiteX625" fmla="*/ 1407130 w 1800306"/>
                          <a:gd name="connsiteY625" fmla="*/ 10088 h 1170738"/>
                          <a:gd name="connsiteX626" fmla="*/ 1407391 w 1800306"/>
                          <a:gd name="connsiteY626" fmla="*/ 10349 h 1170738"/>
                          <a:gd name="connsiteX627" fmla="*/ 1405924 w 1800306"/>
                          <a:gd name="connsiteY627" fmla="*/ 11296 h 1170738"/>
                          <a:gd name="connsiteX628" fmla="*/ 391628 w 1800306"/>
                          <a:gd name="connsiteY628" fmla="*/ 8279 h 1170738"/>
                          <a:gd name="connsiteX629" fmla="*/ 391889 w 1800306"/>
                          <a:gd name="connsiteY629" fmla="*/ 8019 h 1170738"/>
                          <a:gd name="connsiteX630" fmla="*/ 392836 w 1800306"/>
                          <a:gd name="connsiteY630" fmla="*/ 9486 h 1170738"/>
                          <a:gd name="connsiteX631" fmla="*/ 391628 w 1800306"/>
                          <a:gd name="connsiteY631" fmla="*/ 8279 h 1170738"/>
                          <a:gd name="connsiteX632" fmla="*/ 1410063 w 1800306"/>
                          <a:gd name="connsiteY632" fmla="*/ 7846 h 1170738"/>
                          <a:gd name="connsiteX633" fmla="*/ 1411270 w 1800306"/>
                          <a:gd name="connsiteY633" fmla="*/ 6639 h 1170738"/>
                          <a:gd name="connsiteX634" fmla="*/ 1411530 w 1800306"/>
                          <a:gd name="connsiteY634" fmla="*/ 6899 h 1170738"/>
                          <a:gd name="connsiteX635" fmla="*/ 1410063 w 1800306"/>
                          <a:gd name="connsiteY635" fmla="*/ 7846 h 1170738"/>
                          <a:gd name="connsiteX636" fmla="*/ 358599 w 1800306"/>
                          <a:gd name="connsiteY636" fmla="*/ 2242 h 1170738"/>
                          <a:gd name="connsiteX637" fmla="*/ 360565 w 1800306"/>
                          <a:gd name="connsiteY637" fmla="*/ 517 h 1170738"/>
                          <a:gd name="connsiteX638" fmla="*/ 359289 w 1800306"/>
                          <a:gd name="connsiteY638" fmla="*/ 2242 h 1170738"/>
                          <a:gd name="connsiteX639" fmla="*/ 357324 w 1800306"/>
                          <a:gd name="connsiteY639" fmla="*/ 3967 h 1170738"/>
                          <a:gd name="connsiteX640" fmla="*/ 358599 w 1800306"/>
                          <a:gd name="connsiteY640" fmla="*/ 2242 h 117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Lst>
                        <a:rect l="l" t="t" r="r" b="b"/>
                        <a:pathLst>
                          <a:path w="1800306" h="1170738">
                            <a:moveTo>
                              <a:pt x="1069926" y="1168929"/>
                            </a:moveTo>
                            <a:cubicBezTo>
                              <a:pt x="1070817" y="1167975"/>
                              <a:pt x="1071702" y="1167201"/>
                              <a:pt x="1071892" y="1167201"/>
                            </a:cubicBezTo>
                            <a:cubicBezTo>
                              <a:pt x="1072081" y="1167201"/>
                              <a:pt x="1071507" y="1167975"/>
                              <a:pt x="1070615" y="1168929"/>
                            </a:cubicBezTo>
                            <a:cubicBezTo>
                              <a:pt x="1069725" y="1169874"/>
                              <a:pt x="1068840" y="1170656"/>
                              <a:pt x="1068651" y="1170656"/>
                            </a:cubicBezTo>
                            <a:cubicBezTo>
                              <a:pt x="1068461" y="1170656"/>
                              <a:pt x="1069035" y="1169874"/>
                              <a:pt x="1069926" y="1168929"/>
                            </a:cubicBezTo>
                            <a:close/>
                            <a:moveTo>
                              <a:pt x="769803" y="1169703"/>
                            </a:moveTo>
                            <a:cubicBezTo>
                              <a:pt x="769803" y="1169556"/>
                              <a:pt x="770346" y="1169018"/>
                              <a:pt x="771010" y="1168497"/>
                            </a:cubicBezTo>
                            <a:cubicBezTo>
                              <a:pt x="772104" y="1167633"/>
                              <a:pt x="772128" y="1167658"/>
                              <a:pt x="771270" y="1168758"/>
                            </a:cubicBezTo>
                            <a:cubicBezTo>
                              <a:pt x="770369" y="1169907"/>
                              <a:pt x="769803" y="1170273"/>
                              <a:pt x="769803" y="1169703"/>
                            </a:cubicBezTo>
                            <a:close/>
                            <a:moveTo>
                              <a:pt x="649365" y="1166337"/>
                            </a:moveTo>
                            <a:lnTo>
                              <a:pt x="647338" y="1164097"/>
                            </a:lnTo>
                            <a:lnTo>
                              <a:pt x="649581" y="1166126"/>
                            </a:lnTo>
                            <a:cubicBezTo>
                              <a:pt x="651671" y="1168016"/>
                              <a:pt x="652140" y="1168578"/>
                              <a:pt x="651607" y="1168578"/>
                            </a:cubicBezTo>
                            <a:cubicBezTo>
                              <a:pt x="651488" y="1168578"/>
                              <a:pt x="650480" y="1167576"/>
                              <a:pt x="649365" y="1166337"/>
                            </a:cubicBezTo>
                            <a:close/>
                            <a:moveTo>
                              <a:pt x="644535" y="1161513"/>
                            </a:moveTo>
                            <a:lnTo>
                              <a:pt x="642509" y="1159264"/>
                            </a:lnTo>
                            <a:lnTo>
                              <a:pt x="644751" y="1161293"/>
                            </a:lnTo>
                            <a:cubicBezTo>
                              <a:pt x="646841" y="1163184"/>
                              <a:pt x="647310" y="1163754"/>
                              <a:pt x="646778" y="1163754"/>
                            </a:cubicBezTo>
                            <a:cubicBezTo>
                              <a:pt x="646659" y="1163754"/>
                              <a:pt x="645650" y="1162744"/>
                              <a:pt x="644535" y="1161513"/>
                            </a:cubicBezTo>
                            <a:close/>
                            <a:moveTo>
                              <a:pt x="779462" y="1160046"/>
                            </a:moveTo>
                            <a:cubicBezTo>
                              <a:pt x="779462" y="1159900"/>
                              <a:pt x="780005" y="1159354"/>
                              <a:pt x="780669" y="1158832"/>
                            </a:cubicBezTo>
                            <a:cubicBezTo>
                              <a:pt x="781764" y="1157977"/>
                              <a:pt x="781788" y="1158001"/>
                              <a:pt x="780929" y="1159093"/>
                            </a:cubicBezTo>
                            <a:cubicBezTo>
                              <a:pt x="780028" y="1160242"/>
                              <a:pt x="779462" y="1160609"/>
                              <a:pt x="779462" y="1160046"/>
                            </a:cubicBezTo>
                            <a:close/>
                            <a:moveTo>
                              <a:pt x="1079930" y="1158922"/>
                            </a:moveTo>
                            <a:cubicBezTo>
                              <a:pt x="1080617" y="1158164"/>
                              <a:pt x="1081334" y="1157545"/>
                              <a:pt x="1081524" y="1157545"/>
                            </a:cubicBezTo>
                            <a:cubicBezTo>
                              <a:pt x="1081713" y="1157545"/>
                              <a:pt x="1081307" y="1158164"/>
                              <a:pt x="1080620" y="1158922"/>
                            </a:cubicBezTo>
                            <a:cubicBezTo>
                              <a:pt x="1079933" y="1159680"/>
                              <a:pt x="1079216" y="1160299"/>
                              <a:pt x="1079026" y="1160299"/>
                            </a:cubicBezTo>
                            <a:cubicBezTo>
                              <a:pt x="1078836" y="1160299"/>
                              <a:pt x="1079243" y="1159680"/>
                              <a:pt x="1079930" y="1158922"/>
                            </a:cubicBezTo>
                            <a:close/>
                            <a:moveTo>
                              <a:pt x="746345" y="1142795"/>
                            </a:moveTo>
                            <a:cubicBezTo>
                              <a:pt x="746345" y="1142649"/>
                              <a:pt x="746888" y="1142111"/>
                              <a:pt x="747552" y="1141589"/>
                            </a:cubicBezTo>
                            <a:cubicBezTo>
                              <a:pt x="748647" y="1140725"/>
                              <a:pt x="748671" y="1140750"/>
                              <a:pt x="747812" y="1141850"/>
                            </a:cubicBezTo>
                            <a:cubicBezTo>
                              <a:pt x="746911" y="1142999"/>
                              <a:pt x="746345" y="1143366"/>
                              <a:pt x="746345" y="1142795"/>
                            </a:cubicBezTo>
                            <a:close/>
                            <a:moveTo>
                              <a:pt x="1049917" y="1138566"/>
                            </a:moveTo>
                            <a:cubicBezTo>
                              <a:pt x="1051979" y="1136480"/>
                              <a:pt x="1053821" y="1134777"/>
                              <a:pt x="1054010" y="1134777"/>
                            </a:cubicBezTo>
                            <a:cubicBezTo>
                              <a:pt x="1054200" y="1134777"/>
                              <a:pt x="1052668" y="1136480"/>
                              <a:pt x="1050608" y="1138566"/>
                            </a:cubicBezTo>
                            <a:cubicBezTo>
                              <a:pt x="1048547" y="1140660"/>
                              <a:pt x="1046705" y="1142363"/>
                              <a:pt x="1046515" y="1142363"/>
                            </a:cubicBezTo>
                            <a:cubicBezTo>
                              <a:pt x="1046325" y="1142363"/>
                              <a:pt x="1047856" y="1140660"/>
                              <a:pt x="1049917" y="1138566"/>
                            </a:cubicBezTo>
                            <a:close/>
                            <a:moveTo>
                              <a:pt x="672144" y="1138745"/>
                            </a:moveTo>
                            <a:lnTo>
                              <a:pt x="669417" y="1135812"/>
                            </a:lnTo>
                            <a:lnTo>
                              <a:pt x="672349" y="1138542"/>
                            </a:lnTo>
                            <a:cubicBezTo>
                              <a:pt x="675076" y="1141076"/>
                              <a:pt x="675598" y="1141679"/>
                              <a:pt x="675076" y="1141679"/>
                            </a:cubicBezTo>
                            <a:cubicBezTo>
                              <a:pt x="674964" y="1141679"/>
                              <a:pt x="673644" y="1140359"/>
                              <a:pt x="672144" y="1138745"/>
                            </a:cubicBezTo>
                            <a:close/>
                            <a:moveTo>
                              <a:pt x="752554" y="1136586"/>
                            </a:moveTo>
                            <a:cubicBezTo>
                              <a:pt x="752554" y="1136439"/>
                              <a:pt x="753098" y="1135901"/>
                              <a:pt x="753762" y="1135380"/>
                            </a:cubicBezTo>
                            <a:cubicBezTo>
                              <a:pt x="754856" y="1134516"/>
                              <a:pt x="754881" y="1134540"/>
                              <a:pt x="754022" y="1135641"/>
                            </a:cubicBezTo>
                            <a:cubicBezTo>
                              <a:pt x="753120" y="1136790"/>
                              <a:pt x="752554" y="1137156"/>
                              <a:pt x="752554" y="1136586"/>
                            </a:cubicBezTo>
                            <a:close/>
                            <a:moveTo>
                              <a:pt x="500316" y="1113215"/>
                            </a:moveTo>
                            <a:lnTo>
                              <a:pt x="499002" y="1111667"/>
                            </a:lnTo>
                            <a:lnTo>
                              <a:pt x="500554" y="1112979"/>
                            </a:lnTo>
                            <a:cubicBezTo>
                              <a:pt x="502013" y="1114209"/>
                              <a:pt x="502420" y="1114771"/>
                              <a:pt x="501868" y="1114771"/>
                            </a:cubicBezTo>
                            <a:cubicBezTo>
                              <a:pt x="501737" y="1114771"/>
                              <a:pt x="501039" y="1114071"/>
                              <a:pt x="500316" y="1113215"/>
                            </a:cubicBezTo>
                            <a:close/>
                            <a:moveTo>
                              <a:pt x="492037" y="1104936"/>
                            </a:moveTo>
                            <a:lnTo>
                              <a:pt x="490722" y="1103387"/>
                            </a:lnTo>
                            <a:lnTo>
                              <a:pt x="492275" y="1104699"/>
                            </a:lnTo>
                            <a:cubicBezTo>
                              <a:pt x="493733" y="1105930"/>
                              <a:pt x="494141" y="1106492"/>
                              <a:pt x="493589" y="1106492"/>
                            </a:cubicBezTo>
                            <a:cubicBezTo>
                              <a:pt x="493458" y="1106492"/>
                              <a:pt x="492760" y="1105791"/>
                              <a:pt x="492037" y="1104936"/>
                            </a:cubicBezTo>
                            <a:close/>
                            <a:moveTo>
                              <a:pt x="521401" y="1083895"/>
                            </a:moveTo>
                            <a:lnTo>
                              <a:pt x="517630" y="1079927"/>
                            </a:lnTo>
                            <a:lnTo>
                              <a:pt x="521597" y="1083700"/>
                            </a:lnTo>
                            <a:cubicBezTo>
                              <a:pt x="525283" y="1087204"/>
                              <a:pt x="525881" y="1087864"/>
                              <a:pt x="525368" y="1087864"/>
                            </a:cubicBezTo>
                            <a:cubicBezTo>
                              <a:pt x="525261" y="1087864"/>
                              <a:pt x="523475" y="1086071"/>
                              <a:pt x="521401" y="1083895"/>
                            </a:cubicBezTo>
                            <a:close/>
                            <a:moveTo>
                              <a:pt x="608012" y="1084409"/>
                            </a:moveTo>
                            <a:cubicBezTo>
                              <a:pt x="609881" y="1082510"/>
                              <a:pt x="611565" y="1080962"/>
                              <a:pt x="611754" y="1080962"/>
                            </a:cubicBezTo>
                            <a:cubicBezTo>
                              <a:pt x="611944" y="1080962"/>
                              <a:pt x="610570" y="1082510"/>
                              <a:pt x="608702" y="1084409"/>
                            </a:cubicBezTo>
                            <a:cubicBezTo>
                              <a:pt x="606833" y="1086307"/>
                              <a:pt x="605149" y="1087864"/>
                              <a:pt x="604959" y="1087864"/>
                            </a:cubicBezTo>
                            <a:cubicBezTo>
                              <a:pt x="604769" y="1087864"/>
                              <a:pt x="606143" y="1086307"/>
                              <a:pt x="608012" y="1084409"/>
                            </a:cubicBezTo>
                            <a:close/>
                            <a:moveTo>
                              <a:pt x="1206879" y="1082339"/>
                            </a:moveTo>
                            <a:cubicBezTo>
                              <a:pt x="1207564" y="1081581"/>
                              <a:pt x="1208281" y="1080962"/>
                              <a:pt x="1208468" y="1080962"/>
                            </a:cubicBezTo>
                            <a:cubicBezTo>
                              <a:pt x="1208664" y="1080962"/>
                              <a:pt x="1208257" y="1081581"/>
                              <a:pt x="1207572" y="1082339"/>
                            </a:cubicBezTo>
                            <a:cubicBezTo>
                              <a:pt x="1206879" y="1083097"/>
                              <a:pt x="1206162" y="1083724"/>
                              <a:pt x="1205975" y="1083724"/>
                            </a:cubicBezTo>
                            <a:cubicBezTo>
                              <a:pt x="1205787" y="1083724"/>
                              <a:pt x="1206195" y="1083097"/>
                              <a:pt x="1206879" y="1082339"/>
                            </a:cubicBezTo>
                            <a:close/>
                            <a:moveTo>
                              <a:pt x="1049829" y="1080440"/>
                            </a:moveTo>
                            <a:cubicBezTo>
                              <a:pt x="1048971" y="1079348"/>
                              <a:pt x="1048996" y="1079324"/>
                              <a:pt x="1050090" y="1080179"/>
                            </a:cubicBezTo>
                            <a:cubicBezTo>
                              <a:pt x="1051239" y="1081084"/>
                              <a:pt x="1051605" y="1081646"/>
                              <a:pt x="1051037" y="1081646"/>
                            </a:cubicBezTo>
                            <a:cubicBezTo>
                              <a:pt x="1050894" y="1081646"/>
                              <a:pt x="1050351" y="1081108"/>
                              <a:pt x="1049829" y="1080440"/>
                            </a:cubicBezTo>
                            <a:close/>
                            <a:moveTo>
                              <a:pt x="1215851" y="1073375"/>
                            </a:moveTo>
                            <a:cubicBezTo>
                              <a:pt x="1216536" y="1072609"/>
                              <a:pt x="1217253" y="1071990"/>
                              <a:pt x="1217440" y="1071990"/>
                            </a:cubicBezTo>
                            <a:cubicBezTo>
                              <a:pt x="1217628" y="1071990"/>
                              <a:pt x="1217228" y="1072609"/>
                              <a:pt x="1216536" y="1073375"/>
                            </a:cubicBezTo>
                            <a:cubicBezTo>
                              <a:pt x="1215851" y="1074133"/>
                              <a:pt x="1215134" y="1074752"/>
                              <a:pt x="1214947" y="1074752"/>
                            </a:cubicBezTo>
                            <a:cubicBezTo>
                              <a:pt x="1214751" y="1074752"/>
                              <a:pt x="1215159" y="1074133"/>
                              <a:pt x="1215851" y="1073375"/>
                            </a:cubicBezTo>
                            <a:close/>
                            <a:moveTo>
                              <a:pt x="1186181" y="1053361"/>
                            </a:moveTo>
                            <a:cubicBezTo>
                              <a:pt x="1187664" y="1051846"/>
                              <a:pt x="1189033" y="1050607"/>
                              <a:pt x="1189221" y="1050607"/>
                            </a:cubicBezTo>
                            <a:cubicBezTo>
                              <a:pt x="1189408" y="1050607"/>
                              <a:pt x="1188349" y="1051846"/>
                              <a:pt x="1186874" y="1053361"/>
                            </a:cubicBezTo>
                            <a:cubicBezTo>
                              <a:pt x="1185391" y="1054877"/>
                              <a:pt x="1184022" y="1056124"/>
                              <a:pt x="1183834" y="1056124"/>
                            </a:cubicBezTo>
                            <a:cubicBezTo>
                              <a:pt x="1183639" y="1056124"/>
                              <a:pt x="1184698" y="1054877"/>
                              <a:pt x="1186181" y="1053361"/>
                            </a:cubicBezTo>
                            <a:close/>
                            <a:moveTo>
                              <a:pt x="468299" y="1003425"/>
                            </a:moveTo>
                            <a:cubicBezTo>
                              <a:pt x="468299" y="1003287"/>
                              <a:pt x="468843" y="1002741"/>
                              <a:pt x="469507" y="1002219"/>
                            </a:cubicBezTo>
                            <a:cubicBezTo>
                              <a:pt x="470601" y="1001363"/>
                              <a:pt x="470626" y="1001388"/>
                              <a:pt x="469768" y="1002480"/>
                            </a:cubicBezTo>
                            <a:cubicBezTo>
                              <a:pt x="468866" y="1003629"/>
                              <a:pt x="468299" y="1003996"/>
                              <a:pt x="468299" y="1003425"/>
                            </a:cubicBezTo>
                            <a:close/>
                            <a:moveTo>
                              <a:pt x="382659" y="994201"/>
                            </a:moveTo>
                            <a:cubicBezTo>
                              <a:pt x="381801" y="993109"/>
                              <a:pt x="381826" y="993084"/>
                              <a:pt x="382919" y="993940"/>
                            </a:cubicBezTo>
                            <a:cubicBezTo>
                              <a:pt x="383583" y="994461"/>
                              <a:pt x="384127" y="995007"/>
                              <a:pt x="384127" y="995146"/>
                            </a:cubicBezTo>
                            <a:cubicBezTo>
                              <a:pt x="384127" y="995716"/>
                              <a:pt x="383561" y="995350"/>
                              <a:pt x="382659" y="994201"/>
                            </a:cubicBezTo>
                            <a:close/>
                            <a:moveTo>
                              <a:pt x="808068" y="985579"/>
                            </a:moveTo>
                            <a:lnTo>
                              <a:pt x="804644" y="981953"/>
                            </a:lnTo>
                            <a:lnTo>
                              <a:pt x="808266" y="985375"/>
                            </a:lnTo>
                            <a:cubicBezTo>
                              <a:pt x="811633" y="988562"/>
                              <a:pt x="812205" y="989197"/>
                              <a:pt x="811691" y="989197"/>
                            </a:cubicBezTo>
                            <a:cubicBezTo>
                              <a:pt x="811581" y="989197"/>
                              <a:pt x="809952" y="987567"/>
                              <a:pt x="808068" y="985579"/>
                            </a:cubicBezTo>
                            <a:close/>
                            <a:moveTo>
                              <a:pt x="730821" y="985057"/>
                            </a:moveTo>
                            <a:cubicBezTo>
                              <a:pt x="732303" y="983542"/>
                              <a:pt x="733672" y="982303"/>
                              <a:pt x="733861" y="982303"/>
                            </a:cubicBezTo>
                            <a:cubicBezTo>
                              <a:pt x="734050" y="982303"/>
                              <a:pt x="732994" y="983542"/>
                              <a:pt x="731511" y="985057"/>
                            </a:cubicBezTo>
                            <a:cubicBezTo>
                              <a:pt x="730029" y="986573"/>
                              <a:pt x="728661" y="987820"/>
                              <a:pt x="728471" y="987820"/>
                            </a:cubicBezTo>
                            <a:cubicBezTo>
                              <a:pt x="728282" y="987820"/>
                              <a:pt x="729339" y="986573"/>
                              <a:pt x="730821" y="985057"/>
                            </a:cubicBezTo>
                            <a:close/>
                            <a:moveTo>
                              <a:pt x="1354178" y="973071"/>
                            </a:moveTo>
                            <a:cubicBezTo>
                              <a:pt x="1354178" y="972924"/>
                              <a:pt x="1354724" y="972386"/>
                              <a:pt x="1355385" y="971864"/>
                            </a:cubicBezTo>
                            <a:cubicBezTo>
                              <a:pt x="1356485" y="971001"/>
                              <a:pt x="1356509" y="971025"/>
                              <a:pt x="1355645" y="972125"/>
                            </a:cubicBezTo>
                            <a:cubicBezTo>
                              <a:pt x="1354749" y="973274"/>
                              <a:pt x="1354178" y="973641"/>
                              <a:pt x="1354178" y="973071"/>
                            </a:cubicBezTo>
                            <a:close/>
                            <a:moveTo>
                              <a:pt x="701153" y="964359"/>
                            </a:moveTo>
                            <a:cubicBezTo>
                              <a:pt x="701840" y="963602"/>
                              <a:pt x="702557" y="962982"/>
                              <a:pt x="702747" y="962982"/>
                            </a:cubicBezTo>
                            <a:cubicBezTo>
                              <a:pt x="702937" y="962982"/>
                              <a:pt x="702531" y="963602"/>
                              <a:pt x="701844" y="964359"/>
                            </a:cubicBezTo>
                            <a:cubicBezTo>
                              <a:pt x="701157" y="965117"/>
                              <a:pt x="700440" y="965745"/>
                              <a:pt x="700250" y="965745"/>
                            </a:cubicBezTo>
                            <a:cubicBezTo>
                              <a:pt x="700060" y="965745"/>
                              <a:pt x="700467" y="965117"/>
                              <a:pt x="701153" y="964359"/>
                            </a:cubicBezTo>
                            <a:close/>
                            <a:moveTo>
                              <a:pt x="837328" y="964530"/>
                            </a:moveTo>
                            <a:cubicBezTo>
                              <a:pt x="836470" y="963438"/>
                              <a:pt x="836495" y="963414"/>
                              <a:pt x="837589" y="964270"/>
                            </a:cubicBezTo>
                            <a:cubicBezTo>
                              <a:pt x="838738" y="965174"/>
                              <a:pt x="839104" y="965745"/>
                              <a:pt x="838536" y="965745"/>
                            </a:cubicBezTo>
                            <a:cubicBezTo>
                              <a:pt x="838393" y="965745"/>
                              <a:pt x="837849" y="965199"/>
                              <a:pt x="837328" y="964530"/>
                            </a:cubicBezTo>
                            <a:close/>
                            <a:moveTo>
                              <a:pt x="1365220" y="962029"/>
                            </a:moveTo>
                            <a:cubicBezTo>
                              <a:pt x="1365220" y="961890"/>
                              <a:pt x="1365766" y="961344"/>
                              <a:pt x="1366426" y="960823"/>
                            </a:cubicBezTo>
                            <a:cubicBezTo>
                              <a:pt x="1367518" y="959967"/>
                              <a:pt x="1367543" y="959991"/>
                              <a:pt x="1366687" y="961083"/>
                            </a:cubicBezTo>
                            <a:cubicBezTo>
                              <a:pt x="1365783" y="962233"/>
                              <a:pt x="1365220" y="962599"/>
                              <a:pt x="1365220" y="962029"/>
                            </a:cubicBezTo>
                            <a:close/>
                            <a:moveTo>
                              <a:pt x="1188186" y="958671"/>
                            </a:moveTo>
                            <a:lnTo>
                              <a:pt x="1186874" y="957115"/>
                            </a:lnTo>
                            <a:lnTo>
                              <a:pt x="1188422" y="958435"/>
                            </a:lnTo>
                            <a:cubicBezTo>
                              <a:pt x="1189881" y="959666"/>
                              <a:pt x="1190288" y="960220"/>
                              <a:pt x="1189734" y="960220"/>
                            </a:cubicBezTo>
                            <a:cubicBezTo>
                              <a:pt x="1189604" y="960220"/>
                              <a:pt x="1188911" y="959527"/>
                              <a:pt x="1188186" y="958671"/>
                            </a:cubicBezTo>
                            <a:close/>
                            <a:moveTo>
                              <a:pt x="829049" y="956251"/>
                            </a:moveTo>
                            <a:cubicBezTo>
                              <a:pt x="828191" y="955159"/>
                              <a:pt x="828216" y="955135"/>
                              <a:pt x="829310" y="955990"/>
                            </a:cubicBezTo>
                            <a:cubicBezTo>
                              <a:pt x="830459" y="956895"/>
                              <a:pt x="830825" y="957465"/>
                              <a:pt x="830257" y="957465"/>
                            </a:cubicBezTo>
                            <a:cubicBezTo>
                              <a:pt x="830113" y="957465"/>
                              <a:pt x="829570" y="956919"/>
                              <a:pt x="829049" y="956251"/>
                            </a:cubicBezTo>
                            <a:close/>
                            <a:moveTo>
                              <a:pt x="1181284" y="951769"/>
                            </a:moveTo>
                            <a:lnTo>
                              <a:pt x="1179972" y="950221"/>
                            </a:lnTo>
                            <a:lnTo>
                              <a:pt x="1181520" y="951533"/>
                            </a:lnTo>
                            <a:cubicBezTo>
                              <a:pt x="1182376" y="952258"/>
                              <a:pt x="1183076" y="952951"/>
                              <a:pt x="1183076" y="953081"/>
                            </a:cubicBezTo>
                            <a:cubicBezTo>
                              <a:pt x="1183076" y="953635"/>
                              <a:pt x="1182522" y="953228"/>
                              <a:pt x="1181284" y="951769"/>
                            </a:cubicBezTo>
                            <a:close/>
                            <a:moveTo>
                              <a:pt x="1335208" y="942284"/>
                            </a:moveTo>
                            <a:cubicBezTo>
                              <a:pt x="1336691" y="940768"/>
                              <a:pt x="1338060" y="939522"/>
                              <a:pt x="1338247" y="939522"/>
                            </a:cubicBezTo>
                            <a:cubicBezTo>
                              <a:pt x="1338435" y="939522"/>
                              <a:pt x="1337375" y="940768"/>
                              <a:pt x="1335901" y="942284"/>
                            </a:cubicBezTo>
                            <a:cubicBezTo>
                              <a:pt x="1334417" y="943800"/>
                              <a:pt x="1333048" y="945046"/>
                              <a:pt x="1332861" y="945046"/>
                            </a:cubicBezTo>
                            <a:cubicBezTo>
                              <a:pt x="1332665" y="945046"/>
                              <a:pt x="1333725" y="943800"/>
                              <a:pt x="1335208" y="942284"/>
                            </a:cubicBezTo>
                            <a:close/>
                            <a:moveTo>
                              <a:pt x="265737" y="897261"/>
                            </a:moveTo>
                            <a:lnTo>
                              <a:pt x="264423" y="895713"/>
                            </a:lnTo>
                            <a:lnTo>
                              <a:pt x="265975" y="897025"/>
                            </a:lnTo>
                            <a:cubicBezTo>
                              <a:pt x="267434" y="898264"/>
                              <a:pt x="267842" y="898818"/>
                              <a:pt x="267289" y="898818"/>
                            </a:cubicBezTo>
                            <a:cubicBezTo>
                              <a:pt x="267158" y="898818"/>
                              <a:pt x="266460" y="898117"/>
                              <a:pt x="265737" y="897261"/>
                            </a:cubicBezTo>
                            <a:close/>
                            <a:moveTo>
                              <a:pt x="257458" y="888982"/>
                            </a:moveTo>
                            <a:lnTo>
                              <a:pt x="256143" y="887434"/>
                            </a:lnTo>
                            <a:lnTo>
                              <a:pt x="257696" y="888746"/>
                            </a:lnTo>
                            <a:cubicBezTo>
                              <a:pt x="259155" y="889985"/>
                              <a:pt x="259562" y="890539"/>
                              <a:pt x="259010" y="890539"/>
                            </a:cubicBezTo>
                            <a:cubicBezTo>
                              <a:pt x="258879" y="890539"/>
                              <a:pt x="258181" y="889838"/>
                              <a:pt x="257458" y="888982"/>
                            </a:cubicBezTo>
                            <a:close/>
                            <a:moveTo>
                              <a:pt x="368948" y="873027"/>
                            </a:moveTo>
                            <a:cubicBezTo>
                              <a:pt x="368948" y="872888"/>
                              <a:pt x="369492" y="872342"/>
                              <a:pt x="370156" y="871821"/>
                            </a:cubicBezTo>
                            <a:cubicBezTo>
                              <a:pt x="371250" y="870965"/>
                              <a:pt x="371275" y="870989"/>
                              <a:pt x="370416" y="872081"/>
                            </a:cubicBezTo>
                            <a:cubicBezTo>
                              <a:pt x="369515" y="873230"/>
                              <a:pt x="368948" y="873597"/>
                              <a:pt x="368948" y="873027"/>
                            </a:cubicBezTo>
                            <a:close/>
                            <a:moveTo>
                              <a:pt x="287165" y="868284"/>
                            </a:moveTo>
                            <a:lnTo>
                              <a:pt x="283741" y="864666"/>
                            </a:lnTo>
                            <a:lnTo>
                              <a:pt x="287363" y="868088"/>
                            </a:lnTo>
                            <a:cubicBezTo>
                              <a:pt x="290729" y="871267"/>
                              <a:pt x="291302" y="871910"/>
                              <a:pt x="290787" y="871910"/>
                            </a:cubicBezTo>
                            <a:cubicBezTo>
                              <a:pt x="290678" y="871910"/>
                              <a:pt x="289048" y="870281"/>
                              <a:pt x="287165" y="868284"/>
                            </a:cubicBezTo>
                            <a:close/>
                            <a:moveTo>
                              <a:pt x="377227" y="864748"/>
                            </a:moveTo>
                            <a:cubicBezTo>
                              <a:pt x="377227" y="864609"/>
                              <a:pt x="377771" y="864063"/>
                              <a:pt x="378435" y="863541"/>
                            </a:cubicBezTo>
                            <a:cubicBezTo>
                              <a:pt x="379529" y="862686"/>
                              <a:pt x="379554" y="862710"/>
                              <a:pt x="378696" y="863802"/>
                            </a:cubicBezTo>
                            <a:cubicBezTo>
                              <a:pt x="377794" y="864951"/>
                              <a:pt x="377227" y="865318"/>
                              <a:pt x="377227" y="864748"/>
                            </a:cubicBezTo>
                            <a:close/>
                            <a:moveTo>
                              <a:pt x="633540" y="851905"/>
                            </a:moveTo>
                            <a:cubicBezTo>
                              <a:pt x="634227" y="851139"/>
                              <a:pt x="634944" y="850520"/>
                              <a:pt x="635134" y="850520"/>
                            </a:cubicBezTo>
                            <a:cubicBezTo>
                              <a:pt x="635323" y="850520"/>
                              <a:pt x="634917" y="851139"/>
                              <a:pt x="634230" y="851905"/>
                            </a:cubicBezTo>
                            <a:cubicBezTo>
                              <a:pt x="633543" y="852663"/>
                              <a:pt x="632826" y="853282"/>
                              <a:pt x="632636" y="853282"/>
                            </a:cubicBezTo>
                            <a:cubicBezTo>
                              <a:pt x="632446" y="853282"/>
                              <a:pt x="632853" y="852663"/>
                              <a:pt x="633540" y="851905"/>
                            </a:cubicBezTo>
                            <a:close/>
                            <a:moveTo>
                              <a:pt x="720407" y="851726"/>
                            </a:moveTo>
                            <a:lnTo>
                              <a:pt x="719092" y="850177"/>
                            </a:lnTo>
                            <a:lnTo>
                              <a:pt x="720645" y="851489"/>
                            </a:lnTo>
                            <a:cubicBezTo>
                              <a:pt x="721498" y="852214"/>
                              <a:pt x="722197" y="852915"/>
                              <a:pt x="722197" y="853046"/>
                            </a:cubicBezTo>
                            <a:cubicBezTo>
                              <a:pt x="722197" y="853592"/>
                              <a:pt x="721641" y="853184"/>
                              <a:pt x="720407" y="851726"/>
                            </a:cubicBezTo>
                            <a:close/>
                            <a:moveTo>
                              <a:pt x="1335167" y="839999"/>
                            </a:moveTo>
                            <a:lnTo>
                              <a:pt x="1333138" y="837758"/>
                            </a:lnTo>
                            <a:lnTo>
                              <a:pt x="1335379" y="839779"/>
                            </a:lnTo>
                            <a:cubicBezTo>
                              <a:pt x="1336610" y="840896"/>
                              <a:pt x="1337620" y="841906"/>
                              <a:pt x="1337620" y="842028"/>
                            </a:cubicBezTo>
                            <a:cubicBezTo>
                              <a:pt x="1337620" y="842558"/>
                              <a:pt x="1337050" y="842094"/>
                              <a:pt x="1335167" y="839999"/>
                            </a:cubicBezTo>
                            <a:close/>
                            <a:moveTo>
                              <a:pt x="601802" y="833961"/>
                            </a:moveTo>
                            <a:cubicBezTo>
                              <a:pt x="602489" y="833203"/>
                              <a:pt x="603206" y="832584"/>
                              <a:pt x="603396" y="832584"/>
                            </a:cubicBezTo>
                            <a:cubicBezTo>
                              <a:pt x="603586" y="832584"/>
                              <a:pt x="603179" y="833203"/>
                              <a:pt x="602492" y="833961"/>
                            </a:cubicBezTo>
                            <a:cubicBezTo>
                              <a:pt x="601806" y="834719"/>
                              <a:pt x="601088" y="835346"/>
                              <a:pt x="600899" y="835346"/>
                            </a:cubicBezTo>
                            <a:cubicBezTo>
                              <a:pt x="600709" y="835346"/>
                              <a:pt x="601116" y="834719"/>
                              <a:pt x="601802" y="833961"/>
                            </a:cubicBezTo>
                            <a:close/>
                            <a:moveTo>
                              <a:pt x="745631" y="826546"/>
                            </a:moveTo>
                            <a:lnTo>
                              <a:pt x="741860" y="822577"/>
                            </a:lnTo>
                            <a:lnTo>
                              <a:pt x="745827" y="826350"/>
                            </a:lnTo>
                            <a:cubicBezTo>
                              <a:pt x="749513" y="829854"/>
                              <a:pt x="750110" y="830514"/>
                              <a:pt x="749599" y="830514"/>
                            </a:cubicBezTo>
                            <a:cubicBezTo>
                              <a:pt x="749491" y="830514"/>
                              <a:pt x="747706" y="828729"/>
                              <a:pt x="745631" y="826546"/>
                            </a:cubicBezTo>
                            <a:close/>
                            <a:moveTo>
                              <a:pt x="1466983" y="823612"/>
                            </a:moveTo>
                            <a:cubicBezTo>
                              <a:pt x="1469241" y="821338"/>
                              <a:pt x="1471237" y="819472"/>
                              <a:pt x="1471424" y="819472"/>
                            </a:cubicBezTo>
                            <a:cubicBezTo>
                              <a:pt x="1471620" y="819472"/>
                              <a:pt x="1469925" y="821338"/>
                              <a:pt x="1467676" y="823612"/>
                            </a:cubicBezTo>
                            <a:cubicBezTo>
                              <a:pt x="1465419" y="825894"/>
                              <a:pt x="1463422" y="827752"/>
                              <a:pt x="1463235" y="827752"/>
                            </a:cubicBezTo>
                            <a:cubicBezTo>
                              <a:pt x="1463047" y="827752"/>
                              <a:pt x="1464734" y="825894"/>
                              <a:pt x="1466983" y="823612"/>
                            </a:cubicBezTo>
                            <a:close/>
                            <a:moveTo>
                              <a:pt x="1473543" y="816457"/>
                            </a:moveTo>
                            <a:cubicBezTo>
                              <a:pt x="1473543" y="816311"/>
                              <a:pt x="1474081" y="815765"/>
                              <a:pt x="1474749" y="815243"/>
                            </a:cubicBezTo>
                            <a:cubicBezTo>
                              <a:pt x="1475841" y="814387"/>
                              <a:pt x="1475866" y="814412"/>
                              <a:pt x="1475010" y="815504"/>
                            </a:cubicBezTo>
                            <a:cubicBezTo>
                              <a:pt x="1474106" y="816653"/>
                              <a:pt x="1473543" y="817019"/>
                              <a:pt x="1473543" y="816457"/>
                            </a:cubicBezTo>
                            <a:close/>
                            <a:moveTo>
                              <a:pt x="1441803" y="798432"/>
                            </a:moveTo>
                            <a:cubicBezTo>
                              <a:pt x="1443091" y="797104"/>
                              <a:pt x="1444297" y="796012"/>
                              <a:pt x="1444484" y="796012"/>
                            </a:cubicBezTo>
                            <a:cubicBezTo>
                              <a:pt x="1444680" y="796012"/>
                              <a:pt x="1443784" y="797104"/>
                              <a:pt x="1442496" y="798432"/>
                            </a:cubicBezTo>
                            <a:cubicBezTo>
                              <a:pt x="1441209" y="799760"/>
                              <a:pt x="1439994" y="800844"/>
                              <a:pt x="1439807" y="800844"/>
                            </a:cubicBezTo>
                            <a:cubicBezTo>
                              <a:pt x="1439619" y="800844"/>
                              <a:pt x="1440516" y="799760"/>
                              <a:pt x="1441803" y="798432"/>
                            </a:cubicBezTo>
                            <a:close/>
                            <a:moveTo>
                              <a:pt x="976784" y="791660"/>
                            </a:moveTo>
                            <a:cubicBezTo>
                              <a:pt x="976784" y="791538"/>
                              <a:pt x="977793" y="790536"/>
                              <a:pt x="979026" y="789419"/>
                            </a:cubicBezTo>
                            <a:lnTo>
                              <a:pt x="981269" y="787390"/>
                            </a:lnTo>
                            <a:lnTo>
                              <a:pt x="979242" y="789631"/>
                            </a:lnTo>
                            <a:cubicBezTo>
                              <a:pt x="977353" y="791725"/>
                              <a:pt x="976784" y="792190"/>
                              <a:pt x="976784" y="791660"/>
                            </a:cubicBezTo>
                            <a:close/>
                            <a:moveTo>
                              <a:pt x="617605" y="733062"/>
                            </a:moveTo>
                            <a:lnTo>
                              <a:pt x="616291" y="731505"/>
                            </a:lnTo>
                            <a:lnTo>
                              <a:pt x="617843" y="732817"/>
                            </a:lnTo>
                            <a:cubicBezTo>
                              <a:pt x="618697" y="733542"/>
                              <a:pt x="619396" y="734243"/>
                              <a:pt x="619396" y="734374"/>
                            </a:cubicBezTo>
                            <a:cubicBezTo>
                              <a:pt x="619396" y="734928"/>
                              <a:pt x="618841" y="734520"/>
                              <a:pt x="617605" y="733062"/>
                            </a:cubicBezTo>
                            <a:close/>
                            <a:moveTo>
                              <a:pt x="527979" y="729786"/>
                            </a:moveTo>
                            <a:cubicBezTo>
                              <a:pt x="529461" y="728262"/>
                              <a:pt x="530830" y="727023"/>
                              <a:pt x="531019" y="727023"/>
                            </a:cubicBezTo>
                            <a:cubicBezTo>
                              <a:pt x="531209" y="727023"/>
                              <a:pt x="530152" y="728262"/>
                              <a:pt x="528669" y="729786"/>
                            </a:cubicBezTo>
                            <a:cubicBezTo>
                              <a:pt x="527187" y="731301"/>
                              <a:pt x="525819" y="732540"/>
                              <a:pt x="525629" y="732540"/>
                            </a:cubicBezTo>
                            <a:cubicBezTo>
                              <a:pt x="525440" y="732540"/>
                              <a:pt x="526497" y="731301"/>
                              <a:pt x="527979" y="729786"/>
                            </a:cubicBezTo>
                            <a:close/>
                            <a:moveTo>
                              <a:pt x="262000" y="720985"/>
                            </a:moveTo>
                            <a:lnTo>
                              <a:pt x="251314" y="710114"/>
                            </a:lnTo>
                            <a:lnTo>
                              <a:pt x="262180" y="720806"/>
                            </a:lnTo>
                            <a:cubicBezTo>
                              <a:pt x="272276" y="730731"/>
                              <a:pt x="273359" y="731856"/>
                              <a:pt x="272866" y="731856"/>
                            </a:cubicBezTo>
                            <a:cubicBezTo>
                              <a:pt x="272767" y="731856"/>
                              <a:pt x="267877" y="726958"/>
                              <a:pt x="262000" y="720985"/>
                            </a:cubicBezTo>
                            <a:close/>
                            <a:moveTo>
                              <a:pt x="611719" y="727194"/>
                            </a:moveTo>
                            <a:cubicBezTo>
                              <a:pt x="610861" y="726102"/>
                              <a:pt x="610885" y="726078"/>
                              <a:pt x="611979" y="726934"/>
                            </a:cubicBezTo>
                            <a:cubicBezTo>
                              <a:pt x="613128" y="727838"/>
                              <a:pt x="613494" y="728400"/>
                              <a:pt x="612926" y="728400"/>
                            </a:cubicBezTo>
                            <a:cubicBezTo>
                              <a:pt x="612783" y="728400"/>
                              <a:pt x="612239" y="727854"/>
                              <a:pt x="611719" y="727194"/>
                            </a:cubicBezTo>
                            <a:close/>
                            <a:moveTo>
                              <a:pt x="644836" y="709943"/>
                            </a:moveTo>
                            <a:cubicBezTo>
                              <a:pt x="643978" y="708851"/>
                              <a:pt x="644002" y="708827"/>
                              <a:pt x="645096" y="709682"/>
                            </a:cubicBezTo>
                            <a:cubicBezTo>
                              <a:pt x="645761" y="710204"/>
                              <a:pt x="646303" y="710750"/>
                              <a:pt x="646303" y="710888"/>
                            </a:cubicBezTo>
                            <a:cubicBezTo>
                              <a:pt x="646303" y="711459"/>
                              <a:pt x="645737" y="711092"/>
                              <a:pt x="644836" y="709943"/>
                            </a:cubicBezTo>
                            <a:close/>
                            <a:moveTo>
                              <a:pt x="244017" y="702357"/>
                            </a:moveTo>
                            <a:lnTo>
                              <a:pt x="242345" y="700458"/>
                            </a:lnTo>
                            <a:lnTo>
                              <a:pt x="244242" y="702128"/>
                            </a:lnTo>
                            <a:cubicBezTo>
                              <a:pt x="246015" y="703693"/>
                              <a:pt x="246456" y="704255"/>
                              <a:pt x="245915" y="704255"/>
                            </a:cubicBezTo>
                            <a:cubicBezTo>
                              <a:pt x="245791" y="704255"/>
                              <a:pt x="244937" y="703400"/>
                              <a:pt x="244017" y="702357"/>
                            </a:cubicBezTo>
                            <a:close/>
                            <a:moveTo>
                              <a:pt x="634487" y="699594"/>
                            </a:moveTo>
                            <a:cubicBezTo>
                              <a:pt x="633629" y="698502"/>
                              <a:pt x="633653" y="698478"/>
                              <a:pt x="634747" y="699333"/>
                            </a:cubicBezTo>
                            <a:cubicBezTo>
                              <a:pt x="635896" y="700238"/>
                              <a:pt x="636262" y="700800"/>
                              <a:pt x="635694" y="700800"/>
                            </a:cubicBezTo>
                            <a:cubicBezTo>
                              <a:pt x="635551" y="700800"/>
                              <a:pt x="635007" y="700262"/>
                              <a:pt x="634487" y="699594"/>
                            </a:cubicBezTo>
                            <a:close/>
                            <a:moveTo>
                              <a:pt x="287512" y="696147"/>
                            </a:moveTo>
                            <a:lnTo>
                              <a:pt x="283741" y="692179"/>
                            </a:lnTo>
                            <a:lnTo>
                              <a:pt x="287708" y="695952"/>
                            </a:lnTo>
                            <a:cubicBezTo>
                              <a:pt x="291394" y="699456"/>
                              <a:pt x="291991" y="700116"/>
                              <a:pt x="291479" y="700116"/>
                            </a:cubicBezTo>
                            <a:cubicBezTo>
                              <a:pt x="291371" y="700116"/>
                              <a:pt x="289586" y="698331"/>
                              <a:pt x="287512" y="696147"/>
                            </a:cubicBezTo>
                            <a:close/>
                            <a:moveTo>
                              <a:pt x="509006" y="699162"/>
                            </a:moveTo>
                            <a:cubicBezTo>
                              <a:pt x="509006" y="699024"/>
                              <a:pt x="509550" y="698478"/>
                              <a:pt x="510213" y="697956"/>
                            </a:cubicBezTo>
                            <a:cubicBezTo>
                              <a:pt x="511307" y="697101"/>
                              <a:pt x="511332" y="697125"/>
                              <a:pt x="510474" y="698217"/>
                            </a:cubicBezTo>
                            <a:cubicBezTo>
                              <a:pt x="509572" y="699366"/>
                              <a:pt x="509006" y="699733"/>
                              <a:pt x="509006" y="699162"/>
                            </a:cubicBezTo>
                            <a:close/>
                            <a:moveTo>
                              <a:pt x="238139" y="695805"/>
                            </a:moveTo>
                            <a:lnTo>
                              <a:pt x="236825" y="694249"/>
                            </a:lnTo>
                            <a:lnTo>
                              <a:pt x="238378" y="695560"/>
                            </a:lnTo>
                            <a:cubicBezTo>
                              <a:pt x="239836" y="696799"/>
                              <a:pt x="240244" y="697353"/>
                              <a:pt x="239692" y="697353"/>
                            </a:cubicBezTo>
                            <a:cubicBezTo>
                              <a:pt x="239561" y="697353"/>
                              <a:pt x="238862" y="696652"/>
                              <a:pt x="238139" y="695805"/>
                            </a:cubicBezTo>
                            <a:close/>
                            <a:moveTo>
                              <a:pt x="232942" y="689938"/>
                            </a:moveTo>
                            <a:cubicBezTo>
                              <a:pt x="232084" y="688846"/>
                              <a:pt x="232109" y="688821"/>
                              <a:pt x="233203" y="689677"/>
                            </a:cubicBezTo>
                            <a:cubicBezTo>
                              <a:pt x="234352" y="690582"/>
                              <a:pt x="234718" y="691144"/>
                              <a:pt x="234150" y="691144"/>
                            </a:cubicBezTo>
                            <a:cubicBezTo>
                              <a:pt x="234007" y="691144"/>
                              <a:pt x="233463" y="690598"/>
                              <a:pt x="232942" y="689938"/>
                            </a:cubicBezTo>
                            <a:close/>
                            <a:moveTo>
                              <a:pt x="228803" y="685105"/>
                            </a:moveTo>
                            <a:cubicBezTo>
                              <a:pt x="227945" y="684014"/>
                              <a:pt x="227969" y="683989"/>
                              <a:pt x="229063" y="684845"/>
                            </a:cubicBezTo>
                            <a:cubicBezTo>
                              <a:pt x="229727" y="685366"/>
                              <a:pt x="230271" y="685912"/>
                              <a:pt x="230271" y="686051"/>
                            </a:cubicBezTo>
                            <a:cubicBezTo>
                              <a:pt x="230271" y="686621"/>
                              <a:pt x="229704" y="686254"/>
                              <a:pt x="228803" y="685105"/>
                            </a:cubicBezTo>
                            <a:close/>
                            <a:moveTo>
                              <a:pt x="273700" y="681659"/>
                            </a:moveTo>
                            <a:lnTo>
                              <a:pt x="271322" y="679067"/>
                            </a:lnTo>
                            <a:lnTo>
                              <a:pt x="273909" y="681447"/>
                            </a:lnTo>
                            <a:cubicBezTo>
                              <a:pt x="276318" y="683663"/>
                              <a:pt x="276814" y="684242"/>
                              <a:pt x="276287" y="684242"/>
                            </a:cubicBezTo>
                            <a:cubicBezTo>
                              <a:pt x="276172" y="684242"/>
                              <a:pt x="275007" y="683085"/>
                              <a:pt x="273700" y="681659"/>
                            </a:cubicBezTo>
                            <a:close/>
                            <a:moveTo>
                              <a:pt x="225353" y="680966"/>
                            </a:moveTo>
                            <a:cubicBezTo>
                              <a:pt x="224495" y="679874"/>
                              <a:pt x="224519" y="679849"/>
                              <a:pt x="225614" y="680705"/>
                            </a:cubicBezTo>
                            <a:cubicBezTo>
                              <a:pt x="226278" y="681227"/>
                              <a:pt x="226821" y="681773"/>
                              <a:pt x="226821" y="681911"/>
                            </a:cubicBezTo>
                            <a:cubicBezTo>
                              <a:pt x="226821" y="682482"/>
                              <a:pt x="226255" y="682115"/>
                              <a:pt x="225353" y="680966"/>
                            </a:cubicBezTo>
                            <a:close/>
                            <a:moveTo>
                              <a:pt x="368603" y="676655"/>
                            </a:moveTo>
                            <a:cubicBezTo>
                              <a:pt x="370472" y="674756"/>
                              <a:pt x="372156" y="673208"/>
                              <a:pt x="372346" y="673208"/>
                            </a:cubicBezTo>
                            <a:cubicBezTo>
                              <a:pt x="372536" y="673208"/>
                              <a:pt x="371162" y="674756"/>
                              <a:pt x="369294" y="676655"/>
                            </a:cubicBezTo>
                            <a:cubicBezTo>
                              <a:pt x="367424" y="678554"/>
                              <a:pt x="365740" y="680102"/>
                              <a:pt x="365551" y="680102"/>
                            </a:cubicBezTo>
                            <a:cubicBezTo>
                              <a:pt x="365361" y="680102"/>
                              <a:pt x="366735" y="678554"/>
                              <a:pt x="368603" y="676655"/>
                            </a:cubicBezTo>
                            <a:close/>
                            <a:moveTo>
                              <a:pt x="455828" y="676826"/>
                            </a:moveTo>
                            <a:lnTo>
                              <a:pt x="454156" y="674936"/>
                            </a:lnTo>
                            <a:lnTo>
                              <a:pt x="456053" y="676606"/>
                            </a:lnTo>
                            <a:cubicBezTo>
                              <a:pt x="457826" y="678171"/>
                              <a:pt x="458267" y="678725"/>
                              <a:pt x="457726" y="678725"/>
                            </a:cubicBezTo>
                            <a:cubicBezTo>
                              <a:pt x="457602" y="678725"/>
                              <a:pt x="456748" y="677869"/>
                              <a:pt x="455828" y="676826"/>
                            </a:cubicBezTo>
                            <a:close/>
                            <a:moveTo>
                              <a:pt x="266427" y="673722"/>
                            </a:moveTo>
                            <a:lnTo>
                              <a:pt x="265113" y="672173"/>
                            </a:lnTo>
                            <a:lnTo>
                              <a:pt x="266665" y="673485"/>
                            </a:lnTo>
                            <a:cubicBezTo>
                              <a:pt x="267519" y="674210"/>
                              <a:pt x="268217" y="674911"/>
                              <a:pt x="268217" y="675042"/>
                            </a:cubicBezTo>
                            <a:cubicBezTo>
                              <a:pt x="268217" y="675588"/>
                              <a:pt x="267662" y="675180"/>
                              <a:pt x="266427" y="673722"/>
                            </a:cubicBezTo>
                            <a:close/>
                            <a:moveTo>
                              <a:pt x="261230" y="667862"/>
                            </a:moveTo>
                            <a:cubicBezTo>
                              <a:pt x="260372" y="666762"/>
                              <a:pt x="260396" y="666738"/>
                              <a:pt x="261491" y="667602"/>
                            </a:cubicBezTo>
                            <a:cubicBezTo>
                              <a:pt x="262155" y="668123"/>
                              <a:pt x="262698" y="668661"/>
                              <a:pt x="262698" y="668808"/>
                            </a:cubicBezTo>
                            <a:cubicBezTo>
                              <a:pt x="262698" y="669378"/>
                              <a:pt x="262131" y="669011"/>
                              <a:pt x="261230" y="667862"/>
                            </a:cubicBezTo>
                            <a:close/>
                            <a:moveTo>
                              <a:pt x="1460342" y="666477"/>
                            </a:moveTo>
                            <a:cubicBezTo>
                              <a:pt x="1459486" y="665385"/>
                              <a:pt x="1459511" y="665361"/>
                              <a:pt x="1460603" y="666216"/>
                            </a:cubicBezTo>
                            <a:cubicBezTo>
                              <a:pt x="1461752" y="667121"/>
                              <a:pt x="1462118" y="667683"/>
                              <a:pt x="1461548" y="667683"/>
                            </a:cubicBezTo>
                            <a:cubicBezTo>
                              <a:pt x="1461410" y="667683"/>
                              <a:pt x="1460864" y="667145"/>
                              <a:pt x="1460342" y="666477"/>
                            </a:cubicBezTo>
                            <a:close/>
                            <a:moveTo>
                              <a:pt x="257090" y="663030"/>
                            </a:moveTo>
                            <a:cubicBezTo>
                              <a:pt x="256232" y="661938"/>
                              <a:pt x="256257" y="661914"/>
                              <a:pt x="257351" y="662769"/>
                            </a:cubicBezTo>
                            <a:cubicBezTo>
                              <a:pt x="258015" y="663291"/>
                              <a:pt x="258558" y="663837"/>
                              <a:pt x="258558" y="663975"/>
                            </a:cubicBezTo>
                            <a:cubicBezTo>
                              <a:pt x="258558" y="664546"/>
                              <a:pt x="257992" y="664179"/>
                              <a:pt x="257090" y="663030"/>
                            </a:cubicBezTo>
                            <a:close/>
                            <a:moveTo>
                              <a:pt x="339626" y="655272"/>
                            </a:moveTo>
                            <a:cubicBezTo>
                              <a:pt x="340313" y="654506"/>
                              <a:pt x="341030" y="653887"/>
                              <a:pt x="341220" y="653887"/>
                            </a:cubicBezTo>
                            <a:cubicBezTo>
                              <a:pt x="341410" y="653887"/>
                              <a:pt x="341003" y="654506"/>
                              <a:pt x="340316" y="655272"/>
                            </a:cubicBezTo>
                            <a:cubicBezTo>
                              <a:pt x="339629" y="656030"/>
                              <a:pt x="338912" y="656650"/>
                              <a:pt x="338722" y="656650"/>
                            </a:cubicBezTo>
                            <a:cubicBezTo>
                              <a:pt x="338532" y="656650"/>
                              <a:pt x="338939" y="656030"/>
                              <a:pt x="339626" y="655272"/>
                            </a:cubicBezTo>
                            <a:close/>
                            <a:moveTo>
                              <a:pt x="480694" y="651304"/>
                            </a:moveTo>
                            <a:lnTo>
                              <a:pt x="476924" y="647335"/>
                            </a:lnTo>
                            <a:lnTo>
                              <a:pt x="480891" y="651108"/>
                            </a:lnTo>
                            <a:cubicBezTo>
                              <a:pt x="484577" y="654612"/>
                              <a:pt x="485174" y="655272"/>
                              <a:pt x="484662" y="655272"/>
                            </a:cubicBezTo>
                            <a:cubicBezTo>
                              <a:pt x="484554" y="655272"/>
                              <a:pt x="482769" y="653480"/>
                              <a:pt x="480694" y="651304"/>
                            </a:cubicBezTo>
                            <a:close/>
                            <a:moveTo>
                              <a:pt x="347215" y="647678"/>
                            </a:moveTo>
                            <a:cubicBezTo>
                              <a:pt x="347902" y="646920"/>
                              <a:pt x="348619" y="646301"/>
                              <a:pt x="348809" y="646301"/>
                            </a:cubicBezTo>
                            <a:cubicBezTo>
                              <a:pt x="348999" y="646301"/>
                              <a:pt x="348592" y="646920"/>
                              <a:pt x="347905" y="647678"/>
                            </a:cubicBezTo>
                            <a:cubicBezTo>
                              <a:pt x="347218" y="648435"/>
                              <a:pt x="346501" y="649063"/>
                              <a:pt x="346312" y="649063"/>
                            </a:cubicBezTo>
                            <a:cubicBezTo>
                              <a:pt x="346122" y="649063"/>
                              <a:pt x="346529" y="648435"/>
                              <a:pt x="347215" y="647678"/>
                            </a:cubicBezTo>
                            <a:close/>
                            <a:moveTo>
                              <a:pt x="1650113" y="647164"/>
                            </a:moveTo>
                            <a:lnTo>
                              <a:pt x="1648443" y="645266"/>
                            </a:lnTo>
                            <a:lnTo>
                              <a:pt x="1650333" y="646936"/>
                            </a:lnTo>
                            <a:cubicBezTo>
                              <a:pt x="1652110" y="648501"/>
                              <a:pt x="1652550" y="649063"/>
                              <a:pt x="1652012" y="649063"/>
                            </a:cubicBezTo>
                            <a:cubicBezTo>
                              <a:pt x="1651881" y="649063"/>
                              <a:pt x="1651034" y="648207"/>
                              <a:pt x="1650113" y="647164"/>
                            </a:cubicBezTo>
                            <a:close/>
                            <a:moveTo>
                              <a:pt x="1602556" y="626034"/>
                            </a:moveTo>
                            <a:cubicBezTo>
                              <a:pt x="1602556" y="625888"/>
                              <a:pt x="1603102" y="625342"/>
                              <a:pt x="1603762" y="624820"/>
                            </a:cubicBezTo>
                            <a:cubicBezTo>
                              <a:pt x="1604862" y="623964"/>
                              <a:pt x="1604887" y="623989"/>
                              <a:pt x="1604023" y="625081"/>
                            </a:cubicBezTo>
                            <a:cubicBezTo>
                              <a:pt x="1603127" y="626230"/>
                              <a:pt x="1602556" y="626597"/>
                              <a:pt x="1602556" y="626034"/>
                            </a:cubicBezTo>
                            <a:close/>
                            <a:moveTo>
                              <a:pt x="1606696" y="622579"/>
                            </a:moveTo>
                            <a:cubicBezTo>
                              <a:pt x="1606696" y="622441"/>
                              <a:pt x="1607242" y="621895"/>
                              <a:pt x="1607902" y="621373"/>
                            </a:cubicBezTo>
                            <a:cubicBezTo>
                              <a:pt x="1609002" y="620517"/>
                              <a:pt x="1609026" y="620542"/>
                              <a:pt x="1608163" y="621634"/>
                            </a:cubicBezTo>
                            <a:cubicBezTo>
                              <a:pt x="1607266" y="622783"/>
                              <a:pt x="1606696" y="623150"/>
                              <a:pt x="1606696" y="622579"/>
                            </a:cubicBezTo>
                            <a:close/>
                            <a:moveTo>
                              <a:pt x="1612563" y="617323"/>
                            </a:moveTo>
                            <a:cubicBezTo>
                              <a:pt x="1613248" y="616565"/>
                              <a:pt x="1613965" y="615946"/>
                              <a:pt x="1614152" y="615946"/>
                            </a:cubicBezTo>
                            <a:cubicBezTo>
                              <a:pt x="1614348" y="615946"/>
                              <a:pt x="1613940" y="616565"/>
                              <a:pt x="1613256" y="617323"/>
                            </a:cubicBezTo>
                            <a:cubicBezTo>
                              <a:pt x="1612563" y="618081"/>
                              <a:pt x="1611846" y="618700"/>
                              <a:pt x="1611659" y="618700"/>
                            </a:cubicBezTo>
                            <a:cubicBezTo>
                              <a:pt x="1611471" y="618700"/>
                              <a:pt x="1611879" y="618081"/>
                              <a:pt x="1612563" y="617323"/>
                            </a:cubicBezTo>
                            <a:close/>
                            <a:moveTo>
                              <a:pt x="1619115" y="611456"/>
                            </a:moveTo>
                            <a:cubicBezTo>
                              <a:pt x="1620011" y="610511"/>
                              <a:pt x="1620891" y="609737"/>
                              <a:pt x="1621079" y="609737"/>
                            </a:cubicBezTo>
                            <a:cubicBezTo>
                              <a:pt x="1621274" y="609737"/>
                              <a:pt x="1620696" y="610511"/>
                              <a:pt x="1619807" y="611456"/>
                            </a:cubicBezTo>
                            <a:cubicBezTo>
                              <a:pt x="1618919" y="612409"/>
                              <a:pt x="1618031" y="613184"/>
                              <a:pt x="1617844" y="613184"/>
                            </a:cubicBezTo>
                            <a:cubicBezTo>
                              <a:pt x="1617648" y="613184"/>
                              <a:pt x="1618227" y="612409"/>
                              <a:pt x="1619115" y="611456"/>
                            </a:cubicBezTo>
                            <a:close/>
                            <a:moveTo>
                              <a:pt x="174808" y="611676"/>
                            </a:moveTo>
                            <a:cubicBezTo>
                              <a:pt x="175008" y="611350"/>
                              <a:pt x="175460" y="611269"/>
                              <a:pt x="175813" y="611488"/>
                            </a:cubicBezTo>
                            <a:cubicBezTo>
                              <a:pt x="176716" y="612043"/>
                              <a:pt x="176614" y="612263"/>
                              <a:pt x="175451" y="612263"/>
                            </a:cubicBezTo>
                            <a:cubicBezTo>
                              <a:pt x="174899" y="612263"/>
                              <a:pt x="174610" y="612002"/>
                              <a:pt x="174808" y="611676"/>
                            </a:cubicBezTo>
                            <a:close/>
                            <a:moveTo>
                              <a:pt x="1579104" y="599127"/>
                            </a:moveTo>
                            <a:cubicBezTo>
                              <a:pt x="1579104" y="598980"/>
                              <a:pt x="1579642" y="598434"/>
                              <a:pt x="1580310" y="597912"/>
                            </a:cubicBezTo>
                            <a:cubicBezTo>
                              <a:pt x="1581402" y="597057"/>
                              <a:pt x="1581426" y="597081"/>
                              <a:pt x="1580571" y="598173"/>
                            </a:cubicBezTo>
                            <a:cubicBezTo>
                              <a:pt x="1579666" y="599322"/>
                              <a:pt x="1579104" y="599689"/>
                              <a:pt x="1579104" y="599127"/>
                            </a:cubicBezTo>
                            <a:close/>
                            <a:moveTo>
                              <a:pt x="1583243" y="595672"/>
                            </a:moveTo>
                            <a:cubicBezTo>
                              <a:pt x="1583243" y="595533"/>
                              <a:pt x="1583781" y="594987"/>
                              <a:pt x="1584450" y="594466"/>
                            </a:cubicBezTo>
                            <a:cubicBezTo>
                              <a:pt x="1585541" y="593610"/>
                              <a:pt x="1585566" y="593634"/>
                              <a:pt x="1584710" y="594726"/>
                            </a:cubicBezTo>
                            <a:cubicBezTo>
                              <a:pt x="1583806" y="595875"/>
                              <a:pt x="1583243" y="596242"/>
                              <a:pt x="1583243" y="595672"/>
                            </a:cubicBezTo>
                            <a:close/>
                            <a:moveTo>
                              <a:pt x="1589103" y="590415"/>
                            </a:moveTo>
                            <a:cubicBezTo>
                              <a:pt x="1589795" y="589658"/>
                              <a:pt x="1590512" y="589030"/>
                              <a:pt x="1590700" y="589030"/>
                            </a:cubicBezTo>
                            <a:cubicBezTo>
                              <a:pt x="1590887" y="589030"/>
                              <a:pt x="1590480" y="589658"/>
                              <a:pt x="1589795" y="590415"/>
                            </a:cubicBezTo>
                            <a:cubicBezTo>
                              <a:pt x="1589111" y="591173"/>
                              <a:pt x="1588394" y="591793"/>
                              <a:pt x="1588198" y="591793"/>
                            </a:cubicBezTo>
                            <a:cubicBezTo>
                              <a:pt x="1588011" y="591793"/>
                              <a:pt x="1588418" y="591173"/>
                              <a:pt x="1589103" y="590415"/>
                            </a:cubicBezTo>
                            <a:close/>
                            <a:moveTo>
                              <a:pt x="1595662" y="584548"/>
                            </a:moveTo>
                            <a:cubicBezTo>
                              <a:pt x="1596551" y="583603"/>
                              <a:pt x="1597431" y="582821"/>
                              <a:pt x="1597626" y="582821"/>
                            </a:cubicBezTo>
                            <a:cubicBezTo>
                              <a:pt x="1597814" y="582821"/>
                              <a:pt x="1597243" y="583603"/>
                              <a:pt x="1596347" y="584548"/>
                            </a:cubicBezTo>
                            <a:cubicBezTo>
                              <a:pt x="1595459" y="585502"/>
                              <a:pt x="1594570" y="586276"/>
                              <a:pt x="1594383" y="586276"/>
                            </a:cubicBezTo>
                            <a:cubicBezTo>
                              <a:pt x="1594196" y="586276"/>
                              <a:pt x="1594766" y="585502"/>
                              <a:pt x="1595662" y="584548"/>
                            </a:cubicBezTo>
                            <a:close/>
                            <a:moveTo>
                              <a:pt x="1123" y="547813"/>
                            </a:moveTo>
                            <a:cubicBezTo>
                              <a:pt x="265" y="546713"/>
                              <a:pt x="290" y="546689"/>
                              <a:pt x="1384" y="547552"/>
                            </a:cubicBezTo>
                            <a:cubicBezTo>
                              <a:pt x="2048" y="548074"/>
                              <a:pt x="2591" y="548612"/>
                              <a:pt x="2591" y="548758"/>
                            </a:cubicBezTo>
                            <a:cubicBezTo>
                              <a:pt x="2591" y="549329"/>
                              <a:pt x="2024" y="548962"/>
                              <a:pt x="1123" y="547813"/>
                            </a:cubicBezTo>
                            <a:close/>
                            <a:moveTo>
                              <a:pt x="1799474" y="522625"/>
                            </a:moveTo>
                            <a:lnTo>
                              <a:pt x="1798154" y="521077"/>
                            </a:lnTo>
                            <a:lnTo>
                              <a:pt x="1799710" y="522389"/>
                            </a:lnTo>
                            <a:cubicBezTo>
                              <a:pt x="1801169" y="523627"/>
                              <a:pt x="1801576" y="524181"/>
                              <a:pt x="1801022" y="524181"/>
                            </a:cubicBezTo>
                            <a:cubicBezTo>
                              <a:pt x="1800892" y="524181"/>
                              <a:pt x="1800191" y="523481"/>
                              <a:pt x="1799474" y="522625"/>
                            </a:cubicBezTo>
                            <a:close/>
                            <a:moveTo>
                              <a:pt x="527546" y="463635"/>
                            </a:moveTo>
                            <a:cubicBezTo>
                              <a:pt x="526688" y="462543"/>
                              <a:pt x="526713" y="462519"/>
                              <a:pt x="527806" y="463375"/>
                            </a:cubicBezTo>
                            <a:cubicBezTo>
                              <a:pt x="528471" y="463896"/>
                              <a:pt x="529014" y="464442"/>
                              <a:pt x="529014" y="464581"/>
                            </a:cubicBezTo>
                            <a:cubicBezTo>
                              <a:pt x="529014" y="465151"/>
                              <a:pt x="528448" y="464784"/>
                              <a:pt x="527546" y="463635"/>
                            </a:cubicBezTo>
                            <a:close/>
                            <a:moveTo>
                              <a:pt x="777392" y="455617"/>
                            </a:moveTo>
                            <a:cubicBezTo>
                              <a:pt x="777392" y="455470"/>
                              <a:pt x="777935" y="454932"/>
                              <a:pt x="778600" y="454411"/>
                            </a:cubicBezTo>
                            <a:cubicBezTo>
                              <a:pt x="779694" y="453547"/>
                              <a:pt x="779718" y="453571"/>
                              <a:pt x="778859" y="454672"/>
                            </a:cubicBezTo>
                            <a:cubicBezTo>
                              <a:pt x="777958" y="455820"/>
                              <a:pt x="777392" y="456187"/>
                              <a:pt x="777392" y="455617"/>
                            </a:cubicBezTo>
                            <a:close/>
                            <a:moveTo>
                              <a:pt x="782222" y="451477"/>
                            </a:moveTo>
                            <a:cubicBezTo>
                              <a:pt x="782222" y="451330"/>
                              <a:pt x="782765" y="450793"/>
                              <a:pt x="783429" y="450271"/>
                            </a:cubicBezTo>
                            <a:cubicBezTo>
                              <a:pt x="784523" y="449407"/>
                              <a:pt x="784547" y="449432"/>
                              <a:pt x="783689" y="450532"/>
                            </a:cubicBezTo>
                            <a:cubicBezTo>
                              <a:pt x="782788" y="451681"/>
                              <a:pt x="782222" y="452048"/>
                              <a:pt x="782222" y="451477"/>
                            </a:cubicBezTo>
                            <a:close/>
                            <a:moveTo>
                              <a:pt x="788086" y="446213"/>
                            </a:moveTo>
                            <a:cubicBezTo>
                              <a:pt x="788773" y="445455"/>
                              <a:pt x="789490" y="444836"/>
                              <a:pt x="789680" y="444836"/>
                            </a:cubicBezTo>
                            <a:cubicBezTo>
                              <a:pt x="789869" y="444836"/>
                              <a:pt x="789463" y="445455"/>
                              <a:pt x="788776" y="446213"/>
                            </a:cubicBezTo>
                            <a:cubicBezTo>
                              <a:pt x="788089" y="446979"/>
                              <a:pt x="787372" y="447598"/>
                              <a:pt x="787182" y="447598"/>
                            </a:cubicBezTo>
                            <a:cubicBezTo>
                              <a:pt x="786992" y="447598"/>
                              <a:pt x="787400" y="446979"/>
                              <a:pt x="788086" y="446213"/>
                            </a:cubicBezTo>
                            <a:close/>
                            <a:moveTo>
                              <a:pt x="795330" y="439661"/>
                            </a:moveTo>
                            <a:cubicBezTo>
                              <a:pt x="796221" y="438716"/>
                              <a:pt x="797106" y="437934"/>
                              <a:pt x="797296" y="437934"/>
                            </a:cubicBezTo>
                            <a:cubicBezTo>
                              <a:pt x="797485" y="437934"/>
                              <a:pt x="796912" y="438716"/>
                              <a:pt x="796020" y="439661"/>
                            </a:cubicBezTo>
                            <a:cubicBezTo>
                              <a:pt x="795129" y="440615"/>
                              <a:pt x="794245" y="441389"/>
                              <a:pt x="794055" y="441389"/>
                            </a:cubicBezTo>
                            <a:cubicBezTo>
                              <a:pt x="793865" y="441389"/>
                              <a:pt x="794439" y="440615"/>
                              <a:pt x="795330" y="439661"/>
                            </a:cubicBezTo>
                            <a:close/>
                            <a:moveTo>
                              <a:pt x="806025" y="429654"/>
                            </a:moveTo>
                            <a:cubicBezTo>
                              <a:pt x="807893" y="427764"/>
                              <a:pt x="809578" y="426207"/>
                              <a:pt x="809767" y="426207"/>
                            </a:cubicBezTo>
                            <a:cubicBezTo>
                              <a:pt x="809956" y="426207"/>
                              <a:pt x="808583" y="427764"/>
                              <a:pt x="806714" y="429654"/>
                            </a:cubicBezTo>
                            <a:cubicBezTo>
                              <a:pt x="804845" y="431553"/>
                              <a:pt x="803161" y="433110"/>
                              <a:pt x="802971" y="433110"/>
                            </a:cubicBezTo>
                            <a:cubicBezTo>
                              <a:pt x="802782" y="433110"/>
                              <a:pt x="804155" y="431553"/>
                              <a:pt x="806025" y="429654"/>
                            </a:cubicBezTo>
                            <a:close/>
                            <a:moveTo>
                              <a:pt x="758764" y="424570"/>
                            </a:moveTo>
                            <a:cubicBezTo>
                              <a:pt x="758764" y="424423"/>
                              <a:pt x="759307" y="423885"/>
                              <a:pt x="759971" y="423364"/>
                            </a:cubicBezTo>
                            <a:cubicBezTo>
                              <a:pt x="761066" y="422500"/>
                              <a:pt x="761090" y="422524"/>
                              <a:pt x="760231" y="423624"/>
                            </a:cubicBezTo>
                            <a:cubicBezTo>
                              <a:pt x="759330" y="424773"/>
                              <a:pt x="758764" y="425140"/>
                              <a:pt x="758764" y="424570"/>
                            </a:cubicBezTo>
                            <a:close/>
                            <a:moveTo>
                              <a:pt x="813614" y="422068"/>
                            </a:moveTo>
                            <a:cubicBezTo>
                              <a:pt x="815096" y="420552"/>
                              <a:pt x="816464" y="419305"/>
                              <a:pt x="816653" y="419305"/>
                            </a:cubicBezTo>
                            <a:cubicBezTo>
                              <a:pt x="816843" y="419305"/>
                              <a:pt x="815786" y="420552"/>
                              <a:pt x="814304" y="422068"/>
                            </a:cubicBezTo>
                            <a:cubicBezTo>
                              <a:pt x="812822" y="423584"/>
                              <a:pt x="811453" y="424830"/>
                              <a:pt x="811263" y="424830"/>
                            </a:cubicBezTo>
                            <a:cubicBezTo>
                              <a:pt x="811074" y="424830"/>
                              <a:pt x="812131" y="423584"/>
                              <a:pt x="813614" y="422068"/>
                            </a:cubicBezTo>
                            <a:close/>
                            <a:moveTo>
                              <a:pt x="765318" y="418621"/>
                            </a:moveTo>
                            <a:cubicBezTo>
                              <a:pt x="766005" y="417863"/>
                              <a:pt x="766722" y="417236"/>
                              <a:pt x="766912" y="417236"/>
                            </a:cubicBezTo>
                            <a:cubicBezTo>
                              <a:pt x="767101" y="417236"/>
                              <a:pt x="766695" y="417863"/>
                              <a:pt x="766008" y="418621"/>
                            </a:cubicBezTo>
                            <a:cubicBezTo>
                              <a:pt x="765321" y="419379"/>
                              <a:pt x="764604" y="419998"/>
                              <a:pt x="764414" y="419998"/>
                            </a:cubicBezTo>
                            <a:cubicBezTo>
                              <a:pt x="764224" y="419998"/>
                              <a:pt x="764632" y="419379"/>
                              <a:pt x="765318" y="418621"/>
                            </a:cubicBezTo>
                            <a:close/>
                            <a:moveTo>
                              <a:pt x="821203" y="413789"/>
                            </a:moveTo>
                            <a:cubicBezTo>
                              <a:pt x="821890" y="413031"/>
                              <a:pt x="822607" y="412411"/>
                              <a:pt x="822797" y="412411"/>
                            </a:cubicBezTo>
                            <a:cubicBezTo>
                              <a:pt x="822986" y="412411"/>
                              <a:pt x="822580" y="413031"/>
                              <a:pt x="821893" y="413789"/>
                            </a:cubicBezTo>
                            <a:cubicBezTo>
                              <a:pt x="821206" y="414546"/>
                              <a:pt x="820489" y="415166"/>
                              <a:pt x="820299" y="415166"/>
                            </a:cubicBezTo>
                            <a:cubicBezTo>
                              <a:pt x="820109" y="415166"/>
                              <a:pt x="820517" y="414546"/>
                              <a:pt x="821203" y="413789"/>
                            </a:cubicBezTo>
                            <a:close/>
                            <a:moveTo>
                              <a:pt x="772562" y="412061"/>
                            </a:moveTo>
                            <a:cubicBezTo>
                              <a:pt x="773454" y="411116"/>
                              <a:pt x="774338" y="410342"/>
                              <a:pt x="774528" y="410342"/>
                            </a:cubicBezTo>
                            <a:cubicBezTo>
                              <a:pt x="774717" y="410342"/>
                              <a:pt x="774144" y="411116"/>
                              <a:pt x="773252" y="412061"/>
                            </a:cubicBezTo>
                            <a:cubicBezTo>
                              <a:pt x="772361" y="413014"/>
                              <a:pt x="771477" y="413789"/>
                              <a:pt x="771287" y="413789"/>
                            </a:cubicBezTo>
                            <a:cubicBezTo>
                              <a:pt x="771097" y="413789"/>
                              <a:pt x="771671" y="413014"/>
                              <a:pt x="772562" y="412061"/>
                            </a:cubicBezTo>
                            <a:close/>
                            <a:moveTo>
                              <a:pt x="827067" y="407367"/>
                            </a:moveTo>
                            <a:cubicBezTo>
                              <a:pt x="827067" y="407245"/>
                              <a:pt x="828076" y="406235"/>
                              <a:pt x="829310" y="405118"/>
                            </a:cubicBezTo>
                            <a:lnTo>
                              <a:pt x="831552" y="403097"/>
                            </a:lnTo>
                            <a:lnTo>
                              <a:pt x="829526" y="405338"/>
                            </a:lnTo>
                            <a:cubicBezTo>
                              <a:pt x="827637" y="407424"/>
                              <a:pt x="827067" y="407897"/>
                              <a:pt x="827067" y="407367"/>
                            </a:cubicBezTo>
                            <a:close/>
                            <a:moveTo>
                              <a:pt x="784981" y="400335"/>
                            </a:moveTo>
                            <a:cubicBezTo>
                              <a:pt x="787426" y="397866"/>
                              <a:pt x="789581" y="395853"/>
                              <a:pt x="789771" y="395853"/>
                            </a:cubicBezTo>
                            <a:cubicBezTo>
                              <a:pt x="789961" y="395853"/>
                              <a:pt x="788116" y="397866"/>
                              <a:pt x="785671" y="400335"/>
                            </a:cubicBezTo>
                            <a:cubicBezTo>
                              <a:pt x="783226" y="402804"/>
                              <a:pt x="781071" y="404817"/>
                              <a:pt x="780881" y="404817"/>
                            </a:cubicBezTo>
                            <a:cubicBezTo>
                              <a:pt x="780692" y="404817"/>
                              <a:pt x="782536" y="402804"/>
                              <a:pt x="784981" y="400335"/>
                            </a:cubicBezTo>
                            <a:close/>
                            <a:moveTo>
                              <a:pt x="793950" y="390678"/>
                            </a:moveTo>
                            <a:cubicBezTo>
                              <a:pt x="794842" y="389725"/>
                              <a:pt x="795726" y="388951"/>
                              <a:pt x="795916" y="388951"/>
                            </a:cubicBezTo>
                            <a:cubicBezTo>
                              <a:pt x="796106" y="388951"/>
                              <a:pt x="795531" y="389725"/>
                              <a:pt x="794641" y="390678"/>
                            </a:cubicBezTo>
                            <a:cubicBezTo>
                              <a:pt x="793749" y="391624"/>
                              <a:pt x="792865" y="392398"/>
                              <a:pt x="792675" y="392398"/>
                            </a:cubicBezTo>
                            <a:cubicBezTo>
                              <a:pt x="792485" y="392398"/>
                              <a:pt x="793059" y="391624"/>
                              <a:pt x="793950" y="390678"/>
                            </a:cubicBezTo>
                            <a:close/>
                            <a:moveTo>
                              <a:pt x="803609" y="380329"/>
                            </a:moveTo>
                            <a:cubicBezTo>
                              <a:pt x="806054" y="377860"/>
                              <a:pt x="808209" y="375839"/>
                              <a:pt x="808399" y="375839"/>
                            </a:cubicBezTo>
                            <a:cubicBezTo>
                              <a:pt x="808589" y="375839"/>
                              <a:pt x="806744" y="377860"/>
                              <a:pt x="804299" y="380329"/>
                            </a:cubicBezTo>
                            <a:cubicBezTo>
                              <a:pt x="801855" y="382790"/>
                              <a:pt x="799699" y="384811"/>
                              <a:pt x="799510" y="384811"/>
                            </a:cubicBezTo>
                            <a:cubicBezTo>
                              <a:pt x="799321" y="384811"/>
                              <a:pt x="801165" y="382790"/>
                              <a:pt x="803609" y="380329"/>
                            </a:cubicBezTo>
                            <a:close/>
                            <a:moveTo>
                              <a:pt x="662862" y="301070"/>
                            </a:moveTo>
                            <a:cubicBezTo>
                              <a:pt x="662862" y="300927"/>
                              <a:pt x="663405" y="300383"/>
                              <a:pt x="664070" y="299862"/>
                            </a:cubicBezTo>
                            <a:cubicBezTo>
                              <a:pt x="665164" y="299004"/>
                              <a:pt x="665188" y="299029"/>
                              <a:pt x="664330" y="300123"/>
                            </a:cubicBezTo>
                            <a:cubicBezTo>
                              <a:pt x="663429" y="301272"/>
                              <a:pt x="662862" y="301637"/>
                              <a:pt x="662862" y="301070"/>
                            </a:cubicBezTo>
                            <a:close/>
                            <a:moveTo>
                              <a:pt x="669071" y="294215"/>
                            </a:moveTo>
                            <a:cubicBezTo>
                              <a:pt x="669071" y="294096"/>
                              <a:pt x="670081" y="293087"/>
                              <a:pt x="671314" y="291973"/>
                            </a:cubicBezTo>
                            <a:lnTo>
                              <a:pt x="673556" y="289946"/>
                            </a:lnTo>
                            <a:lnTo>
                              <a:pt x="671530" y="292189"/>
                            </a:lnTo>
                            <a:cubicBezTo>
                              <a:pt x="669641" y="294279"/>
                              <a:pt x="669071" y="294748"/>
                              <a:pt x="669071" y="294215"/>
                            </a:cubicBezTo>
                            <a:close/>
                            <a:moveTo>
                              <a:pt x="676661" y="287271"/>
                            </a:moveTo>
                            <a:cubicBezTo>
                              <a:pt x="676661" y="287127"/>
                              <a:pt x="677205" y="286585"/>
                              <a:pt x="677868" y="286064"/>
                            </a:cubicBezTo>
                            <a:cubicBezTo>
                              <a:pt x="678962" y="285206"/>
                              <a:pt x="678987" y="285229"/>
                              <a:pt x="678129" y="286324"/>
                            </a:cubicBezTo>
                            <a:cubicBezTo>
                              <a:pt x="677227" y="287474"/>
                              <a:pt x="676661" y="287839"/>
                              <a:pt x="676661" y="287271"/>
                            </a:cubicBezTo>
                            <a:close/>
                            <a:moveTo>
                              <a:pt x="632505" y="281752"/>
                            </a:moveTo>
                            <a:cubicBezTo>
                              <a:pt x="632505" y="281608"/>
                              <a:pt x="633048" y="281065"/>
                              <a:pt x="633712" y="280544"/>
                            </a:cubicBezTo>
                            <a:cubicBezTo>
                              <a:pt x="634807" y="279686"/>
                              <a:pt x="634831" y="279710"/>
                              <a:pt x="633972" y="280805"/>
                            </a:cubicBezTo>
                            <a:cubicBezTo>
                              <a:pt x="633071" y="281954"/>
                              <a:pt x="632505" y="282320"/>
                              <a:pt x="632505" y="281752"/>
                            </a:cubicBezTo>
                            <a:close/>
                            <a:moveTo>
                              <a:pt x="635954" y="277612"/>
                            </a:moveTo>
                            <a:cubicBezTo>
                              <a:pt x="635954" y="277468"/>
                              <a:pt x="636498" y="276925"/>
                              <a:pt x="637162" y="276404"/>
                            </a:cubicBezTo>
                            <a:cubicBezTo>
                              <a:pt x="638256" y="275546"/>
                              <a:pt x="638281" y="275571"/>
                              <a:pt x="637423" y="276665"/>
                            </a:cubicBezTo>
                            <a:cubicBezTo>
                              <a:pt x="636521" y="277814"/>
                              <a:pt x="635954" y="278180"/>
                              <a:pt x="635954" y="277612"/>
                            </a:cubicBezTo>
                            <a:close/>
                            <a:moveTo>
                              <a:pt x="645268" y="267524"/>
                            </a:moveTo>
                            <a:cubicBezTo>
                              <a:pt x="647905" y="264867"/>
                              <a:pt x="650216" y="262694"/>
                              <a:pt x="650406" y="262694"/>
                            </a:cubicBezTo>
                            <a:cubicBezTo>
                              <a:pt x="650596" y="262694"/>
                              <a:pt x="648595" y="264867"/>
                              <a:pt x="645959" y="267524"/>
                            </a:cubicBezTo>
                            <a:cubicBezTo>
                              <a:pt x="643322" y="270179"/>
                              <a:pt x="641011" y="272353"/>
                              <a:pt x="640821" y="272353"/>
                            </a:cubicBezTo>
                            <a:cubicBezTo>
                              <a:pt x="640632" y="272353"/>
                              <a:pt x="642633" y="270179"/>
                              <a:pt x="645268" y="267524"/>
                            </a:cubicBezTo>
                            <a:close/>
                            <a:moveTo>
                              <a:pt x="653203" y="260363"/>
                            </a:moveTo>
                            <a:cubicBezTo>
                              <a:pt x="653203" y="260220"/>
                              <a:pt x="653747" y="259677"/>
                              <a:pt x="654411" y="259156"/>
                            </a:cubicBezTo>
                            <a:cubicBezTo>
                              <a:pt x="655505" y="258297"/>
                              <a:pt x="655529" y="258322"/>
                              <a:pt x="654671" y="259416"/>
                            </a:cubicBezTo>
                            <a:cubicBezTo>
                              <a:pt x="653769" y="260566"/>
                              <a:pt x="653203" y="260931"/>
                              <a:pt x="653203" y="260363"/>
                            </a:cubicBezTo>
                            <a:close/>
                            <a:moveTo>
                              <a:pt x="1349354" y="104438"/>
                            </a:moveTo>
                            <a:cubicBezTo>
                              <a:pt x="1349354" y="104294"/>
                              <a:pt x="1349892" y="103751"/>
                              <a:pt x="1350560" y="103230"/>
                            </a:cubicBezTo>
                            <a:cubicBezTo>
                              <a:pt x="1351652" y="102372"/>
                              <a:pt x="1351677" y="102396"/>
                              <a:pt x="1350821" y="103491"/>
                            </a:cubicBezTo>
                            <a:cubicBezTo>
                              <a:pt x="1349917" y="104640"/>
                              <a:pt x="1349354" y="105005"/>
                              <a:pt x="1349354" y="104438"/>
                            </a:cubicBezTo>
                            <a:close/>
                            <a:moveTo>
                              <a:pt x="448203" y="101421"/>
                            </a:moveTo>
                            <a:cubicBezTo>
                              <a:pt x="447345" y="100327"/>
                              <a:pt x="447370" y="100302"/>
                              <a:pt x="448464" y="101160"/>
                            </a:cubicBezTo>
                            <a:cubicBezTo>
                              <a:pt x="449613" y="102061"/>
                              <a:pt x="449979" y="102628"/>
                              <a:pt x="449411" y="102628"/>
                            </a:cubicBezTo>
                            <a:cubicBezTo>
                              <a:pt x="449267" y="102628"/>
                              <a:pt x="448724" y="102084"/>
                              <a:pt x="448203" y="101421"/>
                            </a:cubicBezTo>
                            <a:close/>
                            <a:moveTo>
                              <a:pt x="1353494" y="100987"/>
                            </a:moveTo>
                            <a:cubicBezTo>
                              <a:pt x="1353494" y="100844"/>
                              <a:pt x="1354032" y="100301"/>
                              <a:pt x="1354700" y="99781"/>
                            </a:cubicBezTo>
                            <a:cubicBezTo>
                              <a:pt x="1355792" y="98922"/>
                              <a:pt x="1355816" y="98946"/>
                              <a:pt x="1354961" y="100041"/>
                            </a:cubicBezTo>
                            <a:cubicBezTo>
                              <a:pt x="1354056" y="101190"/>
                              <a:pt x="1353494" y="101555"/>
                              <a:pt x="1353494" y="100987"/>
                            </a:cubicBezTo>
                            <a:close/>
                            <a:moveTo>
                              <a:pt x="444064" y="97971"/>
                            </a:moveTo>
                            <a:cubicBezTo>
                              <a:pt x="443206" y="96876"/>
                              <a:pt x="443230" y="96853"/>
                              <a:pt x="444324" y="97711"/>
                            </a:cubicBezTo>
                            <a:cubicBezTo>
                              <a:pt x="444989" y="98231"/>
                              <a:pt x="445531" y="98774"/>
                              <a:pt x="445531" y="98918"/>
                            </a:cubicBezTo>
                            <a:cubicBezTo>
                              <a:pt x="445531" y="99486"/>
                              <a:pt x="444965" y="99121"/>
                              <a:pt x="444064" y="97971"/>
                            </a:cubicBezTo>
                            <a:close/>
                            <a:moveTo>
                              <a:pt x="1302091" y="97109"/>
                            </a:moveTo>
                            <a:cubicBezTo>
                              <a:pt x="1302775" y="96350"/>
                              <a:pt x="1303492" y="95729"/>
                              <a:pt x="1303680" y="95729"/>
                            </a:cubicBezTo>
                            <a:cubicBezTo>
                              <a:pt x="1303875" y="95729"/>
                              <a:pt x="1303468" y="96350"/>
                              <a:pt x="1302784" y="97109"/>
                            </a:cubicBezTo>
                            <a:cubicBezTo>
                              <a:pt x="1302091" y="97867"/>
                              <a:pt x="1301374" y="98488"/>
                              <a:pt x="1301186" y="98488"/>
                            </a:cubicBezTo>
                            <a:cubicBezTo>
                              <a:pt x="1300999" y="98488"/>
                              <a:pt x="1301406" y="97867"/>
                              <a:pt x="1302091" y="97109"/>
                            </a:cubicBezTo>
                            <a:close/>
                            <a:moveTo>
                              <a:pt x="432335" y="88312"/>
                            </a:moveTo>
                            <a:cubicBezTo>
                              <a:pt x="431477" y="87217"/>
                              <a:pt x="431501" y="87193"/>
                              <a:pt x="432595" y="88051"/>
                            </a:cubicBezTo>
                            <a:cubicBezTo>
                              <a:pt x="433259" y="88572"/>
                              <a:pt x="433803" y="89115"/>
                              <a:pt x="433803" y="89259"/>
                            </a:cubicBezTo>
                            <a:cubicBezTo>
                              <a:pt x="433803" y="89827"/>
                              <a:pt x="433236" y="89461"/>
                              <a:pt x="432335" y="88312"/>
                            </a:cubicBezTo>
                            <a:close/>
                            <a:moveTo>
                              <a:pt x="487530" y="87622"/>
                            </a:moveTo>
                            <a:cubicBezTo>
                              <a:pt x="486672" y="86527"/>
                              <a:pt x="486696" y="86503"/>
                              <a:pt x="487790" y="87362"/>
                            </a:cubicBezTo>
                            <a:cubicBezTo>
                              <a:pt x="488939" y="88263"/>
                              <a:pt x="489305" y="88829"/>
                              <a:pt x="488737" y="88829"/>
                            </a:cubicBezTo>
                            <a:cubicBezTo>
                              <a:pt x="488594" y="88829"/>
                              <a:pt x="488050" y="88286"/>
                              <a:pt x="487530" y="87622"/>
                            </a:cubicBezTo>
                            <a:close/>
                            <a:moveTo>
                              <a:pt x="1369360" y="87879"/>
                            </a:moveTo>
                            <a:cubicBezTo>
                              <a:pt x="1369360" y="87736"/>
                              <a:pt x="1369906" y="87192"/>
                              <a:pt x="1370566" y="86671"/>
                            </a:cubicBezTo>
                            <a:cubicBezTo>
                              <a:pt x="1371658" y="85813"/>
                              <a:pt x="1371682" y="85838"/>
                              <a:pt x="1370827" y="86932"/>
                            </a:cubicBezTo>
                            <a:cubicBezTo>
                              <a:pt x="1369922" y="88081"/>
                              <a:pt x="1369360" y="88446"/>
                              <a:pt x="1369360" y="87879"/>
                            </a:cubicBezTo>
                            <a:close/>
                            <a:moveTo>
                              <a:pt x="1314167" y="87189"/>
                            </a:moveTo>
                            <a:cubicBezTo>
                              <a:pt x="1314167" y="87045"/>
                              <a:pt x="1314705" y="86502"/>
                              <a:pt x="1315374" y="85981"/>
                            </a:cubicBezTo>
                            <a:cubicBezTo>
                              <a:pt x="1316465" y="85123"/>
                              <a:pt x="1316490" y="85148"/>
                              <a:pt x="1315634" y="86242"/>
                            </a:cubicBezTo>
                            <a:cubicBezTo>
                              <a:pt x="1314730" y="87391"/>
                              <a:pt x="1314167" y="87757"/>
                              <a:pt x="1314167" y="87189"/>
                            </a:cubicBezTo>
                            <a:close/>
                            <a:moveTo>
                              <a:pt x="428195" y="84862"/>
                            </a:moveTo>
                            <a:cubicBezTo>
                              <a:pt x="427337" y="83768"/>
                              <a:pt x="427362" y="83744"/>
                              <a:pt x="428455" y="84602"/>
                            </a:cubicBezTo>
                            <a:cubicBezTo>
                              <a:pt x="429605" y="85503"/>
                              <a:pt x="429970" y="86069"/>
                              <a:pt x="429402" y="86069"/>
                            </a:cubicBezTo>
                            <a:cubicBezTo>
                              <a:pt x="429260" y="86069"/>
                              <a:pt x="428716" y="85526"/>
                              <a:pt x="428195" y="84862"/>
                            </a:cubicBezTo>
                            <a:close/>
                            <a:moveTo>
                              <a:pt x="483390" y="84172"/>
                            </a:moveTo>
                            <a:cubicBezTo>
                              <a:pt x="482532" y="83078"/>
                              <a:pt x="482556" y="83053"/>
                              <a:pt x="483651" y="83911"/>
                            </a:cubicBezTo>
                            <a:cubicBezTo>
                              <a:pt x="484800" y="84813"/>
                              <a:pt x="485166" y="85380"/>
                              <a:pt x="484598" y="85380"/>
                            </a:cubicBezTo>
                            <a:cubicBezTo>
                              <a:pt x="484454" y="85380"/>
                              <a:pt x="483911" y="84836"/>
                              <a:pt x="483390" y="84172"/>
                            </a:cubicBezTo>
                            <a:close/>
                            <a:moveTo>
                              <a:pt x="1373499" y="84429"/>
                            </a:moveTo>
                            <a:cubicBezTo>
                              <a:pt x="1373499" y="84285"/>
                              <a:pt x="1374045" y="83743"/>
                              <a:pt x="1374706" y="83222"/>
                            </a:cubicBezTo>
                            <a:cubicBezTo>
                              <a:pt x="1375797" y="82363"/>
                              <a:pt x="1375822" y="82388"/>
                              <a:pt x="1374966" y="83482"/>
                            </a:cubicBezTo>
                            <a:cubicBezTo>
                              <a:pt x="1374062" y="84632"/>
                              <a:pt x="1373499" y="84997"/>
                              <a:pt x="1373499" y="84429"/>
                            </a:cubicBezTo>
                            <a:close/>
                            <a:moveTo>
                              <a:pt x="1385226" y="74770"/>
                            </a:moveTo>
                            <a:cubicBezTo>
                              <a:pt x="1385226" y="74627"/>
                              <a:pt x="1385772" y="74083"/>
                              <a:pt x="1386432" y="73562"/>
                            </a:cubicBezTo>
                            <a:cubicBezTo>
                              <a:pt x="1387532" y="72704"/>
                              <a:pt x="1387556" y="72729"/>
                              <a:pt x="1386692" y="73823"/>
                            </a:cubicBezTo>
                            <a:cubicBezTo>
                              <a:pt x="1385796" y="74972"/>
                              <a:pt x="1385226" y="75338"/>
                              <a:pt x="1385226" y="74770"/>
                            </a:cubicBezTo>
                            <a:close/>
                            <a:moveTo>
                              <a:pt x="1330033" y="74080"/>
                            </a:moveTo>
                            <a:cubicBezTo>
                              <a:pt x="1330033" y="73936"/>
                              <a:pt x="1330579" y="73394"/>
                              <a:pt x="1331239" y="72872"/>
                            </a:cubicBezTo>
                            <a:cubicBezTo>
                              <a:pt x="1332331" y="72014"/>
                              <a:pt x="1332356" y="72039"/>
                              <a:pt x="1331500" y="73133"/>
                            </a:cubicBezTo>
                            <a:cubicBezTo>
                              <a:pt x="1330596" y="74283"/>
                              <a:pt x="1330033" y="74648"/>
                              <a:pt x="1330033" y="74080"/>
                            </a:cubicBezTo>
                            <a:close/>
                            <a:moveTo>
                              <a:pt x="412326" y="71753"/>
                            </a:moveTo>
                            <a:cubicBezTo>
                              <a:pt x="411468" y="70659"/>
                              <a:pt x="411493" y="70634"/>
                              <a:pt x="412587" y="71493"/>
                            </a:cubicBezTo>
                            <a:cubicBezTo>
                              <a:pt x="413736" y="72394"/>
                              <a:pt x="414102" y="72961"/>
                              <a:pt x="413534" y="72961"/>
                            </a:cubicBezTo>
                            <a:cubicBezTo>
                              <a:pt x="413390" y="72961"/>
                              <a:pt x="412848" y="72417"/>
                              <a:pt x="412326" y="71753"/>
                            </a:cubicBezTo>
                            <a:close/>
                            <a:moveTo>
                              <a:pt x="467522" y="71063"/>
                            </a:moveTo>
                            <a:cubicBezTo>
                              <a:pt x="466664" y="69969"/>
                              <a:pt x="466687" y="69944"/>
                              <a:pt x="467782" y="70803"/>
                            </a:cubicBezTo>
                            <a:cubicBezTo>
                              <a:pt x="468932" y="71704"/>
                              <a:pt x="469297" y="72271"/>
                              <a:pt x="468729" y="72271"/>
                            </a:cubicBezTo>
                            <a:cubicBezTo>
                              <a:pt x="468586" y="72271"/>
                              <a:pt x="468042" y="71727"/>
                              <a:pt x="467522" y="71063"/>
                            </a:cubicBezTo>
                            <a:close/>
                            <a:moveTo>
                              <a:pt x="1389365" y="71321"/>
                            </a:moveTo>
                            <a:cubicBezTo>
                              <a:pt x="1389365" y="71177"/>
                              <a:pt x="1389911" y="70634"/>
                              <a:pt x="1390571" y="70113"/>
                            </a:cubicBezTo>
                            <a:cubicBezTo>
                              <a:pt x="1391672" y="69255"/>
                              <a:pt x="1391696" y="69279"/>
                              <a:pt x="1390832" y="70374"/>
                            </a:cubicBezTo>
                            <a:cubicBezTo>
                              <a:pt x="1389936" y="71523"/>
                              <a:pt x="1389365" y="71888"/>
                              <a:pt x="1389365" y="71321"/>
                            </a:cubicBezTo>
                            <a:close/>
                            <a:moveTo>
                              <a:pt x="1334173" y="70630"/>
                            </a:moveTo>
                            <a:cubicBezTo>
                              <a:pt x="1334173" y="70487"/>
                              <a:pt x="1334719" y="69943"/>
                              <a:pt x="1335379" y="69423"/>
                            </a:cubicBezTo>
                            <a:cubicBezTo>
                              <a:pt x="1336471" y="68565"/>
                              <a:pt x="1336495" y="68589"/>
                              <a:pt x="1335640" y="69684"/>
                            </a:cubicBezTo>
                            <a:cubicBezTo>
                              <a:pt x="1334735" y="70832"/>
                              <a:pt x="1334173" y="71198"/>
                              <a:pt x="1334173" y="70630"/>
                            </a:cubicBezTo>
                            <a:close/>
                            <a:moveTo>
                              <a:pt x="408187" y="68304"/>
                            </a:moveTo>
                            <a:cubicBezTo>
                              <a:pt x="407328" y="67210"/>
                              <a:pt x="407353" y="67185"/>
                              <a:pt x="408447" y="68043"/>
                            </a:cubicBezTo>
                            <a:cubicBezTo>
                              <a:pt x="409596" y="68944"/>
                              <a:pt x="409962" y="69511"/>
                              <a:pt x="409394" y="69511"/>
                            </a:cubicBezTo>
                            <a:cubicBezTo>
                              <a:pt x="409251" y="69511"/>
                              <a:pt x="408708" y="68967"/>
                              <a:pt x="408187" y="68304"/>
                            </a:cubicBezTo>
                            <a:close/>
                            <a:moveTo>
                              <a:pt x="463382" y="67614"/>
                            </a:moveTo>
                            <a:cubicBezTo>
                              <a:pt x="462524" y="66519"/>
                              <a:pt x="462548" y="66495"/>
                              <a:pt x="463642" y="67353"/>
                            </a:cubicBezTo>
                            <a:cubicBezTo>
                              <a:pt x="464306" y="67874"/>
                              <a:pt x="464850" y="68417"/>
                              <a:pt x="464850" y="68561"/>
                            </a:cubicBezTo>
                            <a:cubicBezTo>
                              <a:pt x="464850" y="69129"/>
                              <a:pt x="464283" y="68763"/>
                              <a:pt x="463382" y="67614"/>
                            </a:cubicBezTo>
                            <a:close/>
                            <a:moveTo>
                              <a:pt x="451653" y="57955"/>
                            </a:moveTo>
                            <a:cubicBezTo>
                              <a:pt x="450795" y="56860"/>
                              <a:pt x="450819" y="56836"/>
                              <a:pt x="451913" y="57694"/>
                            </a:cubicBezTo>
                            <a:cubicBezTo>
                              <a:pt x="453062" y="58595"/>
                              <a:pt x="453428" y="59162"/>
                              <a:pt x="452860" y="59162"/>
                            </a:cubicBezTo>
                            <a:cubicBezTo>
                              <a:pt x="452717" y="59162"/>
                              <a:pt x="452174" y="58618"/>
                              <a:pt x="451653" y="57955"/>
                            </a:cubicBezTo>
                            <a:close/>
                            <a:moveTo>
                              <a:pt x="1405239" y="58212"/>
                            </a:moveTo>
                            <a:cubicBezTo>
                              <a:pt x="1405239" y="58068"/>
                              <a:pt x="1405777" y="57525"/>
                              <a:pt x="1406445" y="57004"/>
                            </a:cubicBezTo>
                            <a:cubicBezTo>
                              <a:pt x="1407537" y="56146"/>
                              <a:pt x="1407562" y="56170"/>
                              <a:pt x="1406706" y="57265"/>
                            </a:cubicBezTo>
                            <a:cubicBezTo>
                              <a:pt x="1405802" y="58414"/>
                              <a:pt x="1405239" y="58780"/>
                              <a:pt x="1405239" y="58212"/>
                            </a:cubicBezTo>
                            <a:close/>
                            <a:moveTo>
                              <a:pt x="1350039" y="57521"/>
                            </a:moveTo>
                            <a:cubicBezTo>
                              <a:pt x="1350039" y="57378"/>
                              <a:pt x="1350585" y="56835"/>
                              <a:pt x="1351245" y="56314"/>
                            </a:cubicBezTo>
                            <a:cubicBezTo>
                              <a:pt x="1352345" y="55456"/>
                              <a:pt x="1352369" y="55480"/>
                              <a:pt x="1351506" y="56574"/>
                            </a:cubicBezTo>
                            <a:cubicBezTo>
                              <a:pt x="1350609" y="57723"/>
                              <a:pt x="1350039" y="58089"/>
                              <a:pt x="1350039" y="57521"/>
                            </a:cubicBezTo>
                            <a:close/>
                            <a:moveTo>
                              <a:pt x="392318" y="55195"/>
                            </a:moveTo>
                            <a:cubicBezTo>
                              <a:pt x="391460" y="54100"/>
                              <a:pt x="391485" y="54076"/>
                              <a:pt x="392579" y="54934"/>
                            </a:cubicBezTo>
                            <a:cubicBezTo>
                              <a:pt x="393243" y="55455"/>
                              <a:pt x="393786" y="55998"/>
                              <a:pt x="393786" y="56142"/>
                            </a:cubicBezTo>
                            <a:cubicBezTo>
                              <a:pt x="393786" y="56710"/>
                              <a:pt x="393220" y="56344"/>
                              <a:pt x="392318" y="55195"/>
                            </a:cubicBezTo>
                            <a:close/>
                            <a:moveTo>
                              <a:pt x="447513" y="54505"/>
                            </a:moveTo>
                            <a:cubicBezTo>
                              <a:pt x="446655" y="53410"/>
                              <a:pt x="446679" y="53386"/>
                              <a:pt x="447774" y="54245"/>
                            </a:cubicBezTo>
                            <a:cubicBezTo>
                              <a:pt x="448438" y="54765"/>
                              <a:pt x="448981" y="55308"/>
                              <a:pt x="448981" y="55452"/>
                            </a:cubicBezTo>
                            <a:cubicBezTo>
                              <a:pt x="448981" y="56019"/>
                              <a:pt x="448414" y="55654"/>
                              <a:pt x="447513" y="54505"/>
                            </a:cubicBezTo>
                            <a:close/>
                            <a:moveTo>
                              <a:pt x="1409379" y="54762"/>
                            </a:moveTo>
                            <a:cubicBezTo>
                              <a:pt x="1409379" y="54619"/>
                              <a:pt x="1409917" y="54075"/>
                              <a:pt x="1410585" y="53554"/>
                            </a:cubicBezTo>
                            <a:cubicBezTo>
                              <a:pt x="1411677" y="52696"/>
                              <a:pt x="1411701" y="52721"/>
                              <a:pt x="1410846" y="53815"/>
                            </a:cubicBezTo>
                            <a:cubicBezTo>
                              <a:pt x="1409941" y="54964"/>
                              <a:pt x="1409379" y="55329"/>
                              <a:pt x="1409379" y="54762"/>
                            </a:cubicBezTo>
                            <a:close/>
                            <a:moveTo>
                              <a:pt x="1354178" y="54072"/>
                            </a:moveTo>
                            <a:cubicBezTo>
                              <a:pt x="1354178" y="53928"/>
                              <a:pt x="1354724" y="53385"/>
                              <a:pt x="1355385" y="52864"/>
                            </a:cubicBezTo>
                            <a:cubicBezTo>
                              <a:pt x="1356485" y="52006"/>
                              <a:pt x="1356509" y="52031"/>
                              <a:pt x="1355645" y="53125"/>
                            </a:cubicBezTo>
                            <a:cubicBezTo>
                              <a:pt x="1354749" y="54274"/>
                              <a:pt x="1354178" y="54640"/>
                              <a:pt x="1354178" y="54072"/>
                            </a:cubicBezTo>
                            <a:close/>
                            <a:moveTo>
                              <a:pt x="1365913" y="44412"/>
                            </a:moveTo>
                            <a:cubicBezTo>
                              <a:pt x="1365913" y="44270"/>
                              <a:pt x="1366451" y="43726"/>
                              <a:pt x="1367119" y="43205"/>
                            </a:cubicBezTo>
                            <a:cubicBezTo>
                              <a:pt x="1368211" y="42347"/>
                              <a:pt x="1368235" y="42372"/>
                              <a:pt x="1367380" y="43466"/>
                            </a:cubicBezTo>
                            <a:cubicBezTo>
                              <a:pt x="1366475" y="44615"/>
                              <a:pt x="1365913" y="44980"/>
                              <a:pt x="1365913" y="44412"/>
                            </a:cubicBezTo>
                            <a:close/>
                            <a:moveTo>
                              <a:pt x="376450" y="42086"/>
                            </a:moveTo>
                            <a:cubicBezTo>
                              <a:pt x="375592" y="40991"/>
                              <a:pt x="375616" y="40967"/>
                              <a:pt x="376710" y="41826"/>
                            </a:cubicBezTo>
                            <a:cubicBezTo>
                              <a:pt x="377374" y="42346"/>
                              <a:pt x="377918" y="42889"/>
                              <a:pt x="377918" y="43033"/>
                            </a:cubicBezTo>
                            <a:cubicBezTo>
                              <a:pt x="377918" y="43601"/>
                              <a:pt x="377351" y="43235"/>
                              <a:pt x="376450" y="42086"/>
                            </a:cubicBezTo>
                            <a:close/>
                            <a:moveTo>
                              <a:pt x="431645" y="41396"/>
                            </a:moveTo>
                            <a:cubicBezTo>
                              <a:pt x="430787" y="40302"/>
                              <a:pt x="430811" y="40277"/>
                              <a:pt x="431905" y="41136"/>
                            </a:cubicBezTo>
                            <a:cubicBezTo>
                              <a:pt x="432570" y="41656"/>
                              <a:pt x="433112" y="42200"/>
                              <a:pt x="433112" y="42342"/>
                            </a:cubicBezTo>
                            <a:cubicBezTo>
                              <a:pt x="433112" y="42910"/>
                              <a:pt x="432546" y="42545"/>
                              <a:pt x="431645" y="41396"/>
                            </a:cubicBezTo>
                            <a:close/>
                            <a:moveTo>
                              <a:pt x="1425245" y="41653"/>
                            </a:moveTo>
                            <a:cubicBezTo>
                              <a:pt x="1425245" y="41510"/>
                              <a:pt x="1425791" y="40966"/>
                              <a:pt x="1426451" y="40445"/>
                            </a:cubicBezTo>
                            <a:cubicBezTo>
                              <a:pt x="1427543" y="39587"/>
                              <a:pt x="1427567" y="39612"/>
                              <a:pt x="1426712" y="40706"/>
                            </a:cubicBezTo>
                            <a:cubicBezTo>
                              <a:pt x="1425807" y="41855"/>
                              <a:pt x="1425245" y="42221"/>
                              <a:pt x="1425245" y="41653"/>
                            </a:cubicBezTo>
                            <a:close/>
                            <a:moveTo>
                              <a:pt x="1370053" y="40963"/>
                            </a:moveTo>
                            <a:cubicBezTo>
                              <a:pt x="1370053" y="40819"/>
                              <a:pt x="1370590" y="40277"/>
                              <a:pt x="1371259" y="39755"/>
                            </a:cubicBezTo>
                            <a:cubicBezTo>
                              <a:pt x="1372351" y="38897"/>
                              <a:pt x="1372375" y="38921"/>
                              <a:pt x="1371519" y="40016"/>
                            </a:cubicBezTo>
                            <a:cubicBezTo>
                              <a:pt x="1370615" y="41165"/>
                              <a:pt x="1370053" y="41531"/>
                              <a:pt x="1370053" y="40963"/>
                            </a:cubicBezTo>
                            <a:close/>
                            <a:moveTo>
                              <a:pt x="372310" y="38636"/>
                            </a:moveTo>
                            <a:cubicBezTo>
                              <a:pt x="371452" y="37542"/>
                              <a:pt x="371476" y="37517"/>
                              <a:pt x="372570" y="38375"/>
                            </a:cubicBezTo>
                            <a:cubicBezTo>
                              <a:pt x="373720" y="39277"/>
                              <a:pt x="374085" y="39843"/>
                              <a:pt x="373517" y="39843"/>
                            </a:cubicBezTo>
                            <a:cubicBezTo>
                              <a:pt x="373375" y="39843"/>
                              <a:pt x="372831" y="39300"/>
                              <a:pt x="372310" y="38636"/>
                            </a:cubicBezTo>
                            <a:close/>
                            <a:moveTo>
                              <a:pt x="427505" y="37946"/>
                            </a:moveTo>
                            <a:cubicBezTo>
                              <a:pt x="426647" y="36852"/>
                              <a:pt x="426671" y="36827"/>
                              <a:pt x="427766" y="37685"/>
                            </a:cubicBezTo>
                            <a:cubicBezTo>
                              <a:pt x="428430" y="38207"/>
                              <a:pt x="428973" y="38750"/>
                              <a:pt x="428973" y="38893"/>
                            </a:cubicBezTo>
                            <a:cubicBezTo>
                              <a:pt x="428973" y="39461"/>
                              <a:pt x="428406" y="39095"/>
                              <a:pt x="427505" y="37946"/>
                            </a:cubicBezTo>
                            <a:close/>
                            <a:moveTo>
                              <a:pt x="1442146" y="27425"/>
                            </a:moveTo>
                            <a:cubicBezTo>
                              <a:pt x="1442838" y="26666"/>
                              <a:pt x="1443555" y="26045"/>
                              <a:pt x="1443743" y="26045"/>
                            </a:cubicBezTo>
                            <a:cubicBezTo>
                              <a:pt x="1443930" y="26045"/>
                              <a:pt x="1443523" y="26666"/>
                              <a:pt x="1442838" y="27425"/>
                            </a:cubicBezTo>
                            <a:cubicBezTo>
                              <a:pt x="1442154" y="28184"/>
                              <a:pt x="1441437" y="28805"/>
                              <a:pt x="1441241" y="28805"/>
                            </a:cubicBezTo>
                            <a:cubicBezTo>
                              <a:pt x="1441054" y="28805"/>
                              <a:pt x="1441461" y="28184"/>
                              <a:pt x="1442146" y="27425"/>
                            </a:cubicBezTo>
                            <a:close/>
                            <a:moveTo>
                              <a:pt x="1385918" y="27854"/>
                            </a:moveTo>
                            <a:cubicBezTo>
                              <a:pt x="1385918" y="27711"/>
                              <a:pt x="1386464" y="27168"/>
                              <a:pt x="1387124" y="26647"/>
                            </a:cubicBezTo>
                            <a:cubicBezTo>
                              <a:pt x="1388216" y="25789"/>
                              <a:pt x="1388241" y="25813"/>
                              <a:pt x="1387385" y="26908"/>
                            </a:cubicBezTo>
                            <a:cubicBezTo>
                              <a:pt x="1386481" y="28057"/>
                              <a:pt x="1385918" y="28422"/>
                              <a:pt x="1385918" y="27854"/>
                            </a:cubicBezTo>
                            <a:close/>
                            <a:moveTo>
                              <a:pt x="411637" y="24838"/>
                            </a:moveTo>
                            <a:cubicBezTo>
                              <a:pt x="410779" y="23743"/>
                              <a:pt x="410803" y="23719"/>
                              <a:pt x="411897" y="24577"/>
                            </a:cubicBezTo>
                            <a:cubicBezTo>
                              <a:pt x="412561" y="25098"/>
                              <a:pt x="413104" y="25641"/>
                              <a:pt x="413104" y="25785"/>
                            </a:cubicBezTo>
                            <a:cubicBezTo>
                              <a:pt x="413104" y="26352"/>
                              <a:pt x="412538" y="25987"/>
                              <a:pt x="411637" y="24838"/>
                            </a:cubicBezTo>
                            <a:close/>
                            <a:moveTo>
                              <a:pt x="1390058" y="24404"/>
                            </a:moveTo>
                            <a:cubicBezTo>
                              <a:pt x="1390058" y="24261"/>
                              <a:pt x="1390604" y="23718"/>
                              <a:pt x="1391264" y="23197"/>
                            </a:cubicBezTo>
                            <a:cubicBezTo>
                              <a:pt x="1392356" y="22339"/>
                              <a:pt x="1392380" y="22363"/>
                              <a:pt x="1391525" y="23457"/>
                            </a:cubicBezTo>
                            <a:cubicBezTo>
                              <a:pt x="1390620" y="24607"/>
                              <a:pt x="1390058" y="24972"/>
                              <a:pt x="1390058" y="24404"/>
                            </a:cubicBezTo>
                            <a:close/>
                            <a:moveTo>
                              <a:pt x="395768" y="11729"/>
                            </a:moveTo>
                            <a:cubicBezTo>
                              <a:pt x="394910" y="10634"/>
                              <a:pt x="394934" y="10610"/>
                              <a:pt x="396028" y="11468"/>
                            </a:cubicBezTo>
                            <a:cubicBezTo>
                              <a:pt x="397177" y="12369"/>
                              <a:pt x="397543" y="12936"/>
                              <a:pt x="396975" y="12936"/>
                            </a:cubicBezTo>
                            <a:cubicBezTo>
                              <a:pt x="396832" y="12936"/>
                              <a:pt x="396289" y="12393"/>
                              <a:pt x="395768" y="11729"/>
                            </a:cubicBezTo>
                            <a:close/>
                            <a:moveTo>
                              <a:pt x="1405924" y="11296"/>
                            </a:moveTo>
                            <a:cubicBezTo>
                              <a:pt x="1405924" y="11153"/>
                              <a:pt x="1406470" y="10609"/>
                              <a:pt x="1407130" y="10088"/>
                            </a:cubicBezTo>
                            <a:cubicBezTo>
                              <a:pt x="1408230" y="9230"/>
                              <a:pt x="1408254" y="9255"/>
                              <a:pt x="1407391" y="10349"/>
                            </a:cubicBezTo>
                            <a:cubicBezTo>
                              <a:pt x="1406494" y="11498"/>
                              <a:pt x="1405924" y="11863"/>
                              <a:pt x="1405924" y="11296"/>
                            </a:cubicBezTo>
                            <a:close/>
                            <a:moveTo>
                              <a:pt x="391628" y="8279"/>
                            </a:moveTo>
                            <a:cubicBezTo>
                              <a:pt x="390770" y="7185"/>
                              <a:pt x="390794" y="7160"/>
                              <a:pt x="391889" y="8019"/>
                            </a:cubicBezTo>
                            <a:cubicBezTo>
                              <a:pt x="393038" y="8920"/>
                              <a:pt x="393404" y="9486"/>
                              <a:pt x="392836" y="9486"/>
                            </a:cubicBezTo>
                            <a:cubicBezTo>
                              <a:pt x="392692" y="9486"/>
                              <a:pt x="392150" y="8943"/>
                              <a:pt x="391628" y="8279"/>
                            </a:cubicBezTo>
                            <a:close/>
                            <a:moveTo>
                              <a:pt x="1410063" y="7846"/>
                            </a:moveTo>
                            <a:cubicBezTo>
                              <a:pt x="1410063" y="7702"/>
                              <a:pt x="1410609" y="7160"/>
                              <a:pt x="1411270" y="6639"/>
                            </a:cubicBezTo>
                            <a:cubicBezTo>
                              <a:pt x="1412370" y="5780"/>
                              <a:pt x="1412394" y="5804"/>
                              <a:pt x="1411530" y="6899"/>
                            </a:cubicBezTo>
                            <a:cubicBezTo>
                              <a:pt x="1410634" y="8049"/>
                              <a:pt x="1410063" y="8414"/>
                              <a:pt x="1410063" y="7846"/>
                            </a:cubicBezTo>
                            <a:close/>
                            <a:moveTo>
                              <a:pt x="358599" y="2242"/>
                            </a:moveTo>
                            <a:cubicBezTo>
                              <a:pt x="359490" y="1293"/>
                              <a:pt x="360375" y="517"/>
                              <a:pt x="360565" y="517"/>
                            </a:cubicBezTo>
                            <a:cubicBezTo>
                              <a:pt x="360754" y="517"/>
                              <a:pt x="360180" y="1293"/>
                              <a:pt x="359289" y="2242"/>
                            </a:cubicBezTo>
                            <a:cubicBezTo>
                              <a:pt x="358398" y="3190"/>
                              <a:pt x="357514" y="3967"/>
                              <a:pt x="357324" y="3967"/>
                            </a:cubicBezTo>
                            <a:cubicBezTo>
                              <a:pt x="357134" y="3967"/>
                              <a:pt x="357708" y="3190"/>
                              <a:pt x="358599" y="2242"/>
                            </a:cubicBezTo>
                            <a:close/>
                          </a:path>
                        </a:pathLst>
                      </a:custGeom>
                      <a:gradFill>
                        <a:gsLst>
                          <a:gs pos="0">
                            <a:srgbClr val="022565">
                              <a:alpha val="54000"/>
                            </a:srgbClr>
                          </a:gs>
                          <a:gs pos="70000">
                            <a:schemeClr val="accent4">
                              <a:lumMod val="60000"/>
                              <a:lumOff val="40000"/>
                              <a:alpha val="62000"/>
                            </a:schemeClr>
                          </a:gs>
                          <a:gs pos="17000">
                            <a:srgbClr val="022565">
                              <a:alpha val="47000"/>
                            </a:srgbClr>
                          </a:gs>
                          <a:gs pos="86000">
                            <a:schemeClr val="accent4">
                              <a:lumMod val="60000"/>
                              <a:lumOff val="40000"/>
                              <a:alpha val="76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grpSp>
              </p:grpSp>
              <p:sp>
                <p:nvSpPr>
                  <p:cNvPr id="21" name="Freeform: Shape 20">
                    <a:extLst>
                      <a:ext uri="{FF2B5EF4-FFF2-40B4-BE49-F238E27FC236}">
                        <a16:creationId xmlns:a16="http://schemas.microsoft.com/office/drawing/2014/main" id="{8BA6F4C1-24D6-4B56-B8B7-A44F2E22DDB9}"/>
                      </a:ext>
                    </a:extLst>
                  </p:cNvPr>
                  <p:cNvSpPr/>
                  <p:nvPr/>
                </p:nvSpPr>
                <p:spPr>
                  <a:xfrm>
                    <a:off x="236266" y="6379709"/>
                    <a:ext cx="271146" cy="213367"/>
                  </a:xfrm>
                  <a:custGeom>
                    <a:avLst/>
                    <a:gdLst>
                      <a:gd name="connsiteX0" fmla="*/ 538662 w 1736378"/>
                      <a:gd name="connsiteY0" fmla="*/ 1365323 h 1366373"/>
                      <a:gd name="connsiteX1" fmla="*/ 537051 w 1736378"/>
                      <a:gd name="connsiteY1" fmla="*/ 1363415 h 1366373"/>
                      <a:gd name="connsiteX2" fmla="*/ 538954 w 1736378"/>
                      <a:gd name="connsiteY2" fmla="*/ 1365033 h 1366373"/>
                      <a:gd name="connsiteX3" fmla="*/ 540565 w 1736378"/>
                      <a:gd name="connsiteY3" fmla="*/ 1367221 h 1366373"/>
                      <a:gd name="connsiteX4" fmla="*/ 538662 w 1736378"/>
                      <a:gd name="connsiteY4" fmla="*/ 1365323 h 1366373"/>
                      <a:gd name="connsiteX5" fmla="*/ 460302 w 1736378"/>
                      <a:gd name="connsiteY5" fmla="*/ 1302393 h 1366373"/>
                      <a:gd name="connsiteX6" fmla="*/ 462416 w 1736378"/>
                      <a:gd name="connsiteY6" fmla="*/ 1302393 h 1366373"/>
                      <a:gd name="connsiteX7" fmla="*/ 461358 w 1736378"/>
                      <a:gd name="connsiteY7" fmla="*/ 1302812 h 1366373"/>
                      <a:gd name="connsiteX8" fmla="*/ 460302 w 1736378"/>
                      <a:gd name="connsiteY8" fmla="*/ 1302393 h 1366373"/>
                      <a:gd name="connsiteX9" fmla="*/ 841778 w 1736378"/>
                      <a:gd name="connsiteY9" fmla="*/ 1302373 h 1366373"/>
                      <a:gd name="connsiteX10" fmla="*/ 843396 w 1736378"/>
                      <a:gd name="connsiteY10" fmla="*/ 1302443 h 1366373"/>
                      <a:gd name="connsiteX11" fmla="*/ 842287 w 1736378"/>
                      <a:gd name="connsiteY11" fmla="*/ 1302882 h 1366373"/>
                      <a:gd name="connsiteX12" fmla="*/ 841778 w 1736378"/>
                      <a:gd name="connsiteY12" fmla="*/ 1302373 h 1366373"/>
                      <a:gd name="connsiteX13" fmla="*/ 1435018 w 1736378"/>
                      <a:gd name="connsiteY13" fmla="*/ 1302363 h 1366373"/>
                      <a:gd name="connsiteX14" fmla="*/ 1437555 w 1736378"/>
                      <a:gd name="connsiteY14" fmla="*/ 1302393 h 1366373"/>
                      <a:gd name="connsiteX15" fmla="*/ 1436057 w 1736378"/>
                      <a:gd name="connsiteY15" fmla="*/ 1302782 h 1366373"/>
                      <a:gd name="connsiteX16" fmla="*/ 1435018 w 1736378"/>
                      <a:gd name="connsiteY16" fmla="*/ 1302363 h 1366373"/>
                      <a:gd name="connsiteX17" fmla="*/ 1473914 w 1736378"/>
                      <a:gd name="connsiteY17" fmla="*/ 1302363 h 1366373"/>
                      <a:gd name="connsiteX18" fmla="*/ 1476452 w 1736378"/>
                      <a:gd name="connsiteY18" fmla="*/ 1302393 h 1366373"/>
                      <a:gd name="connsiteX19" fmla="*/ 1474963 w 1736378"/>
                      <a:gd name="connsiteY19" fmla="*/ 1302782 h 1366373"/>
                      <a:gd name="connsiteX20" fmla="*/ 1473914 w 1736378"/>
                      <a:gd name="connsiteY20" fmla="*/ 1302363 h 1366373"/>
                      <a:gd name="connsiteX21" fmla="*/ 1484912 w 1736378"/>
                      <a:gd name="connsiteY21" fmla="*/ 1301514 h 1366373"/>
                      <a:gd name="connsiteX22" fmla="*/ 1487449 w 1736378"/>
                      <a:gd name="connsiteY22" fmla="*/ 1301544 h 1366373"/>
                      <a:gd name="connsiteX23" fmla="*/ 1485951 w 1736378"/>
                      <a:gd name="connsiteY23" fmla="*/ 1301933 h 1366373"/>
                      <a:gd name="connsiteX24" fmla="*/ 1484912 w 1736378"/>
                      <a:gd name="connsiteY24" fmla="*/ 1301514 h 1366373"/>
                      <a:gd name="connsiteX25" fmla="*/ 1424709 w 1736378"/>
                      <a:gd name="connsiteY25" fmla="*/ 1298227 h 1366373"/>
                      <a:gd name="connsiteX26" fmla="*/ 1425219 w 1736378"/>
                      <a:gd name="connsiteY26" fmla="*/ 1297718 h 1366373"/>
                      <a:gd name="connsiteX27" fmla="*/ 1425149 w 1736378"/>
                      <a:gd name="connsiteY27" fmla="*/ 1299336 h 1366373"/>
                      <a:gd name="connsiteX28" fmla="*/ 1424699 w 1736378"/>
                      <a:gd name="connsiteY28" fmla="*/ 1298227 h 1366373"/>
                      <a:gd name="connsiteX29" fmla="*/ 861386 w 1736378"/>
                      <a:gd name="connsiteY29" fmla="*/ 1293223 h 1366373"/>
                      <a:gd name="connsiteX30" fmla="*/ 864682 w 1736378"/>
                      <a:gd name="connsiteY30" fmla="*/ 1290256 h 1366373"/>
                      <a:gd name="connsiteX31" fmla="*/ 862235 w 1736378"/>
                      <a:gd name="connsiteY31" fmla="*/ 1293223 h 1366373"/>
                      <a:gd name="connsiteX32" fmla="*/ 858939 w 1736378"/>
                      <a:gd name="connsiteY32" fmla="*/ 1296180 h 1366373"/>
                      <a:gd name="connsiteX33" fmla="*/ 861386 w 1736378"/>
                      <a:gd name="connsiteY33" fmla="*/ 1293223 h 1366373"/>
                      <a:gd name="connsiteX34" fmla="*/ 1570237 w 1736378"/>
                      <a:gd name="connsiteY34" fmla="*/ 1275033 h 1366373"/>
                      <a:gd name="connsiteX35" fmla="*/ 1570667 w 1736378"/>
                      <a:gd name="connsiteY35" fmla="*/ 1273984 h 1366373"/>
                      <a:gd name="connsiteX36" fmla="*/ 1570667 w 1736378"/>
                      <a:gd name="connsiteY36" fmla="*/ 1276092 h 1366373"/>
                      <a:gd name="connsiteX37" fmla="*/ 1570237 w 1736378"/>
                      <a:gd name="connsiteY37" fmla="*/ 1275033 h 1366373"/>
                      <a:gd name="connsiteX38" fmla="*/ 1570237 w 1736378"/>
                      <a:gd name="connsiteY38" fmla="*/ 1253048 h 1366373"/>
                      <a:gd name="connsiteX39" fmla="*/ 1570667 w 1736378"/>
                      <a:gd name="connsiteY39" fmla="*/ 1251989 h 1366373"/>
                      <a:gd name="connsiteX40" fmla="*/ 1570667 w 1736378"/>
                      <a:gd name="connsiteY40" fmla="*/ 1254107 h 1366373"/>
                      <a:gd name="connsiteX41" fmla="*/ 1570237 w 1736378"/>
                      <a:gd name="connsiteY41" fmla="*/ 1253048 h 1366373"/>
                      <a:gd name="connsiteX42" fmla="*/ 439370 w 1736378"/>
                      <a:gd name="connsiteY42" fmla="*/ 1249402 h 1366373"/>
                      <a:gd name="connsiteX43" fmla="*/ 442118 w 1736378"/>
                      <a:gd name="connsiteY43" fmla="*/ 1246655 h 1366373"/>
                      <a:gd name="connsiteX44" fmla="*/ 444867 w 1736378"/>
                      <a:gd name="connsiteY44" fmla="*/ 1244167 h 1366373"/>
                      <a:gd name="connsiteX45" fmla="*/ 442383 w 1736378"/>
                      <a:gd name="connsiteY45" fmla="*/ 1246924 h 1366373"/>
                      <a:gd name="connsiteX46" fmla="*/ 439370 w 1736378"/>
                      <a:gd name="connsiteY46" fmla="*/ 1249402 h 1366373"/>
                      <a:gd name="connsiteX47" fmla="*/ 1399158 w 1736378"/>
                      <a:gd name="connsiteY47" fmla="*/ 1243119 h 1366373"/>
                      <a:gd name="connsiteX48" fmla="*/ 1399477 w 1736378"/>
                      <a:gd name="connsiteY48" fmla="*/ 1242799 h 1366373"/>
                      <a:gd name="connsiteX49" fmla="*/ 1400636 w 1736378"/>
                      <a:gd name="connsiteY49" fmla="*/ 1244597 h 1366373"/>
                      <a:gd name="connsiteX50" fmla="*/ 1399158 w 1736378"/>
                      <a:gd name="connsiteY50" fmla="*/ 1243119 h 1366373"/>
                      <a:gd name="connsiteX51" fmla="*/ 764974 w 1736378"/>
                      <a:gd name="connsiteY51" fmla="*/ 1236986 h 1366373"/>
                      <a:gd name="connsiteX52" fmla="*/ 765872 w 1736378"/>
                      <a:gd name="connsiteY52" fmla="*/ 1236137 h 1366373"/>
                      <a:gd name="connsiteX53" fmla="*/ 766242 w 1736378"/>
                      <a:gd name="connsiteY53" fmla="*/ 1236986 h 1366373"/>
                      <a:gd name="connsiteX54" fmla="*/ 765343 w 1736378"/>
                      <a:gd name="connsiteY54" fmla="*/ 1237825 h 1366373"/>
                      <a:gd name="connsiteX55" fmla="*/ 764974 w 1736378"/>
                      <a:gd name="connsiteY55" fmla="*/ 1236986 h 1366373"/>
                      <a:gd name="connsiteX56" fmla="*/ 1389858 w 1736378"/>
                      <a:gd name="connsiteY56" fmla="*/ 1233809 h 1366373"/>
                      <a:gd name="connsiteX57" fmla="*/ 1390178 w 1736378"/>
                      <a:gd name="connsiteY57" fmla="*/ 1233489 h 1366373"/>
                      <a:gd name="connsiteX58" fmla="*/ 1391336 w 1736378"/>
                      <a:gd name="connsiteY58" fmla="*/ 1235287 h 1366373"/>
                      <a:gd name="connsiteX59" fmla="*/ 1389858 w 1736378"/>
                      <a:gd name="connsiteY59" fmla="*/ 1233809 h 1366373"/>
                      <a:gd name="connsiteX60" fmla="*/ 1247776 w 1736378"/>
                      <a:gd name="connsiteY60" fmla="*/ 1227047 h 1366373"/>
                      <a:gd name="connsiteX61" fmla="*/ 1248096 w 1736378"/>
                      <a:gd name="connsiteY61" fmla="*/ 1226727 h 1366373"/>
                      <a:gd name="connsiteX62" fmla="*/ 1249574 w 1736378"/>
                      <a:gd name="connsiteY62" fmla="*/ 1228205 h 1366373"/>
                      <a:gd name="connsiteX63" fmla="*/ 1247776 w 1736378"/>
                      <a:gd name="connsiteY63" fmla="*/ 1227047 h 1366373"/>
                      <a:gd name="connsiteX64" fmla="*/ 1241014 w 1736378"/>
                      <a:gd name="connsiteY64" fmla="*/ 1221123 h 1366373"/>
                      <a:gd name="connsiteX65" fmla="*/ 1241333 w 1736378"/>
                      <a:gd name="connsiteY65" fmla="*/ 1220804 h 1366373"/>
                      <a:gd name="connsiteX66" fmla="*/ 1242812 w 1736378"/>
                      <a:gd name="connsiteY66" fmla="*/ 1222282 h 1366373"/>
                      <a:gd name="connsiteX67" fmla="*/ 1241014 w 1736378"/>
                      <a:gd name="connsiteY67" fmla="*/ 1221123 h 1366373"/>
                      <a:gd name="connsiteX68" fmla="*/ 1227978 w 1736378"/>
                      <a:gd name="connsiteY68" fmla="*/ 1208867 h 1366373"/>
                      <a:gd name="connsiteX69" fmla="*/ 1223783 w 1736378"/>
                      <a:gd name="connsiteY69" fmla="*/ 1204422 h 1366373"/>
                      <a:gd name="connsiteX70" fmla="*/ 1228218 w 1736378"/>
                      <a:gd name="connsiteY70" fmla="*/ 1208617 h 1366373"/>
                      <a:gd name="connsiteX71" fmla="*/ 1232413 w 1736378"/>
                      <a:gd name="connsiteY71" fmla="*/ 1213302 h 1366373"/>
                      <a:gd name="connsiteX72" fmla="*/ 1227978 w 1736378"/>
                      <a:gd name="connsiteY72" fmla="*/ 1208867 h 1366373"/>
                      <a:gd name="connsiteX73" fmla="*/ 860537 w 1736378"/>
                      <a:gd name="connsiteY73" fmla="*/ 1211294 h 1366373"/>
                      <a:gd name="connsiteX74" fmla="*/ 862025 w 1736378"/>
                      <a:gd name="connsiteY74" fmla="*/ 1209816 h 1366373"/>
                      <a:gd name="connsiteX75" fmla="*/ 862345 w 1736378"/>
                      <a:gd name="connsiteY75" fmla="*/ 1210135 h 1366373"/>
                      <a:gd name="connsiteX76" fmla="*/ 860537 w 1736378"/>
                      <a:gd name="connsiteY76" fmla="*/ 1211294 h 1366373"/>
                      <a:gd name="connsiteX77" fmla="*/ 458662 w 1736378"/>
                      <a:gd name="connsiteY77" fmla="*/ 1208497 h 1366373"/>
                      <a:gd name="connsiteX78" fmla="*/ 460284 w 1736378"/>
                      <a:gd name="connsiteY78" fmla="*/ 1208567 h 1366373"/>
                      <a:gd name="connsiteX79" fmla="*/ 459174 w 1736378"/>
                      <a:gd name="connsiteY79" fmla="*/ 1209007 h 1366373"/>
                      <a:gd name="connsiteX80" fmla="*/ 458662 w 1736378"/>
                      <a:gd name="connsiteY80" fmla="*/ 1208497 h 1366373"/>
                      <a:gd name="connsiteX81" fmla="*/ 1306081 w 1736378"/>
                      <a:gd name="connsiteY81" fmla="*/ 1208497 h 1366373"/>
                      <a:gd name="connsiteX82" fmla="*/ 1307699 w 1736378"/>
                      <a:gd name="connsiteY82" fmla="*/ 1208567 h 1366373"/>
                      <a:gd name="connsiteX83" fmla="*/ 1306591 w 1736378"/>
                      <a:gd name="connsiteY83" fmla="*/ 1209007 h 1366373"/>
                      <a:gd name="connsiteX84" fmla="*/ 1306081 w 1736378"/>
                      <a:gd name="connsiteY84" fmla="*/ 1208497 h 1366373"/>
                      <a:gd name="connsiteX85" fmla="*/ 1334839 w 1736378"/>
                      <a:gd name="connsiteY85" fmla="*/ 1208497 h 1366373"/>
                      <a:gd name="connsiteX86" fmla="*/ 1336457 w 1736378"/>
                      <a:gd name="connsiteY86" fmla="*/ 1208567 h 1366373"/>
                      <a:gd name="connsiteX87" fmla="*/ 1335349 w 1736378"/>
                      <a:gd name="connsiteY87" fmla="*/ 1209007 h 1366373"/>
                      <a:gd name="connsiteX88" fmla="*/ 1334829 w 1736378"/>
                      <a:gd name="connsiteY88" fmla="*/ 1208497 h 1366373"/>
                      <a:gd name="connsiteX89" fmla="*/ 1317469 w 1736378"/>
                      <a:gd name="connsiteY89" fmla="*/ 1207608 h 1366373"/>
                      <a:gd name="connsiteX90" fmla="*/ 1325080 w 1736378"/>
                      <a:gd name="connsiteY90" fmla="*/ 1207618 h 1366373"/>
                      <a:gd name="connsiteX91" fmla="*/ 1321035 w 1736378"/>
                      <a:gd name="connsiteY91" fmla="*/ 1207928 h 1366373"/>
                      <a:gd name="connsiteX92" fmla="*/ 1317469 w 1736378"/>
                      <a:gd name="connsiteY92" fmla="*/ 1207608 h 1366373"/>
                      <a:gd name="connsiteX93" fmla="*/ 440997 w 1736378"/>
                      <a:gd name="connsiteY93" fmla="*/ 1199138 h 1366373"/>
                      <a:gd name="connsiteX94" fmla="*/ 438946 w 1736378"/>
                      <a:gd name="connsiteY94" fmla="*/ 1196810 h 1366373"/>
                      <a:gd name="connsiteX95" fmla="*/ 441273 w 1736378"/>
                      <a:gd name="connsiteY95" fmla="*/ 1198858 h 1366373"/>
                      <a:gd name="connsiteX96" fmla="*/ 443322 w 1736378"/>
                      <a:gd name="connsiteY96" fmla="*/ 1201465 h 1366373"/>
                      <a:gd name="connsiteX97" fmla="*/ 440997 w 1736378"/>
                      <a:gd name="connsiteY97" fmla="*/ 1199138 h 1366373"/>
                      <a:gd name="connsiteX98" fmla="*/ 1215242 w 1736378"/>
                      <a:gd name="connsiteY98" fmla="*/ 1195332 h 1366373"/>
                      <a:gd name="connsiteX99" fmla="*/ 1213634 w 1736378"/>
                      <a:gd name="connsiteY99" fmla="*/ 1193424 h 1366373"/>
                      <a:gd name="connsiteX100" fmla="*/ 1215532 w 1736378"/>
                      <a:gd name="connsiteY100" fmla="*/ 1195042 h 1366373"/>
                      <a:gd name="connsiteX101" fmla="*/ 1217440 w 1736378"/>
                      <a:gd name="connsiteY101" fmla="*/ 1196940 h 1366373"/>
                      <a:gd name="connsiteX102" fmla="*/ 1215242 w 1736378"/>
                      <a:gd name="connsiteY102" fmla="*/ 1195332 h 1366373"/>
                      <a:gd name="connsiteX103" fmla="*/ 1209719 w 1736378"/>
                      <a:gd name="connsiteY103" fmla="*/ 1188989 h 1366373"/>
                      <a:gd name="connsiteX104" fmla="*/ 1210038 w 1736378"/>
                      <a:gd name="connsiteY104" fmla="*/ 1188669 h 1366373"/>
                      <a:gd name="connsiteX105" fmla="*/ 1211197 w 1736378"/>
                      <a:gd name="connsiteY105" fmla="*/ 1190467 h 1366373"/>
                      <a:gd name="connsiteX106" fmla="*/ 1209719 w 1736378"/>
                      <a:gd name="connsiteY106" fmla="*/ 1188989 h 1366373"/>
                      <a:gd name="connsiteX107" fmla="*/ 1605628 w 1736378"/>
                      <a:gd name="connsiteY107" fmla="*/ 1185073 h 1366373"/>
                      <a:gd name="connsiteX108" fmla="*/ 1607106 w 1736378"/>
                      <a:gd name="connsiteY108" fmla="*/ 1183595 h 1366373"/>
                      <a:gd name="connsiteX109" fmla="*/ 1607426 w 1736378"/>
                      <a:gd name="connsiteY109" fmla="*/ 1183915 h 1366373"/>
                      <a:gd name="connsiteX110" fmla="*/ 1605628 w 1736378"/>
                      <a:gd name="connsiteY110" fmla="*/ 1185073 h 1366373"/>
                      <a:gd name="connsiteX111" fmla="*/ 861326 w 1736378"/>
                      <a:gd name="connsiteY111" fmla="*/ 1163617 h 1366373"/>
                      <a:gd name="connsiteX112" fmla="*/ 859269 w 1736378"/>
                      <a:gd name="connsiteY112" fmla="*/ 1161290 h 1366373"/>
                      <a:gd name="connsiteX113" fmla="*/ 861596 w 1736378"/>
                      <a:gd name="connsiteY113" fmla="*/ 1163338 h 1366373"/>
                      <a:gd name="connsiteX114" fmla="*/ 863644 w 1736378"/>
                      <a:gd name="connsiteY114" fmla="*/ 1165945 h 1366373"/>
                      <a:gd name="connsiteX115" fmla="*/ 861326 w 1736378"/>
                      <a:gd name="connsiteY115" fmla="*/ 1163617 h 1366373"/>
                      <a:gd name="connsiteX116" fmla="*/ 258808 w 1736378"/>
                      <a:gd name="connsiteY116" fmla="*/ 1160021 h 1366373"/>
                      <a:gd name="connsiteX117" fmla="*/ 264252 w 1736378"/>
                      <a:gd name="connsiteY117" fmla="*/ 1154947 h 1366373"/>
                      <a:gd name="connsiteX118" fmla="*/ 259653 w 1736378"/>
                      <a:gd name="connsiteY118" fmla="*/ 1160021 h 1366373"/>
                      <a:gd name="connsiteX119" fmla="*/ 254209 w 1736378"/>
                      <a:gd name="connsiteY119" fmla="*/ 1165096 h 1366373"/>
                      <a:gd name="connsiteX120" fmla="*/ 258808 w 1736378"/>
                      <a:gd name="connsiteY120" fmla="*/ 1160021 h 1366373"/>
                      <a:gd name="connsiteX121" fmla="*/ 1685809 w 1736378"/>
                      <a:gd name="connsiteY121" fmla="*/ 1159442 h 1366373"/>
                      <a:gd name="connsiteX122" fmla="*/ 1687427 w 1736378"/>
                      <a:gd name="connsiteY122" fmla="*/ 1159512 h 1366373"/>
                      <a:gd name="connsiteX123" fmla="*/ 1686318 w 1736378"/>
                      <a:gd name="connsiteY123" fmla="*/ 1159961 h 1366373"/>
                      <a:gd name="connsiteX124" fmla="*/ 1685809 w 1736378"/>
                      <a:gd name="connsiteY124" fmla="*/ 1159452 h 1366373"/>
                      <a:gd name="connsiteX125" fmla="*/ 1673083 w 1736378"/>
                      <a:gd name="connsiteY125" fmla="*/ 1158583 h 1366373"/>
                      <a:gd name="connsiteX126" fmla="*/ 1676469 w 1736378"/>
                      <a:gd name="connsiteY126" fmla="*/ 1158603 h 1366373"/>
                      <a:gd name="connsiteX127" fmla="*/ 1674551 w 1736378"/>
                      <a:gd name="connsiteY127" fmla="*/ 1158962 h 1366373"/>
                      <a:gd name="connsiteX128" fmla="*/ 1673083 w 1736378"/>
                      <a:gd name="connsiteY128" fmla="*/ 1158583 h 1366373"/>
                      <a:gd name="connsiteX129" fmla="*/ 837083 w 1736378"/>
                      <a:gd name="connsiteY129" fmla="*/ 1154338 h 1366373"/>
                      <a:gd name="connsiteX130" fmla="*/ 841309 w 1736378"/>
                      <a:gd name="connsiteY130" fmla="*/ 1154348 h 1366373"/>
                      <a:gd name="connsiteX131" fmla="*/ 838971 w 1736378"/>
                      <a:gd name="connsiteY131" fmla="*/ 1154707 h 1366373"/>
                      <a:gd name="connsiteX132" fmla="*/ 837083 w 1736378"/>
                      <a:gd name="connsiteY132" fmla="*/ 1154338 h 1366373"/>
                      <a:gd name="connsiteX133" fmla="*/ 1037190 w 1736378"/>
                      <a:gd name="connsiteY133" fmla="*/ 1153469 h 1366373"/>
                      <a:gd name="connsiteX134" fmla="*/ 1037510 w 1736378"/>
                      <a:gd name="connsiteY134" fmla="*/ 1153149 h 1366373"/>
                      <a:gd name="connsiteX135" fmla="*/ 1038988 w 1736378"/>
                      <a:gd name="connsiteY135" fmla="*/ 1154627 h 1366373"/>
                      <a:gd name="connsiteX136" fmla="*/ 1037190 w 1736378"/>
                      <a:gd name="connsiteY136" fmla="*/ 1153469 h 1366373"/>
                      <a:gd name="connsiteX137" fmla="*/ 217682 w 1736378"/>
                      <a:gd name="connsiteY137" fmla="*/ 1137396 h 1366373"/>
                      <a:gd name="connsiteX138" fmla="*/ 218001 w 1736378"/>
                      <a:gd name="connsiteY138" fmla="*/ 1137077 h 1366373"/>
                      <a:gd name="connsiteX139" fmla="*/ 219482 w 1736378"/>
                      <a:gd name="connsiteY139" fmla="*/ 1138555 h 1366373"/>
                      <a:gd name="connsiteX140" fmla="*/ 217682 w 1736378"/>
                      <a:gd name="connsiteY140" fmla="*/ 1137396 h 1366373"/>
                      <a:gd name="connsiteX141" fmla="*/ 1088044 w 1736378"/>
                      <a:gd name="connsiteY141" fmla="*/ 1135179 h 1366373"/>
                      <a:gd name="connsiteX142" fmla="*/ 1089522 w 1736378"/>
                      <a:gd name="connsiteY142" fmla="*/ 1133701 h 1366373"/>
                      <a:gd name="connsiteX143" fmla="*/ 1089842 w 1736378"/>
                      <a:gd name="connsiteY143" fmla="*/ 1134020 h 1366373"/>
                      <a:gd name="connsiteX144" fmla="*/ 1088044 w 1736378"/>
                      <a:gd name="connsiteY144" fmla="*/ 1135179 h 1366373"/>
                      <a:gd name="connsiteX145" fmla="*/ 208379 w 1736378"/>
                      <a:gd name="connsiteY145" fmla="*/ 1128946 h 1366373"/>
                      <a:gd name="connsiteX146" fmla="*/ 208699 w 1736378"/>
                      <a:gd name="connsiteY146" fmla="*/ 1128626 h 1366373"/>
                      <a:gd name="connsiteX147" fmla="*/ 210178 w 1736378"/>
                      <a:gd name="connsiteY147" fmla="*/ 1130105 h 1366373"/>
                      <a:gd name="connsiteX148" fmla="*/ 208379 w 1736378"/>
                      <a:gd name="connsiteY148" fmla="*/ 1128946 h 1366373"/>
                      <a:gd name="connsiteX149" fmla="*/ 1099881 w 1736378"/>
                      <a:gd name="connsiteY149" fmla="*/ 1124081 h 1366373"/>
                      <a:gd name="connsiteX150" fmla="*/ 1102288 w 1736378"/>
                      <a:gd name="connsiteY150" fmla="*/ 1121964 h 1366373"/>
                      <a:gd name="connsiteX151" fmla="*/ 1100730 w 1736378"/>
                      <a:gd name="connsiteY151" fmla="*/ 1124081 h 1366373"/>
                      <a:gd name="connsiteX152" fmla="*/ 1098322 w 1736378"/>
                      <a:gd name="connsiteY152" fmla="*/ 1126189 h 1366373"/>
                      <a:gd name="connsiteX153" fmla="*/ 1099881 w 1736378"/>
                      <a:gd name="connsiteY153" fmla="*/ 1124081 h 1366373"/>
                      <a:gd name="connsiteX154" fmla="*/ 1454466 w 1736378"/>
                      <a:gd name="connsiteY154" fmla="*/ 1119686 h 1366373"/>
                      <a:gd name="connsiteX155" fmla="*/ 1457003 w 1736378"/>
                      <a:gd name="connsiteY155" fmla="*/ 1119716 h 1366373"/>
                      <a:gd name="connsiteX156" fmla="*/ 1455505 w 1736378"/>
                      <a:gd name="connsiteY156" fmla="*/ 1120106 h 1366373"/>
                      <a:gd name="connsiteX157" fmla="*/ 1454466 w 1736378"/>
                      <a:gd name="connsiteY157" fmla="*/ 1119686 h 1366373"/>
                      <a:gd name="connsiteX158" fmla="*/ 1442240 w 1736378"/>
                      <a:gd name="connsiteY158" fmla="*/ 1118847 h 1366373"/>
                      <a:gd name="connsiteX159" fmla="*/ 1443858 w 1736378"/>
                      <a:gd name="connsiteY159" fmla="*/ 1118917 h 1366373"/>
                      <a:gd name="connsiteX160" fmla="*/ 1442749 w 1736378"/>
                      <a:gd name="connsiteY160" fmla="*/ 1119367 h 1366373"/>
                      <a:gd name="connsiteX161" fmla="*/ 1442240 w 1736378"/>
                      <a:gd name="connsiteY161" fmla="*/ 1118857 h 1366373"/>
                      <a:gd name="connsiteX162" fmla="*/ 1467611 w 1736378"/>
                      <a:gd name="connsiteY162" fmla="*/ 1118847 h 1366373"/>
                      <a:gd name="connsiteX163" fmla="*/ 1469230 w 1736378"/>
                      <a:gd name="connsiteY163" fmla="*/ 1118917 h 1366373"/>
                      <a:gd name="connsiteX164" fmla="*/ 1468121 w 1736378"/>
                      <a:gd name="connsiteY164" fmla="*/ 1119367 h 1366373"/>
                      <a:gd name="connsiteX165" fmla="*/ 1467611 w 1736378"/>
                      <a:gd name="connsiteY165" fmla="*/ 1118857 h 1366373"/>
                      <a:gd name="connsiteX166" fmla="*/ 1475223 w 1736378"/>
                      <a:gd name="connsiteY166" fmla="*/ 1118008 h 1366373"/>
                      <a:gd name="connsiteX167" fmla="*/ 1476841 w 1736378"/>
                      <a:gd name="connsiteY167" fmla="*/ 1118078 h 1366373"/>
                      <a:gd name="connsiteX168" fmla="*/ 1475732 w 1736378"/>
                      <a:gd name="connsiteY168" fmla="*/ 1118517 h 1366373"/>
                      <a:gd name="connsiteX169" fmla="*/ 1475223 w 1736378"/>
                      <a:gd name="connsiteY169" fmla="*/ 1118008 h 1366373"/>
                      <a:gd name="connsiteX170" fmla="*/ 1480297 w 1736378"/>
                      <a:gd name="connsiteY170" fmla="*/ 1117159 h 1366373"/>
                      <a:gd name="connsiteX171" fmla="*/ 1481916 w 1736378"/>
                      <a:gd name="connsiteY171" fmla="*/ 1117229 h 1366373"/>
                      <a:gd name="connsiteX172" fmla="*/ 1480807 w 1736378"/>
                      <a:gd name="connsiteY172" fmla="*/ 1117668 h 1366373"/>
                      <a:gd name="connsiteX173" fmla="*/ 1480297 w 1736378"/>
                      <a:gd name="connsiteY173" fmla="*/ 1117159 h 1366373"/>
                      <a:gd name="connsiteX174" fmla="*/ 372398 w 1736378"/>
                      <a:gd name="connsiteY174" fmla="*/ 1107010 h 1366373"/>
                      <a:gd name="connsiteX175" fmla="*/ 374020 w 1736378"/>
                      <a:gd name="connsiteY175" fmla="*/ 1107080 h 1366373"/>
                      <a:gd name="connsiteX176" fmla="*/ 372910 w 1736378"/>
                      <a:gd name="connsiteY176" fmla="*/ 1107520 h 1366373"/>
                      <a:gd name="connsiteX177" fmla="*/ 372398 w 1736378"/>
                      <a:gd name="connsiteY177" fmla="*/ 1107010 h 1366373"/>
                      <a:gd name="connsiteX178" fmla="*/ 928891 w 1736378"/>
                      <a:gd name="connsiteY178" fmla="*/ 1107010 h 1366373"/>
                      <a:gd name="connsiteX179" fmla="*/ 930509 w 1736378"/>
                      <a:gd name="connsiteY179" fmla="*/ 1107080 h 1366373"/>
                      <a:gd name="connsiteX180" fmla="*/ 929400 w 1736378"/>
                      <a:gd name="connsiteY180" fmla="*/ 1107520 h 1366373"/>
                      <a:gd name="connsiteX181" fmla="*/ 928881 w 1736378"/>
                      <a:gd name="connsiteY181" fmla="*/ 1107010 h 1366373"/>
                      <a:gd name="connsiteX182" fmla="*/ 1123135 w 1736378"/>
                      <a:gd name="connsiteY182" fmla="*/ 1100817 h 1366373"/>
                      <a:gd name="connsiteX183" fmla="*/ 1125093 w 1736378"/>
                      <a:gd name="connsiteY183" fmla="*/ 1099129 h 1366373"/>
                      <a:gd name="connsiteX184" fmla="*/ 1123984 w 1736378"/>
                      <a:gd name="connsiteY184" fmla="*/ 1100817 h 1366373"/>
                      <a:gd name="connsiteX185" fmla="*/ 1122026 w 1736378"/>
                      <a:gd name="connsiteY185" fmla="*/ 1102515 h 1366373"/>
                      <a:gd name="connsiteX186" fmla="*/ 1123135 w 1736378"/>
                      <a:gd name="connsiteY186" fmla="*/ 1100817 h 1366373"/>
                      <a:gd name="connsiteX187" fmla="*/ 896127 w 1736378"/>
                      <a:gd name="connsiteY187" fmla="*/ 1097791 h 1366373"/>
                      <a:gd name="connsiteX188" fmla="*/ 896637 w 1736378"/>
                      <a:gd name="connsiteY188" fmla="*/ 1097281 h 1366373"/>
                      <a:gd name="connsiteX189" fmla="*/ 896567 w 1736378"/>
                      <a:gd name="connsiteY189" fmla="*/ 1098899 h 1366373"/>
                      <a:gd name="connsiteX190" fmla="*/ 896127 w 1736378"/>
                      <a:gd name="connsiteY190" fmla="*/ 1097791 h 1366373"/>
                      <a:gd name="connsiteX191" fmla="*/ 174154 w 1736378"/>
                      <a:gd name="connsiteY191" fmla="*/ 1094694 h 1366373"/>
                      <a:gd name="connsiteX192" fmla="*/ 172543 w 1736378"/>
                      <a:gd name="connsiteY192" fmla="*/ 1092786 h 1366373"/>
                      <a:gd name="connsiteX193" fmla="*/ 174446 w 1736378"/>
                      <a:gd name="connsiteY193" fmla="*/ 1094394 h 1366373"/>
                      <a:gd name="connsiteX194" fmla="*/ 176057 w 1736378"/>
                      <a:gd name="connsiteY194" fmla="*/ 1096592 h 1366373"/>
                      <a:gd name="connsiteX195" fmla="*/ 174154 w 1736378"/>
                      <a:gd name="connsiteY195" fmla="*/ 1094694 h 1366373"/>
                      <a:gd name="connsiteX196" fmla="*/ 896307 w 1736378"/>
                      <a:gd name="connsiteY196" fmla="*/ 1091937 h 1366373"/>
                      <a:gd name="connsiteX197" fmla="*/ 896667 w 1736378"/>
                      <a:gd name="connsiteY197" fmla="*/ 1090049 h 1366373"/>
                      <a:gd name="connsiteX198" fmla="*/ 896657 w 1736378"/>
                      <a:gd name="connsiteY198" fmla="*/ 1094274 h 1366373"/>
                      <a:gd name="connsiteX199" fmla="*/ 896307 w 1736378"/>
                      <a:gd name="connsiteY199" fmla="*/ 1091937 h 1366373"/>
                      <a:gd name="connsiteX200" fmla="*/ 1132864 w 1736378"/>
                      <a:gd name="connsiteY200" fmla="*/ 1090349 h 1366373"/>
                      <a:gd name="connsiteX201" fmla="*/ 1134342 w 1736378"/>
                      <a:gd name="connsiteY201" fmla="*/ 1088870 h 1366373"/>
                      <a:gd name="connsiteX202" fmla="*/ 1134662 w 1736378"/>
                      <a:gd name="connsiteY202" fmla="*/ 1089190 h 1366373"/>
                      <a:gd name="connsiteX203" fmla="*/ 1132864 w 1736378"/>
                      <a:gd name="connsiteY203" fmla="*/ 1090349 h 1366373"/>
                      <a:gd name="connsiteX204" fmla="*/ 1366174 w 1736378"/>
                      <a:gd name="connsiteY204" fmla="*/ 1086653 h 1366373"/>
                      <a:gd name="connsiteX205" fmla="*/ 1366494 w 1736378"/>
                      <a:gd name="connsiteY205" fmla="*/ 1086333 h 1366373"/>
                      <a:gd name="connsiteX206" fmla="*/ 1367653 w 1736378"/>
                      <a:gd name="connsiteY206" fmla="*/ 1088131 h 1366373"/>
                      <a:gd name="connsiteX207" fmla="*/ 1366174 w 1736378"/>
                      <a:gd name="connsiteY207" fmla="*/ 1086653 h 1366373"/>
                      <a:gd name="connsiteX208" fmla="*/ 1546424 w 1736378"/>
                      <a:gd name="connsiteY208" fmla="*/ 1085364 h 1366373"/>
                      <a:gd name="connsiteX209" fmla="*/ 1552976 w 1736378"/>
                      <a:gd name="connsiteY209" fmla="*/ 1078812 h 1366373"/>
                      <a:gd name="connsiteX210" fmla="*/ 1559529 w 1736378"/>
                      <a:gd name="connsiteY210" fmla="*/ 1072489 h 1366373"/>
                      <a:gd name="connsiteX211" fmla="*/ 1553206 w 1736378"/>
                      <a:gd name="connsiteY211" fmla="*/ 1079041 h 1366373"/>
                      <a:gd name="connsiteX212" fmla="*/ 1546424 w 1736378"/>
                      <a:gd name="connsiteY212" fmla="*/ 1085364 h 1366373"/>
                      <a:gd name="connsiteX213" fmla="*/ 1357724 w 1736378"/>
                      <a:gd name="connsiteY213" fmla="*/ 1079041 h 1366373"/>
                      <a:gd name="connsiteX214" fmla="*/ 1358043 w 1736378"/>
                      <a:gd name="connsiteY214" fmla="*/ 1078722 h 1366373"/>
                      <a:gd name="connsiteX215" fmla="*/ 1359202 w 1736378"/>
                      <a:gd name="connsiteY215" fmla="*/ 1080520 h 1366373"/>
                      <a:gd name="connsiteX216" fmla="*/ 1357724 w 1736378"/>
                      <a:gd name="connsiteY216" fmla="*/ 1079041 h 1366373"/>
                      <a:gd name="connsiteX217" fmla="*/ 439370 w 1736378"/>
                      <a:gd name="connsiteY217" fmla="*/ 1072649 h 1366373"/>
                      <a:gd name="connsiteX218" fmla="*/ 442118 w 1736378"/>
                      <a:gd name="connsiteY218" fmla="*/ 1069902 h 1366373"/>
                      <a:gd name="connsiteX219" fmla="*/ 444867 w 1736378"/>
                      <a:gd name="connsiteY219" fmla="*/ 1067414 h 1366373"/>
                      <a:gd name="connsiteX220" fmla="*/ 442383 w 1736378"/>
                      <a:gd name="connsiteY220" fmla="*/ 1070161 h 1366373"/>
                      <a:gd name="connsiteX221" fmla="*/ 439370 w 1736378"/>
                      <a:gd name="connsiteY221" fmla="*/ 1072649 h 1366373"/>
                      <a:gd name="connsiteX222" fmla="*/ 1350112 w 1736378"/>
                      <a:gd name="connsiteY222" fmla="*/ 1070591 h 1366373"/>
                      <a:gd name="connsiteX223" fmla="*/ 1350432 w 1736378"/>
                      <a:gd name="connsiteY223" fmla="*/ 1070271 h 1366373"/>
                      <a:gd name="connsiteX224" fmla="*/ 1351910 w 1736378"/>
                      <a:gd name="connsiteY224" fmla="*/ 1071750 h 1366373"/>
                      <a:gd name="connsiteX225" fmla="*/ 1350112 w 1736378"/>
                      <a:gd name="connsiteY225" fmla="*/ 1070591 h 1366373"/>
                      <a:gd name="connsiteX226" fmla="*/ 423723 w 1736378"/>
                      <a:gd name="connsiteY226" fmla="*/ 1052611 h 1366373"/>
                      <a:gd name="connsiteX227" fmla="*/ 425677 w 1736378"/>
                      <a:gd name="connsiteY227" fmla="*/ 1050923 h 1366373"/>
                      <a:gd name="connsiteX228" fmla="*/ 424569 w 1736378"/>
                      <a:gd name="connsiteY228" fmla="*/ 1052611 h 1366373"/>
                      <a:gd name="connsiteX229" fmla="*/ 422616 w 1736378"/>
                      <a:gd name="connsiteY229" fmla="*/ 1054309 h 1366373"/>
                      <a:gd name="connsiteX230" fmla="*/ 423723 w 1736378"/>
                      <a:gd name="connsiteY230" fmla="*/ 1052611 h 1366373"/>
                      <a:gd name="connsiteX231" fmla="*/ 601816 w 1736378"/>
                      <a:gd name="connsiteY231" fmla="*/ 1050433 h 1366373"/>
                      <a:gd name="connsiteX232" fmla="*/ 602327 w 1736378"/>
                      <a:gd name="connsiteY232" fmla="*/ 1049914 h 1366373"/>
                      <a:gd name="connsiteX233" fmla="*/ 602260 w 1736378"/>
                      <a:gd name="connsiteY233" fmla="*/ 1051542 h 1366373"/>
                      <a:gd name="connsiteX234" fmla="*/ 601815 w 1736378"/>
                      <a:gd name="connsiteY234" fmla="*/ 1050433 h 1366373"/>
                      <a:gd name="connsiteX235" fmla="*/ 138291 w 1736378"/>
                      <a:gd name="connsiteY235" fmla="*/ 1048915 h 1366373"/>
                      <a:gd name="connsiteX236" fmla="*/ 139771 w 1736378"/>
                      <a:gd name="connsiteY236" fmla="*/ 1047437 h 1366373"/>
                      <a:gd name="connsiteX237" fmla="*/ 140091 w 1736378"/>
                      <a:gd name="connsiteY237" fmla="*/ 1047756 h 1366373"/>
                      <a:gd name="connsiteX238" fmla="*/ 138292 w 1736378"/>
                      <a:gd name="connsiteY238" fmla="*/ 1048915 h 1366373"/>
                      <a:gd name="connsiteX239" fmla="*/ 1159924 w 1736378"/>
                      <a:gd name="connsiteY239" fmla="*/ 1044580 h 1366373"/>
                      <a:gd name="connsiteX240" fmla="*/ 1156618 w 1736378"/>
                      <a:gd name="connsiteY240" fmla="*/ 1040774 h 1366373"/>
                      <a:gd name="connsiteX241" fmla="*/ 1160773 w 1736378"/>
                      <a:gd name="connsiteY241" fmla="*/ 1044580 h 1366373"/>
                      <a:gd name="connsiteX242" fmla="*/ 1164089 w 1736378"/>
                      <a:gd name="connsiteY242" fmla="*/ 1048386 h 1366373"/>
                      <a:gd name="connsiteX243" fmla="*/ 1159924 w 1736378"/>
                      <a:gd name="connsiteY243" fmla="*/ 1044580 h 1366373"/>
                      <a:gd name="connsiteX244" fmla="*/ 1205733 w 1736378"/>
                      <a:gd name="connsiteY244" fmla="*/ 1043311 h 1366373"/>
                      <a:gd name="connsiteX245" fmla="*/ 1206152 w 1736378"/>
                      <a:gd name="connsiteY245" fmla="*/ 1042252 h 1366373"/>
                      <a:gd name="connsiteX246" fmla="*/ 1206152 w 1736378"/>
                      <a:gd name="connsiteY246" fmla="*/ 1044370 h 1366373"/>
                      <a:gd name="connsiteX247" fmla="*/ 1205733 w 1736378"/>
                      <a:gd name="connsiteY247" fmla="*/ 1043311 h 1366373"/>
                      <a:gd name="connsiteX248" fmla="*/ 147171 w 1736378"/>
                      <a:gd name="connsiteY248" fmla="*/ 1039925 h 1366373"/>
                      <a:gd name="connsiteX249" fmla="*/ 149125 w 1736378"/>
                      <a:gd name="connsiteY249" fmla="*/ 1038237 h 1366373"/>
                      <a:gd name="connsiteX250" fmla="*/ 148017 w 1736378"/>
                      <a:gd name="connsiteY250" fmla="*/ 1039925 h 1366373"/>
                      <a:gd name="connsiteX251" fmla="*/ 146063 w 1736378"/>
                      <a:gd name="connsiteY251" fmla="*/ 1041623 h 1366373"/>
                      <a:gd name="connsiteX252" fmla="*/ 147171 w 1736378"/>
                      <a:gd name="connsiteY252" fmla="*/ 1039925 h 1366373"/>
                      <a:gd name="connsiteX253" fmla="*/ 599279 w 1736378"/>
                      <a:gd name="connsiteY253" fmla="*/ 1030136 h 1366373"/>
                      <a:gd name="connsiteX254" fmla="*/ 599789 w 1736378"/>
                      <a:gd name="connsiteY254" fmla="*/ 1029626 h 1366373"/>
                      <a:gd name="connsiteX255" fmla="*/ 599722 w 1736378"/>
                      <a:gd name="connsiteY255" fmla="*/ 1031245 h 1366373"/>
                      <a:gd name="connsiteX256" fmla="*/ 599278 w 1736378"/>
                      <a:gd name="connsiteY256" fmla="*/ 1030136 h 1366373"/>
                      <a:gd name="connsiteX257" fmla="*/ 1206612 w 1736378"/>
                      <a:gd name="connsiteY257" fmla="*/ 1028508 h 1366373"/>
                      <a:gd name="connsiteX258" fmla="*/ 1207032 w 1736378"/>
                      <a:gd name="connsiteY258" fmla="*/ 1027469 h 1366373"/>
                      <a:gd name="connsiteX259" fmla="*/ 1207001 w 1736378"/>
                      <a:gd name="connsiteY259" fmla="*/ 1030006 h 1366373"/>
                      <a:gd name="connsiteX260" fmla="*/ 1206612 w 1736378"/>
                      <a:gd name="connsiteY260" fmla="*/ 1028508 h 1366373"/>
                      <a:gd name="connsiteX261" fmla="*/ 1205663 w 1736378"/>
                      <a:gd name="connsiteY261" fmla="*/ 1018289 h 1366373"/>
                      <a:gd name="connsiteX262" fmla="*/ 1206172 w 1736378"/>
                      <a:gd name="connsiteY262" fmla="*/ 1017780 h 1366373"/>
                      <a:gd name="connsiteX263" fmla="*/ 1206103 w 1736378"/>
                      <a:gd name="connsiteY263" fmla="*/ 1019398 h 1366373"/>
                      <a:gd name="connsiteX264" fmla="*/ 1205663 w 1736378"/>
                      <a:gd name="connsiteY264" fmla="*/ 1018289 h 1366373"/>
                      <a:gd name="connsiteX265" fmla="*/ 1734914 w 1736378"/>
                      <a:gd name="connsiteY265" fmla="*/ 1007161 h 1366373"/>
                      <a:gd name="connsiteX266" fmla="*/ 1735234 w 1736378"/>
                      <a:gd name="connsiteY266" fmla="*/ 1006842 h 1366373"/>
                      <a:gd name="connsiteX267" fmla="*/ 1736712 w 1736378"/>
                      <a:gd name="connsiteY267" fmla="*/ 1008320 h 1366373"/>
                      <a:gd name="connsiteX268" fmla="*/ 1734914 w 1736378"/>
                      <a:gd name="connsiteY268" fmla="*/ 1007161 h 1366373"/>
                      <a:gd name="connsiteX269" fmla="*/ 1591314 w 1736378"/>
                      <a:gd name="connsiteY269" fmla="*/ 1003915 h 1366373"/>
                      <a:gd name="connsiteX270" fmla="*/ 1591823 w 1736378"/>
                      <a:gd name="connsiteY270" fmla="*/ 1003406 h 1366373"/>
                      <a:gd name="connsiteX271" fmla="*/ 1591753 w 1736378"/>
                      <a:gd name="connsiteY271" fmla="*/ 1005024 h 1366373"/>
                      <a:gd name="connsiteX272" fmla="*/ 1591314 w 1736378"/>
                      <a:gd name="connsiteY272" fmla="*/ 1003915 h 1366373"/>
                      <a:gd name="connsiteX273" fmla="*/ 1592163 w 1736378"/>
                      <a:gd name="connsiteY273" fmla="*/ 997992 h 1366373"/>
                      <a:gd name="connsiteX274" fmla="*/ 1592672 w 1736378"/>
                      <a:gd name="connsiteY274" fmla="*/ 997482 h 1366373"/>
                      <a:gd name="connsiteX275" fmla="*/ 1592602 w 1736378"/>
                      <a:gd name="connsiteY275" fmla="*/ 999100 h 1366373"/>
                      <a:gd name="connsiteX276" fmla="*/ 1592153 w 1736378"/>
                      <a:gd name="connsiteY276" fmla="*/ 997992 h 1366373"/>
                      <a:gd name="connsiteX277" fmla="*/ 1318208 w 1736378"/>
                      <a:gd name="connsiteY277" fmla="*/ 994256 h 1366373"/>
                      <a:gd name="connsiteX278" fmla="*/ 1318637 w 1736378"/>
                      <a:gd name="connsiteY278" fmla="*/ 993207 h 1366373"/>
                      <a:gd name="connsiteX279" fmla="*/ 1318637 w 1736378"/>
                      <a:gd name="connsiteY279" fmla="*/ 995315 h 1366373"/>
                      <a:gd name="connsiteX280" fmla="*/ 1318208 w 1736378"/>
                      <a:gd name="connsiteY280" fmla="*/ 994256 h 1366373"/>
                      <a:gd name="connsiteX281" fmla="*/ 1593132 w 1736378"/>
                      <a:gd name="connsiteY281" fmla="*/ 986644 h 1366373"/>
                      <a:gd name="connsiteX282" fmla="*/ 1593521 w 1736378"/>
                      <a:gd name="connsiteY282" fmla="*/ 985166 h 1366373"/>
                      <a:gd name="connsiteX283" fmla="*/ 1593521 w 1736378"/>
                      <a:gd name="connsiteY283" fmla="*/ 988133 h 1366373"/>
                      <a:gd name="connsiteX284" fmla="*/ 1593132 w 1736378"/>
                      <a:gd name="connsiteY284" fmla="*/ 986644 h 1366373"/>
                      <a:gd name="connsiteX285" fmla="*/ 1593132 w 1736378"/>
                      <a:gd name="connsiteY285" fmla="*/ 977345 h 1366373"/>
                      <a:gd name="connsiteX286" fmla="*/ 1593521 w 1736378"/>
                      <a:gd name="connsiteY286" fmla="*/ 975866 h 1366373"/>
                      <a:gd name="connsiteX287" fmla="*/ 1593521 w 1736378"/>
                      <a:gd name="connsiteY287" fmla="*/ 978823 h 1366373"/>
                      <a:gd name="connsiteX288" fmla="*/ 1593132 w 1736378"/>
                      <a:gd name="connsiteY288" fmla="*/ 977345 h 1366373"/>
                      <a:gd name="connsiteX289" fmla="*/ 1318248 w 1736378"/>
                      <a:gd name="connsiteY289" fmla="*/ 969314 h 1366373"/>
                      <a:gd name="connsiteX290" fmla="*/ 1318667 w 1736378"/>
                      <a:gd name="connsiteY290" fmla="*/ 968275 h 1366373"/>
                      <a:gd name="connsiteX291" fmla="*/ 1318637 w 1736378"/>
                      <a:gd name="connsiteY291" fmla="*/ 970812 h 1366373"/>
                      <a:gd name="connsiteX292" fmla="*/ 1318248 w 1736378"/>
                      <a:gd name="connsiteY292" fmla="*/ 969314 h 1366373"/>
                      <a:gd name="connsiteX293" fmla="*/ 1592163 w 1736378"/>
                      <a:gd name="connsiteY293" fmla="*/ 965857 h 1366373"/>
                      <a:gd name="connsiteX294" fmla="*/ 1592672 w 1736378"/>
                      <a:gd name="connsiteY294" fmla="*/ 965348 h 1366373"/>
                      <a:gd name="connsiteX295" fmla="*/ 1592602 w 1736378"/>
                      <a:gd name="connsiteY295" fmla="*/ 966966 h 1366373"/>
                      <a:gd name="connsiteX296" fmla="*/ 1592153 w 1736378"/>
                      <a:gd name="connsiteY296" fmla="*/ 965857 h 1366373"/>
                      <a:gd name="connsiteX297" fmla="*/ 633108 w 1736378"/>
                      <a:gd name="connsiteY297" fmla="*/ 948946 h 1366373"/>
                      <a:gd name="connsiteX298" fmla="*/ 633619 w 1736378"/>
                      <a:gd name="connsiteY298" fmla="*/ 948437 h 1366373"/>
                      <a:gd name="connsiteX299" fmla="*/ 633552 w 1736378"/>
                      <a:gd name="connsiteY299" fmla="*/ 950055 h 1366373"/>
                      <a:gd name="connsiteX300" fmla="*/ 633107 w 1736378"/>
                      <a:gd name="connsiteY300" fmla="*/ 948946 h 1366373"/>
                      <a:gd name="connsiteX301" fmla="*/ 1704737 w 1736378"/>
                      <a:gd name="connsiteY301" fmla="*/ 942244 h 1366373"/>
                      <a:gd name="connsiteX302" fmla="*/ 1705157 w 1736378"/>
                      <a:gd name="connsiteY302" fmla="*/ 941205 h 1366373"/>
                      <a:gd name="connsiteX303" fmla="*/ 1705127 w 1736378"/>
                      <a:gd name="connsiteY303" fmla="*/ 943742 h 1366373"/>
                      <a:gd name="connsiteX304" fmla="*/ 1704737 w 1736378"/>
                      <a:gd name="connsiteY304" fmla="*/ 942244 h 1366373"/>
                      <a:gd name="connsiteX305" fmla="*/ 1107562 w 1736378"/>
                      <a:gd name="connsiteY305" fmla="*/ 936260 h 1366373"/>
                      <a:gd name="connsiteX306" fmla="*/ 1108072 w 1736378"/>
                      <a:gd name="connsiteY306" fmla="*/ 935751 h 1366373"/>
                      <a:gd name="connsiteX307" fmla="*/ 1108002 w 1736378"/>
                      <a:gd name="connsiteY307" fmla="*/ 937369 h 1366373"/>
                      <a:gd name="connsiteX308" fmla="*/ 1107552 w 1736378"/>
                      <a:gd name="connsiteY308" fmla="*/ 936260 h 1366373"/>
                      <a:gd name="connsiteX309" fmla="*/ 195868 w 1736378"/>
                      <a:gd name="connsiteY309" fmla="*/ 930337 h 1366373"/>
                      <a:gd name="connsiteX310" fmla="*/ 196378 w 1736378"/>
                      <a:gd name="connsiteY310" fmla="*/ 929828 h 1366373"/>
                      <a:gd name="connsiteX311" fmla="*/ 196311 w 1736378"/>
                      <a:gd name="connsiteY311" fmla="*/ 931446 h 1366373"/>
                      <a:gd name="connsiteX312" fmla="*/ 195868 w 1736378"/>
                      <a:gd name="connsiteY312" fmla="*/ 930337 h 1366373"/>
                      <a:gd name="connsiteX313" fmla="*/ 1106783 w 1736378"/>
                      <a:gd name="connsiteY313" fmla="*/ 926601 h 1366373"/>
                      <a:gd name="connsiteX314" fmla="*/ 1107203 w 1736378"/>
                      <a:gd name="connsiteY314" fmla="*/ 925542 h 1366373"/>
                      <a:gd name="connsiteX315" fmla="*/ 1107203 w 1736378"/>
                      <a:gd name="connsiteY315" fmla="*/ 927660 h 1366373"/>
                      <a:gd name="connsiteX316" fmla="*/ 1106783 w 1736378"/>
                      <a:gd name="connsiteY316" fmla="*/ 926601 h 1366373"/>
                      <a:gd name="connsiteX317" fmla="*/ 1138847 w 1736378"/>
                      <a:gd name="connsiteY317" fmla="*/ 926112 h 1366373"/>
                      <a:gd name="connsiteX318" fmla="*/ 1139367 w 1736378"/>
                      <a:gd name="connsiteY318" fmla="*/ 925602 h 1366373"/>
                      <a:gd name="connsiteX319" fmla="*/ 1139297 w 1736378"/>
                      <a:gd name="connsiteY319" fmla="*/ 927220 h 1366373"/>
                      <a:gd name="connsiteX320" fmla="*/ 1138847 w 1736378"/>
                      <a:gd name="connsiteY320" fmla="*/ 926112 h 1366373"/>
                      <a:gd name="connsiteX321" fmla="*/ 1704767 w 1736378"/>
                      <a:gd name="connsiteY321" fmla="*/ 924064 h 1366373"/>
                      <a:gd name="connsiteX322" fmla="*/ 1705157 w 1736378"/>
                      <a:gd name="connsiteY322" fmla="*/ 922586 h 1366373"/>
                      <a:gd name="connsiteX323" fmla="*/ 1705157 w 1736378"/>
                      <a:gd name="connsiteY323" fmla="*/ 925542 h 1366373"/>
                      <a:gd name="connsiteX324" fmla="*/ 1704767 w 1736378"/>
                      <a:gd name="connsiteY324" fmla="*/ 924064 h 1366373"/>
                      <a:gd name="connsiteX325" fmla="*/ 925665 w 1736378"/>
                      <a:gd name="connsiteY325" fmla="*/ 918570 h 1366373"/>
                      <a:gd name="connsiteX326" fmla="*/ 928072 w 1736378"/>
                      <a:gd name="connsiteY326" fmla="*/ 916452 h 1366373"/>
                      <a:gd name="connsiteX327" fmla="*/ 926504 w 1736378"/>
                      <a:gd name="connsiteY327" fmla="*/ 918570 h 1366373"/>
                      <a:gd name="connsiteX328" fmla="*/ 924096 w 1736378"/>
                      <a:gd name="connsiteY328" fmla="*/ 920678 h 1366373"/>
                      <a:gd name="connsiteX329" fmla="*/ 925665 w 1736378"/>
                      <a:gd name="connsiteY329" fmla="*/ 918570 h 1366373"/>
                      <a:gd name="connsiteX330" fmla="*/ 369067 w 1736378"/>
                      <a:gd name="connsiteY330" fmla="*/ 909900 h 1366373"/>
                      <a:gd name="connsiteX331" fmla="*/ 369386 w 1736378"/>
                      <a:gd name="connsiteY331" fmla="*/ 909580 h 1366373"/>
                      <a:gd name="connsiteX332" fmla="*/ 370866 w 1736378"/>
                      <a:gd name="connsiteY332" fmla="*/ 911058 h 1366373"/>
                      <a:gd name="connsiteX333" fmla="*/ 369067 w 1736378"/>
                      <a:gd name="connsiteY333" fmla="*/ 909900 h 1366373"/>
                      <a:gd name="connsiteX334" fmla="*/ 584056 w 1736378"/>
                      <a:gd name="connsiteY334" fmla="*/ 907502 h 1366373"/>
                      <a:gd name="connsiteX335" fmla="*/ 584566 w 1736378"/>
                      <a:gd name="connsiteY335" fmla="*/ 906993 h 1366373"/>
                      <a:gd name="connsiteX336" fmla="*/ 584500 w 1736378"/>
                      <a:gd name="connsiteY336" fmla="*/ 908611 h 1366373"/>
                      <a:gd name="connsiteX337" fmla="*/ 584056 w 1736378"/>
                      <a:gd name="connsiteY337" fmla="*/ 907502 h 1366373"/>
                      <a:gd name="connsiteX338" fmla="*/ 1106783 w 1736378"/>
                      <a:gd name="connsiteY338" fmla="*/ 904616 h 1366373"/>
                      <a:gd name="connsiteX339" fmla="*/ 1107203 w 1736378"/>
                      <a:gd name="connsiteY339" fmla="*/ 903557 h 1366373"/>
                      <a:gd name="connsiteX340" fmla="*/ 1107203 w 1736378"/>
                      <a:gd name="connsiteY340" fmla="*/ 905674 h 1366373"/>
                      <a:gd name="connsiteX341" fmla="*/ 1106783 w 1736378"/>
                      <a:gd name="connsiteY341" fmla="*/ 904616 h 1366373"/>
                      <a:gd name="connsiteX342" fmla="*/ 195868 w 1736378"/>
                      <a:gd name="connsiteY342" fmla="*/ 899891 h 1366373"/>
                      <a:gd name="connsiteX343" fmla="*/ 196378 w 1736378"/>
                      <a:gd name="connsiteY343" fmla="*/ 899381 h 1366373"/>
                      <a:gd name="connsiteX344" fmla="*/ 196311 w 1736378"/>
                      <a:gd name="connsiteY344" fmla="*/ 901000 h 1366373"/>
                      <a:gd name="connsiteX345" fmla="*/ 195868 w 1736378"/>
                      <a:gd name="connsiteY345" fmla="*/ 899891 h 1366373"/>
                      <a:gd name="connsiteX346" fmla="*/ 1107562 w 1736378"/>
                      <a:gd name="connsiteY346" fmla="*/ 894816 h 1366373"/>
                      <a:gd name="connsiteX347" fmla="*/ 1108072 w 1736378"/>
                      <a:gd name="connsiteY347" fmla="*/ 894307 h 1366373"/>
                      <a:gd name="connsiteX348" fmla="*/ 1108002 w 1736378"/>
                      <a:gd name="connsiteY348" fmla="*/ 895925 h 1366373"/>
                      <a:gd name="connsiteX349" fmla="*/ 1107552 w 1736378"/>
                      <a:gd name="connsiteY349" fmla="*/ 894816 h 1366373"/>
                      <a:gd name="connsiteX350" fmla="*/ 1559000 w 1736378"/>
                      <a:gd name="connsiteY350" fmla="*/ 891290 h 1366373"/>
                      <a:gd name="connsiteX351" fmla="*/ 1559319 w 1736378"/>
                      <a:gd name="connsiteY351" fmla="*/ 890971 h 1366373"/>
                      <a:gd name="connsiteX352" fmla="*/ 1560478 w 1736378"/>
                      <a:gd name="connsiteY352" fmla="*/ 892769 h 1366373"/>
                      <a:gd name="connsiteX353" fmla="*/ 1559000 w 1736378"/>
                      <a:gd name="connsiteY353" fmla="*/ 891290 h 1366373"/>
                      <a:gd name="connsiteX354" fmla="*/ 1358253 w 1736378"/>
                      <a:gd name="connsiteY354" fmla="*/ 884318 h 1366373"/>
                      <a:gd name="connsiteX355" fmla="*/ 1363697 w 1736378"/>
                      <a:gd name="connsiteY355" fmla="*/ 879244 h 1366373"/>
                      <a:gd name="connsiteX356" fmla="*/ 1359092 w 1736378"/>
                      <a:gd name="connsiteY356" fmla="*/ 884318 h 1366373"/>
                      <a:gd name="connsiteX357" fmla="*/ 1353648 w 1736378"/>
                      <a:gd name="connsiteY357" fmla="*/ 889393 h 1366373"/>
                      <a:gd name="connsiteX358" fmla="*/ 1358253 w 1736378"/>
                      <a:gd name="connsiteY358" fmla="*/ 884318 h 1366373"/>
                      <a:gd name="connsiteX359" fmla="*/ 1545475 w 1736378"/>
                      <a:gd name="connsiteY359" fmla="*/ 877765 h 1366373"/>
                      <a:gd name="connsiteX360" fmla="*/ 1545794 w 1736378"/>
                      <a:gd name="connsiteY360" fmla="*/ 877446 h 1366373"/>
                      <a:gd name="connsiteX361" fmla="*/ 1546953 w 1736378"/>
                      <a:gd name="connsiteY361" fmla="*/ 879244 h 1366373"/>
                      <a:gd name="connsiteX362" fmla="*/ 1545475 w 1736378"/>
                      <a:gd name="connsiteY362" fmla="*/ 877765 h 1366373"/>
                      <a:gd name="connsiteX363" fmla="*/ 679618 w 1736378"/>
                      <a:gd name="connsiteY363" fmla="*/ 871982 h 1366373"/>
                      <a:gd name="connsiteX364" fmla="*/ 680138 w 1736378"/>
                      <a:gd name="connsiteY364" fmla="*/ 871473 h 1366373"/>
                      <a:gd name="connsiteX365" fmla="*/ 680068 w 1736378"/>
                      <a:gd name="connsiteY365" fmla="*/ 873091 h 1366373"/>
                      <a:gd name="connsiteX366" fmla="*/ 679618 w 1736378"/>
                      <a:gd name="connsiteY366" fmla="*/ 871982 h 1366373"/>
                      <a:gd name="connsiteX367" fmla="*/ 724449 w 1736378"/>
                      <a:gd name="connsiteY367" fmla="*/ 864370 h 1366373"/>
                      <a:gd name="connsiteX368" fmla="*/ 724958 w 1736378"/>
                      <a:gd name="connsiteY368" fmla="*/ 863861 h 1366373"/>
                      <a:gd name="connsiteX369" fmla="*/ 724888 w 1736378"/>
                      <a:gd name="connsiteY369" fmla="*/ 865479 h 1366373"/>
                      <a:gd name="connsiteX370" fmla="*/ 724439 w 1736378"/>
                      <a:gd name="connsiteY370" fmla="*/ 864370 h 1366373"/>
                      <a:gd name="connsiteX371" fmla="*/ 682156 w 1736378"/>
                      <a:gd name="connsiteY371" fmla="*/ 851685 h 1366373"/>
                      <a:gd name="connsiteX372" fmla="*/ 682675 w 1736378"/>
                      <a:gd name="connsiteY372" fmla="*/ 851175 h 1366373"/>
                      <a:gd name="connsiteX373" fmla="*/ 682605 w 1736378"/>
                      <a:gd name="connsiteY373" fmla="*/ 852793 h 1366373"/>
                      <a:gd name="connsiteX374" fmla="*/ 682156 w 1736378"/>
                      <a:gd name="connsiteY374" fmla="*/ 851685 h 1366373"/>
                      <a:gd name="connsiteX375" fmla="*/ 726137 w 1736378"/>
                      <a:gd name="connsiteY375" fmla="*/ 850835 h 1366373"/>
                      <a:gd name="connsiteX376" fmla="*/ 726646 w 1736378"/>
                      <a:gd name="connsiteY376" fmla="*/ 850326 h 1366373"/>
                      <a:gd name="connsiteX377" fmla="*/ 726576 w 1736378"/>
                      <a:gd name="connsiteY377" fmla="*/ 851944 h 1366373"/>
                      <a:gd name="connsiteX378" fmla="*/ 726137 w 1736378"/>
                      <a:gd name="connsiteY378" fmla="*/ 850835 h 1366373"/>
                      <a:gd name="connsiteX379" fmla="*/ 1439703 w 1736378"/>
                      <a:gd name="connsiteY379" fmla="*/ 844832 h 1366373"/>
                      <a:gd name="connsiteX380" fmla="*/ 1441321 w 1736378"/>
                      <a:gd name="connsiteY380" fmla="*/ 844902 h 1366373"/>
                      <a:gd name="connsiteX381" fmla="*/ 1440212 w 1736378"/>
                      <a:gd name="connsiteY381" fmla="*/ 845352 h 1366373"/>
                      <a:gd name="connsiteX382" fmla="*/ 1439703 w 1736378"/>
                      <a:gd name="connsiteY382" fmla="*/ 844842 h 1366373"/>
                      <a:gd name="connsiteX383" fmla="*/ 1470998 w 1736378"/>
                      <a:gd name="connsiteY383" fmla="*/ 844832 h 1366373"/>
                      <a:gd name="connsiteX384" fmla="*/ 1472616 w 1736378"/>
                      <a:gd name="connsiteY384" fmla="*/ 844902 h 1366373"/>
                      <a:gd name="connsiteX385" fmla="*/ 1471507 w 1736378"/>
                      <a:gd name="connsiteY385" fmla="*/ 845352 h 1366373"/>
                      <a:gd name="connsiteX386" fmla="*/ 1470998 w 1736378"/>
                      <a:gd name="connsiteY386" fmla="*/ 844842 h 1366373"/>
                      <a:gd name="connsiteX387" fmla="*/ 1451919 w 1736378"/>
                      <a:gd name="connsiteY387" fmla="*/ 843943 h 1366373"/>
                      <a:gd name="connsiteX388" fmla="*/ 1459950 w 1736378"/>
                      <a:gd name="connsiteY388" fmla="*/ 843943 h 1366373"/>
                      <a:gd name="connsiteX389" fmla="*/ 1455934 w 1736378"/>
                      <a:gd name="connsiteY389" fmla="*/ 844263 h 1366373"/>
                      <a:gd name="connsiteX390" fmla="*/ 1451919 w 1736378"/>
                      <a:gd name="connsiteY390" fmla="*/ 843943 h 1366373"/>
                      <a:gd name="connsiteX391" fmla="*/ 728674 w 1736378"/>
                      <a:gd name="connsiteY391" fmla="*/ 830538 h 1366373"/>
                      <a:gd name="connsiteX392" fmla="*/ 729183 w 1736378"/>
                      <a:gd name="connsiteY392" fmla="*/ 830029 h 1366373"/>
                      <a:gd name="connsiteX393" fmla="*/ 729113 w 1736378"/>
                      <a:gd name="connsiteY393" fmla="*/ 831647 h 1366373"/>
                      <a:gd name="connsiteX394" fmla="*/ 728674 w 1736378"/>
                      <a:gd name="connsiteY394" fmla="*/ 830538 h 1366373"/>
                      <a:gd name="connsiteX395" fmla="*/ 617885 w 1736378"/>
                      <a:gd name="connsiteY395" fmla="*/ 826313 h 1366373"/>
                      <a:gd name="connsiteX396" fmla="*/ 618396 w 1736378"/>
                      <a:gd name="connsiteY396" fmla="*/ 825803 h 1366373"/>
                      <a:gd name="connsiteX397" fmla="*/ 618329 w 1736378"/>
                      <a:gd name="connsiteY397" fmla="*/ 827422 h 1366373"/>
                      <a:gd name="connsiteX398" fmla="*/ 617884 w 1736378"/>
                      <a:gd name="connsiteY398" fmla="*/ 826313 h 1366373"/>
                      <a:gd name="connsiteX399" fmla="*/ 615348 w 1736378"/>
                      <a:gd name="connsiteY399" fmla="*/ 806015 h 1366373"/>
                      <a:gd name="connsiteX400" fmla="*/ 615858 w 1736378"/>
                      <a:gd name="connsiteY400" fmla="*/ 805506 h 1366373"/>
                      <a:gd name="connsiteX401" fmla="*/ 615792 w 1736378"/>
                      <a:gd name="connsiteY401" fmla="*/ 807124 h 1366373"/>
                      <a:gd name="connsiteX402" fmla="*/ 615347 w 1736378"/>
                      <a:gd name="connsiteY402" fmla="*/ 806015 h 1366373"/>
                      <a:gd name="connsiteX403" fmla="*/ 1226530 w 1736378"/>
                      <a:gd name="connsiteY403" fmla="*/ 804257 h 1366373"/>
                      <a:gd name="connsiteX404" fmla="*/ 1228647 w 1736378"/>
                      <a:gd name="connsiteY404" fmla="*/ 804257 h 1366373"/>
                      <a:gd name="connsiteX405" fmla="*/ 1227589 w 1736378"/>
                      <a:gd name="connsiteY405" fmla="*/ 804687 h 1366373"/>
                      <a:gd name="connsiteX406" fmla="*/ 1226530 w 1736378"/>
                      <a:gd name="connsiteY406" fmla="*/ 804257 h 1366373"/>
                      <a:gd name="connsiteX407" fmla="*/ 1245189 w 1736378"/>
                      <a:gd name="connsiteY407" fmla="*/ 804237 h 1366373"/>
                      <a:gd name="connsiteX408" fmla="*/ 1246807 w 1736378"/>
                      <a:gd name="connsiteY408" fmla="*/ 804307 h 1366373"/>
                      <a:gd name="connsiteX409" fmla="*/ 1245698 w 1736378"/>
                      <a:gd name="connsiteY409" fmla="*/ 804747 h 1366373"/>
                      <a:gd name="connsiteX410" fmla="*/ 1245189 w 1736378"/>
                      <a:gd name="connsiteY410" fmla="*/ 804237 h 1366373"/>
                      <a:gd name="connsiteX411" fmla="*/ 1219817 w 1736378"/>
                      <a:gd name="connsiteY411" fmla="*/ 803388 h 1366373"/>
                      <a:gd name="connsiteX412" fmla="*/ 1221435 w 1736378"/>
                      <a:gd name="connsiteY412" fmla="*/ 803458 h 1366373"/>
                      <a:gd name="connsiteX413" fmla="*/ 1220327 w 1736378"/>
                      <a:gd name="connsiteY413" fmla="*/ 803908 h 1366373"/>
                      <a:gd name="connsiteX414" fmla="*/ 1219817 w 1736378"/>
                      <a:gd name="connsiteY414" fmla="*/ 803398 h 1366373"/>
                      <a:gd name="connsiteX415" fmla="*/ 1251951 w 1736378"/>
                      <a:gd name="connsiteY415" fmla="*/ 803388 h 1366373"/>
                      <a:gd name="connsiteX416" fmla="*/ 1253570 w 1736378"/>
                      <a:gd name="connsiteY416" fmla="*/ 803458 h 1366373"/>
                      <a:gd name="connsiteX417" fmla="*/ 1252461 w 1736378"/>
                      <a:gd name="connsiteY417" fmla="*/ 803908 h 1366373"/>
                      <a:gd name="connsiteX418" fmla="*/ 1251951 w 1736378"/>
                      <a:gd name="connsiteY418" fmla="*/ 803398 h 1366373"/>
                      <a:gd name="connsiteX419" fmla="*/ 1159504 w 1736378"/>
                      <a:gd name="connsiteY419" fmla="*/ 787057 h 1366373"/>
                      <a:gd name="connsiteX420" fmla="*/ 1163230 w 1736378"/>
                      <a:gd name="connsiteY420" fmla="*/ 783670 h 1366373"/>
                      <a:gd name="connsiteX421" fmla="*/ 1160353 w 1736378"/>
                      <a:gd name="connsiteY421" fmla="*/ 787057 h 1366373"/>
                      <a:gd name="connsiteX422" fmla="*/ 1156628 w 1736378"/>
                      <a:gd name="connsiteY422" fmla="*/ 790433 h 1366373"/>
                      <a:gd name="connsiteX423" fmla="*/ 1159504 w 1736378"/>
                      <a:gd name="connsiteY423" fmla="*/ 787057 h 1366373"/>
                      <a:gd name="connsiteX424" fmla="*/ 1699393 w 1736378"/>
                      <a:gd name="connsiteY424" fmla="*/ 772892 h 1366373"/>
                      <a:gd name="connsiteX425" fmla="*/ 1699713 w 1736378"/>
                      <a:gd name="connsiteY425" fmla="*/ 772573 h 1366373"/>
                      <a:gd name="connsiteX426" fmla="*/ 1701191 w 1736378"/>
                      <a:gd name="connsiteY426" fmla="*/ 774051 h 1366373"/>
                      <a:gd name="connsiteX427" fmla="*/ 1699393 w 1736378"/>
                      <a:gd name="connsiteY427" fmla="*/ 772892 h 1366373"/>
                      <a:gd name="connsiteX428" fmla="*/ 1693080 w 1736378"/>
                      <a:gd name="connsiteY428" fmla="*/ 765700 h 1366373"/>
                      <a:gd name="connsiteX429" fmla="*/ 1691462 w 1736378"/>
                      <a:gd name="connsiteY429" fmla="*/ 763792 h 1366373"/>
                      <a:gd name="connsiteX430" fmla="*/ 1693370 w 1736378"/>
                      <a:gd name="connsiteY430" fmla="*/ 765411 h 1366373"/>
                      <a:gd name="connsiteX431" fmla="*/ 1694978 w 1736378"/>
                      <a:gd name="connsiteY431" fmla="*/ 767598 h 1366373"/>
                      <a:gd name="connsiteX432" fmla="*/ 1693080 w 1736378"/>
                      <a:gd name="connsiteY432" fmla="*/ 765700 h 1366373"/>
                      <a:gd name="connsiteX433" fmla="*/ 757362 w 1736378"/>
                      <a:gd name="connsiteY433" fmla="*/ 760516 h 1366373"/>
                      <a:gd name="connsiteX434" fmla="*/ 758840 w 1736378"/>
                      <a:gd name="connsiteY434" fmla="*/ 759038 h 1366373"/>
                      <a:gd name="connsiteX435" fmla="*/ 759160 w 1736378"/>
                      <a:gd name="connsiteY435" fmla="*/ 759357 h 1366373"/>
                      <a:gd name="connsiteX436" fmla="*/ 757362 w 1736378"/>
                      <a:gd name="connsiteY436" fmla="*/ 760516 h 1366373"/>
                      <a:gd name="connsiteX437" fmla="*/ 762856 w 1736378"/>
                      <a:gd name="connsiteY437" fmla="*/ 754912 h 1366373"/>
                      <a:gd name="connsiteX438" fmla="*/ 764814 w 1736378"/>
                      <a:gd name="connsiteY438" fmla="*/ 753224 h 1366373"/>
                      <a:gd name="connsiteX439" fmla="*/ 763705 w 1736378"/>
                      <a:gd name="connsiteY439" fmla="*/ 754912 h 1366373"/>
                      <a:gd name="connsiteX440" fmla="*/ 761757 w 1736378"/>
                      <a:gd name="connsiteY440" fmla="*/ 756610 h 1366373"/>
                      <a:gd name="connsiteX441" fmla="*/ 762856 w 1736378"/>
                      <a:gd name="connsiteY441" fmla="*/ 754912 h 1366373"/>
                      <a:gd name="connsiteX442" fmla="*/ 1578408 w 1736378"/>
                      <a:gd name="connsiteY442" fmla="*/ 755182 h 1366373"/>
                      <a:gd name="connsiteX443" fmla="*/ 1580026 w 1736378"/>
                      <a:gd name="connsiteY443" fmla="*/ 755252 h 1366373"/>
                      <a:gd name="connsiteX444" fmla="*/ 1578918 w 1736378"/>
                      <a:gd name="connsiteY444" fmla="*/ 755701 h 1366373"/>
                      <a:gd name="connsiteX445" fmla="*/ 1578398 w 1736378"/>
                      <a:gd name="connsiteY445" fmla="*/ 755192 h 1366373"/>
                      <a:gd name="connsiteX446" fmla="*/ 1601243 w 1736378"/>
                      <a:gd name="connsiteY446" fmla="*/ 755182 h 1366373"/>
                      <a:gd name="connsiteX447" fmla="*/ 1602861 w 1736378"/>
                      <a:gd name="connsiteY447" fmla="*/ 755252 h 1366373"/>
                      <a:gd name="connsiteX448" fmla="*/ 1601752 w 1736378"/>
                      <a:gd name="connsiteY448" fmla="*/ 755701 h 1366373"/>
                      <a:gd name="connsiteX449" fmla="*/ 1601233 w 1736378"/>
                      <a:gd name="connsiteY449" fmla="*/ 755192 h 1366373"/>
                      <a:gd name="connsiteX450" fmla="*/ 1671085 w 1736378"/>
                      <a:gd name="connsiteY450" fmla="*/ 743715 h 1366373"/>
                      <a:gd name="connsiteX451" fmla="*/ 1669477 w 1736378"/>
                      <a:gd name="connsiteY451" fmla="*/ 741807 h 1366373"/>
                      <a:gd name="connsiteX452" fmla="*/ 1671385 w 1736378"/>
                      <a:gd name="connsiteY452" fmla="*/ 743415 h 1366373"/>
                      <a:gd name="connsiteX453" fmla="*/ 1672993 w 1736378"/>
                      <a:gd name="connsiteY453" fmla="*/ 745613 h 1366373"/>
                      <a:gd name="connsiteX454" fmla="*/ 1671085 w 1736378"/>
                      <a:gd name="connsiteY454" fmla="*/ 743715 h 1366373"/>
                      <a:gd name="connsiteX455" fmla="*/ 1663873 w 1736378"/>
                      <a:gd name="connsiteY455" fmla="*/ 737372 h 1366373"/>
                      <a:gd name="connsiteX456" fmla="*/ 1664193 w 1736378"/>
                      <a:gd name="connsiteY456" fmla="*/ 737052 h 1366373"/>
                      <a:gd name="connsiteX457" fmla="*/ 1665351 w 1736378"/>
                      <a:gd name="connsiteY457" fmla="*/ 738850 h 1366373"/>
                      <a:gd name="connsiteX458" fmla="*/ 1663873 w 1736378"/>
                      <a:gd name="connsiteY458" fmla="*/ 737372 h 1366373"/>
                      <a:gd name="connsiteX459" fmla="*/ 649046 w 1736378"/>
                      <a:gd name="connsiteY459" fmla="*/ 733986 h 1366373"/>
                      <a:gd name="connsiteX460" fmla="*/ 646996 w 1736378"/>
                      <a:gd name="connsiteY460" fmla="*/ 731658 h 1366373"/>
                      <a:gd name="connsiteX461" fmla="*/ 649321 w 1736378"/>
                      <a:gd name="connsiteY461" fmla="*/ 733706 h 1366373"/>
                      <a:gd name="connsiteX462" fmla="*/ 651647 w 1736378"/>
                      <a:gd name="connsiteY462" fmla="*/ 736033 h 1366373"/>
                      <a:gd name="connsiteX463" fmla="*/ 649046 w 1736378"/>
                      <a:gd name="connsiteY463" fmla="*/ 733986 h 1366373"/>
                      <a:gd name="connsiteX464" fmla="*/ 1273098 w 1736378"/>
                      <a:gd name="connsiteY464" fmla="*/ 734045 h 1366373"/>
                      <a:gd name="connsiteX465" fmla="*/ 1274716 w 1736378"/>
                      <a:gd name="connsiteY465" fmla="*/ 734115 h 1366373"/>
                      <a:gd name="connsiteX466" fmla="*/ 1273607 w 1736378"/>
                      <a:gd name="connsiteY466" fmla="*/ 734555 h 1366373"/>
                      <a:gd name="connsiteX467" fmla="*/ 1273098 w 1736378"/>
                      <a:gd name="connsiteY467" fmla="*/ 734045 h 1366373"/>
                      <a:gd name="connsiteX468" fmla="*/ 11243 w 1736378"/>
                      <a:gd name="connsiteY468" fmla="*/ 733157 h 1366373"/>
                      <a:gd name="connsiteX469" fmla="*/ 18010 w 1736378"/>
                      <a:gd name="connsiteY469" fmla="*/ 733166 h 1366373"/>
                      <a:gd name="connsiteX470" fmla="*/ 14393 w 1736378"/>
                      <a:gd name="connsiteY470" fmla="*/ 733486 h 1366373"/>
                      <a:gd name="connsiteX471" fmla="*/ 11243 w 1736378"/>
                      <a:gd name="connsiteY471" fmla="*/ 733157 h 1366373"/>
                      <a:gd name="connsiteX472" fmla="*/ 1340133 w 1736378"/>
                      <a:gd name="connsiteY472" fmla="*/ 713828 h 1366373"/>
                      <a:gd name="connsiteX473" fmla="*/ 1340643 w 1736378"/>
                      <a:gd name="connsiteY473" fmla="*/ 713319 h 1366373"/>
                      <a:gd name="connsiteX474" fmla="*/ 1340573 w 1736378"/>
                      <a:gd name="connsiteY474" fmla="*/ 714937 h 1366373"/>
                      <a:gd name="connsiteX475" fmla="*/ 1340133 w 1736378"/>
                      <a:gd name="connsiteY475" fmla="*/ 713828 h 1366373"/>
                      <a:gd name="connsiteX476" fmla="*/ 3043 w 1736378"/>
                      <a:gd name="connsiteY476" fmla="*/ 712140 h 1366373"/>
                      <a:gd name="connsiteX477" fmla="*/ 3553 w 1736378"/>
                      <a:gd name="connsiteY477" fmla="*/ 711631 h 1366373"/>
                      <a:gd name="connsiteX478" fmla="*/ 3486 w 1736378"/>
                      <a:gd name="connsiteY478" fmla="*/ 713249 h 1366373"/>
                      <a:gd name="connsiteX479" fmla="*/ 3042 w 1736378"/>
                      <a:gd name="connsiteY479" fmla="*/ 712140 h 1366373"/>
                      <a:gd name="connsiteX480" fmla="*/ 1300388 w 1736378"/>
                      <a:gd name="connsiteY480" fmla="*/ 706216 h 1366373"/>
                      <a:gd name="connsiteX481" fmla="*/ 1300897 w 1736378"/>
                      <a:gd name="connsiteY481" fmla="*/ 705707 h 1366373"/>
                      <a:gd name="connsiteX482" fmla="*/ 1300827 w 1736378"/>
                      <a:gd name="connsiteY482" fmla="*/ 707325 h 1366373"/>
                      <a:gd name="connsiteX483" fmla="*/ 1300377 w 1736378"/>
                      <a:gd name="connsiteY483" fmla="*/ 706216 h 1366373"/>
                      <a:gd name="connsiteX484" fmla="*/ 1341192 w 1736378"/>
                      <a:gd name="connsiteY484" fmla="*/ 702061 h 1366373"/>
                      <a:gd name="connsiteX485" fmla="*/ 1341532 w 1736378"/>
                      <a:gd name="connsiteY485" fmla="*/ 699334 h 1366373"/>
                      <a:gd name="connsiteX486" fmla="*/ 1341522 w 1736378"/>
                      <a:gd name="connsiteY486" fmla="*/ 705248 h 1366373"/>
                      <a:gd name="connsiteX487" fmla="*/ 1341192 w 1736378"/>
                      <a:gd name="connsiteY487" fmla="*/ 702061 h 1366373"/>
                      <a:gd name="connsiteX488" fmla="*/ 588284 w 1736378"/>
                      <a:gd name="connsiteY488" fmla="*/ 702840 h 1366373"/>
                      <a:gd name="connsiteX489" fmla="*/ 588796 w 1736378"/>
                      <a:gd name="connsiteY489" fmla="*/ 702331 h 1366373"/>
                      <a:gd name="connsiteX490" fmla="*/ 588729 w 1736378"/>
                      <a:gd name="connsiteY490" fmla="*/ 703949 h 1366373"/>
                      <a:gd name="connsiteX491" fmla="*/ 588284 w 1736378"/>
                      <a:gd name="connsiteY491" fmla="*/ 702840 h 1366373"/>
                      <a:gd name="connsiteX492" fmla="*/ 2197 w 1736378"/>
                      <a:gd name="connsiteY492" fmla="*/ 701991 h 1366373"/>
                      <a:gd name="connsiteX493" fmla="*/ 2708 w 1736378"/>
                      <a:gd name="connsiteY493" fmla="*/ 701482 h 1366373"/>
                      <a:gd name="connsiteX494" fmla="*/ 2641 w 1736378"/>
                      <a:gd name="connsiteY494" fmla="*/ 703100 h 1366373"/>
                      <a:gd name="connsiteX495" fmla="*/ 2197 w 1736378"/>
                      <a:gd name="connsiteY495" fmla="*/ 701991 h 1366373"/>
                      <a:gd name="connsiteX496" fmla="*/ 715139 w 1736378"/>
                      <a:gd name="connsiteY496" fmla="*/ 701142 h 1366373"/>
                      <a:gd name="connsiteX497" fmla="*/ 715658 w 1736378"/>
                      <a:gd name="connsiteY497" fmla="*/ 700633 h 1366373"/>
                      <a:gd name="connsiteX498" fmla="*/ 715588 w 1736378"/>
                      <a:gd name="connsiteY498" fmla="*/ 702251 h 1366373"/>
                      <a:gd name="connsiteX499" fmla="*/ 715139 w 1736378"/>
                      <a:gd name="connsiteY499" fmla="*/ 701142 h 1366373"/>
                      <a:gd name="connsiteX500" fmla="*/ 1301297 w 1736378"/>
                      <a:gd name="connsiteY500" fmla="*/ 695718 h 1366373"/>
                      <a:gd name="connsiteX501" fmla="*/ 1301726 w 1736378"/>
                      <a:gd name="connsiteY501" fmla="*/ 694659 h 1366373"/>
                      <a:gd name="connsiteX502" fmla="*/ 1301726 w 1736378"/>
                      <a:gd name="connsiteY502" fmla="*/ 696777 h 1366373"/>
                      <a:gd name="connsiteX503" fmla="*/ 1301297 w 1736378"/>
                      <a:gd name="connsiteY503" fmla="*/ 695718 h 1366373"/>
                      <a:gd name="connsiteX504" fmla="*/ 1341042 w 1736378"/>
                      <a:gd name="connsiteY504" fmla="*/ 694030 h 1366373"/>
                      <a:gd name="connsiteX505" fmla="*/ 1341472 w 1736378"/>
                      <a:gd name="connsiteY505" fmla="*/ 692971 h 1366373"/>
                      <a:gd name="connsiteX506" fmla="*/ 1341472 w 1736378"/>
                      <a:gd name="connsiteY506" fmla="*/ 695089 h 1366373"/>
                      <a:gd name="connsiteX507" fmla="*/ 1341042 w 1736378"/>
                      <a:gd name="connsiteY507" fmla="*/ 694030 h 1366373"/>
                      <a:gd name="connsiteX508" fmla="*/ 1449 w 1736378"/>
                      <a:gd name="connsiteY508" fmla="*/ 689375 h 1366373"/>
                      <a:gd name="connsiteX509" fmla="*/ 1870 w 1736378"/>
                      <a:gd name="connsiteY509" fmla="*/ 688336 h 1366373"/>
                      <a:gd name="connsiteX510" fmla="*/ 1839 w 1736378"/>
                      <a:gd name="connsiteY510" fmla="*/ 690874 h 1366373"/>
                      <a:gd name="connsiteX511" fmla="*/ 1449 w 1736378"/>
                      <a:gd name="connsiteY511" fmla="*/ 689375 h 1366373"/>
                      <a:gd name="connsiteX512" fmla="*/ 270291 w 1736378"/>
                      <a:gd name="connsiteY512" fmla="*/ 685080 h 1366373"/>
                      <a:gd name="connsiteX513" fmla="*/ 270803 w 1736378"/>
                      <a:gd name="connsiteY513" fmla="*/ 684571 h 1366373"/>
                      <a:gd name="connsiteX514" fmla="*/ 270736 w 1736378"/>
                      <a:gd name="connsiteY514" fmla="*/ 686189 h 1366373"/>
                      <a:gd name="connsiteX515" fmla="*/ 270291 w 1736378"/>
                      <a:gd name="connsiteY515" fmla="*/ 685080 h 1366373"/>
                      <a:gd name="connsiteX516" fmla="*/ 1340133 w 1736378"/>
                      <a:gd name="connsiteY516" fmla="*/ 685080 h 1366373"/>
                      <a:gd name="connsiteX517" fmla="*/ 1340643 w 1736378"/>
                      <a:gd name="connsiteY517" fmla="*/ 684571 h 1366373"/>
                      <a:gd name="connsiteX518" fmla="*/ 1340573 w 1736378"/>
                      <a:gd name="connsiteY518" fmla="*/ 686189 h 1366373"/>
                      <a:gd name="connsiteX519" fmla="*/ 1340133 w 1736378"/>
                      <a:gd name="connsiteY519" fmla="*/ 685080 h 1366373"/>
                      <a:gd name="connsiteX520" fmla="*/ 1302146 w 1736378"/>
                      <a:gd name="connsiteY520" fmla="*/ 681344 h 1366373"/>
                      <a:gd name="connsiteX521" fmla="*/ 1302565 w 1736378"/>
                      <a:gd name="connsiteY521" fmla="*/ 680285 h 1366373"/>
                      <a:gd name="connsiteX522" fmla="*/ 1302565 w 1736378"/>
                      <a:gd name="connsiteY522" fmla="*/ 682403 h 1366373"/>
                      <a:gd name="connsiteX523" fmla="*/ 1302146 w 1736378"/>
                      <a:gd name="connsiteY523" fmla="*/ 681344 h 1366373"/>
                      <a:gd name="connsiteX524" fmla="*/ 1033205 w 1736378"/>
                      <a:gd name="connsiteY524" fmla="*/ 679646 h 1366373"/>
                      <a:gd name="connsiteX525" fmla="*/ 1033625 w 1736378"/>
                      <a:gd name="connsiteY525" fmla="*/ 678597 h 1366373"/>
                      <a:gd name="connsiteX526" fmla="*/ 1033625 w 1736378"/>
                      <a:gd name="connsiteY526" fmla="*/ 680705 h 1366373"/>
                      <a:gd name="connsiteX527" fmla="*/ 1033205 w 1736378"/>
                      <a:gd name="connsiteY527" fmla="*/ 679646 h 1366373"/>
                      <a:gd name="connsiteX528" fmla="*/ 269446 w 1736378"/>
                      <a:gd name="connsiteY528" fmla="*/ 672394 h 1366373"/>
                      <a:gd name="connsiteX529" fmla="*/ 269957 w 1736378"/>
                      <a:gd name="connsiteY529" fmla="*/ 671885 h 1366373"/>
                      <a:gd name="connsiteX530" fmla="*/ 269890 w 1736378"/>
                      <a:gd name="connsiteY530" fmla="*/ 673503 h 1366373"/>
                      <a:gd name="connsiteX531" fmla="*/ 269445 w 1736378"/>
                      <a:gd name="connsiteY531" fmla="*/ 672394 h 1366373"/>
                      <a:gd name="connsiteX532" fmla="*/ 634 w 1736378"/>
                      <a:gd name="connsiteY532" fmla="*/ 668658 h 1366373"/>
                      <a:gd name="connsiteX533" fmla="*/ 1021 w 1736378"/>
                      <a:gd name="connsiteY533" fmla="*/ 667180 h 1366373"/>
                      <a:gd name="connsiteX534" fmla="*/ 1021 w 1736378"/>
                      <a:gd name="connsiteY534" fmla="*/ 670137 h 1366373"/>
                      <a:gd name="connsiteX535" fmla="*/ 634 w 1736378"/>
                      <a:gd name="connsiteY535" fmla="*/ 668658 h 1366373"/>
                      <a:gd name="connsiteX536" fmla="*/ 628033 w 1736378"/>
                      <a:gd name="connsiteY536" fmla="*/ 669857 h 1366373"/>
                      <a:gd name="connsiteX537" fmla="*/ 628544 w 1736378"/>
                      <a:gd name="connsiteY537" fmla="*/ 669348 h 1366373"/>
                      <a:gd name="connsiteX538" fmla="*/ 628477 w 1736378"/>
                      <a:gd name="connsiteY538" fmla="*/ 670966 h 1366373"/>
                      <a:gd name="connsiteX539" fmla="*/ 628033 w 1736378"/>
                      <a:gd name="connsiteY539" fmla="*/ 669857 h 1366373"/>
                      <a:gd name="connsiteX540" fmla="*/ 675394 w 1736378"/>
                      <a:gd name="connsiteY540" fmla="*/ 668159 h 1366373"/>
                      <a:gd name="connsiteX541" fmla="*/ 675905 w 1736378"/>
                      <a:gd name="connsiteY541" fmla="*/ 667650 h 1366373"/>
                      <a:gd name="connsiteX542" fmla="*/ 675838 w 1736378"/>
                      <a:gd name="connsiteY542" fmla="*/ 669268 h 1366373"/>
                      <a:gd name="connsiteX543" fmla="*/ 675393 w 1736378"/>
                      <a:gd name="connsiteY543" fmla="*/ 668159 h 1366373"/>
                      <a:gd name="connsiteX544" fmla="*/ 1034084 w 1736378"/>
                      <a:gd name="connsiteY544" fmla="*/ 664004 h 1366373"/>
                      <a:gd name="connsiteX545" fmla="*/ 1034504 w 1736378"/>
                      <a:gd name="connsiteY545" fmla="*/ 662965 h 1366373"/>
                      <a:gd name="connsiteX546" fmla="*/ 1034473 w 1736378"/>
                      <a:gd name="connsiteY546" fmla="*/ 665502 h 1366373"/>
                      <a:gd name="connsiteX547" fmla="*/ 1034084 w 1736378"/>
                      <a:gd name="connsiteY547" fmla="*/ 664004 h 1366373"/>
                      <a:gd name="connsiteX548" fmla="*/ 1414331 w 1736378"/>
                      <a:gd name="connsiteY548" fmla="*/ 663005 h 1366373"/>
                      <a:gd name="connsiteX549" fmla="*/ 1415949 w 1736378"/>
                      <a:gd name="connsiteY549" fmla="*/ 663075 h 1366373"/>
                      <a:gd name="connsiteX550" fmla="*/ 1414840 w 1736378"/>
                      <a:gd name="connsiteY550" fmla="*/ 663514 h 1366373"/>
                      <a:gd name="connsiteX551" fmla="*/ 1414331 w 1736378"/>
                      <a:gd name="connsiteY551" fmla="*/ 663005 h 1366373"/>
                      <a:gd name="connsiteX552" fmla="*/ 1421483 w 1736378"/>
                      <a:gd name="connsiteY552" fmla="*/ 662146 h 1366373"/>
                      <a:gd name="connsiteX553" fmla="*/ 1424020 w 1736378"/>
                      <a:gd name="connsiteY553" fmla="*/ 662176 h 1366373"/>
                      <a:gd name="connsiteX554" fmla="*/ 1422522 w 1736378"/>
                      <a:gd name="connsiteY554" fmla="*/ 662565 h 1366373"/>
                      <a:gd name="connsiteX555" fmla="*/ 1421483 w 1736378"/>
                      <a:gd name="connsiteY555" fmla="*/ 662146 h 1366373"/>
                      <a:gd name="connsiteX556" fmla="*/ 1431242 w 1736378"/>
                      <a:gd name="connsiteY556" fmla="*/ 661317 h 1366373"/>
                      <a:gd name="connsiteX557" fmla="*/ 1432870 w 1736378"/>
                      <a:gd name="connsiteY557" fmla="*/ 661386 h 1366373"/>
                      <a:gd name="connsiteX558" fmla="*/ 1431761 w 1736378"/>
                      <a:gd name="connsiteY558" fmla="*/ 661826 h 1366373"/>
                      <a:gd name="connsiteX559" fmla="*/ 1431242 w 1736378"/>
                      <a:gd name="connsiteY559" fmla="*/ 661317 h 1366373"/>
                      <a:gd name="connsiteX560" fmla="*/ 1478559 w 1736378"/>
                      <a:gd name="connsiteY560" fmla="*/ 661337 h 1366373"/>
                      <a:gd name="connsiteX561" fmla="*/ 1480667 w 1736378"/>
                      <a:gd name="connsiteY561" fmla="*/ 661337 h 1366373"/>
                      <a:gd name="connsiteX562" fmla="*/ 1479608 w 1736378"/>
                      <a:gd name="connsiteY562" fmla="*/ 661756 h 1366373"/>
                      <a:gd name="connsiteX563" fmla="*/ 1478559 w 1736378"/>
                      <a:gd name="connsiteY563" fmla="*/ 661337 h 1366373"/>
                      <a:gd name="connsiteX564" fmla="*/ 1451100 w 1736378"/>
                      <a:gd name="connsiteY564" fmla="*/ 660418 h 1366373"/>
                      <a:gd name="connsiteX565" fmla="*/ 1460399 w 1736378"/>
                      <a:gd name="connsiteY565" fmla="*/ 660418 h 1366373"/>
                      <a:gd name="connsiteX566" fmla="*/ 1455505 w 1736378"/>
                      <a:gd name="connsiteY566" fmla="*/ 660727 h 1366373"/>
                      <a:gd name="connsiteX567" fmla="*/ 1451100 w 1736378"/>
                      <a:gd name="connsiteY567" fmla="*/ 660418 h 1366373"/>
                      <a:gd name="connsiteX568" fmla="*/ 627317 w 1736378"/>
                      <a:gd name="connsiteY568" fmla="*/ 655123 h 1366373"/>
                      <a:gd name="connsiteX569" fmla="*/ 627703 w 1736378"/>
                      <a:gd name="connsiteY569" fmla="*/ 653645 h 1366373"/>
                      <a:gd name="connsiteX570" fmla="*/ 627703 w 1736378"/>
                      <a:gd name="connsiteY570" fmla="*/ 656602 h 1366373"/>
                      <a:gd name="connsiteX571" fmla="*/ 627317 w 1736378"/>
                      <a:gd name="connsiteY571" fmla="*/ 655123 h 1366373"/>
                      <a:gd name="connsiteX572" fmla="*/ 676463 w 1736378"/>
                      <a:gd name="connsiteY572" fmla="*/ 647941 h 1366373"/>
                      <a:gd name="connsiteX573" fmla="*/ 676794 w 1736378"/>
                      <a:gd name="connsiteY573" fmla="*/ 644785 h 1366373"/>
                      <a:gd name="connsiteX574" fmla="*/ 676785 w 1736378"/>
                      <a:gd name="connsiteY574" fmla="*/ 651557 h 1366373"/>
                      <a:gd name="connsiteX575" fmla="*/ 676460 w 1736378"/>
                      <a:gd name="connsiteY575" fmla="*/ 647941 h 1366373"/>
                      <a:gd name="connsiteX576" fmla="*/ 627286 w 1736378"/>
                      <a:gd name="connsiteY576" fmla="*/ 640330 h 1366373"/>
                      <a:gd name="connsiteX577" fmla="*/ 627707 w 1736378"/>
                      <a:gd name="connsiteY577" fmla="*/ 639281 h 1366373"/>
                      <a:gd name="connsiteX578" fmla="*/ 627676 w 1736378"/>
                      <a:gd name="connsiteY578" fmla="*/ 641818 h 1366373"/>
                      <a:gd name="connsiteX579" fmla="*/ 627286 w 1736378"/>
                      <a:gd name="connsiteY579" fmla="*/ 640330 h 1366373"/>
                      <a:gd name="connsiteX580" fmla="*/ 1034114 w 1736378"/>
                      <a:gd name="connsiteY580" fmla="*/ 639061 h 1366373"/>
                      <a:gd name="connsiteX581" fmla="*/ 1034493 w 1736378"/>
                      <a:gd name="connsiteY581" fmla="*/ 637573 h 1366373"/>
                      <a:gd name="connsiteX582" fmla="*/ 1034493 w 1736378"/>
                      <a:gd name="connsiteY582" fmla="*/ 640540 h 1366373"/>
                      <a:gd name="connsiteX583" fmla="*/ 1034114 w 1736378"/>
                      <a:gd name="connsiteY583" fmla="*/ 639061 h 1366373"/>
                      <a:gd name="connsiteX584" fmla="*/ 634 w 1736378"/>
                      <a:gd name="connsiteY584" fmla="*/ 635675 h 1366373"/>
                      <a:gd name="connsiteX585" fmla="*/ 1021 w 1736378"/>
                      <a:gd name="connsiteY585" fmla="*/ 634197 h 1366373"/>
                      <a:gd name="connsiteX586" fmla="*/ 1021 w 1736378"/>
                      <a:gd name="connsiteY586" fmla="*/ 637153 h 1366373"/>
                      <a:gd name="connsiteX587" fmla="*/ 634 w 1736378"/>
                      <a:gd name="connsiteY587" fmla="*/ 635675 h 1366373"/>
                      <a:gd name="connsiteX588" fmla="*/ 269446 w 1736378"/>
                      <a:gd name="connsiteY588" fmla="*/ 630950 h 1366373"/>
                      <a:gd name="connsiteX589" fmla="*/ 269957 w 1736378"/>
                      <a:gd name="connsiteY589" fmla="*/ 630441 h 1366373"/>
                      <a:gd name="connsiteX590" fmla="*/ 269890 w 1736378"/>
                      <a:gd name="connsiteY590" fmla="*/ 632059 h 1366373"/>
                      <a:gd name="connsiteX591" fmla="*/ 269445 w 1736378"/>
                      <a:gd name="connsiteY591" fmla="*/ 630950 h 1366373"/>
                      <a:gd name="connsiteX592" fmla="*/ 675394 w 1736378"/>
                      <a:gd name="connsiteY592" fmla="*/ 627564 h 1366373"/>
                      <a:gd name="connsiteX593" fmla="*/ 675905 w 1736378"/>
                      <a:gd name="connsiteY593" fmla="*/ 627055 h 1366373"/>
                      <a:gd name="connsiteX594" fmla="*/ 675838 w 1736378"/>
                      <a:gd name="connsiteY594" fmla="*/ 628673 h 1366373"/>
                      <a:gd name="connsiteX595" fmla="*/ 675393 w 1736378"/>
                      <a:gd name="connsiteY595" fmla="*/ 627564 h 1366373"/>
                      <a:gd name="connsiteX596" fmla="*/ 1033205 w 1736378"/>
                      <a:gd name="connsiteY596" fmla="*/ 622989 h 1366373"/>
                      <a:gd name="connsiteX597" fmla="*/ 1033625 w 1736378"/>
                      <a:gd name="connsiteY597" fmla="*/ 621930 h 1366373"/>
                      <a:gd name="connsiteX598" fmla="*/ 1033625 w 1736378"/>
                      <a:gd name="connsiteY598" fmla="*/ 624048 h 1366373"/>
                      <a:gd name="connsiteX599" fmla="*/ 1033205 w 1736378"/>
                      <a:gd name="connsiteY599" fmla="*/ 622989 h 1366373"/>
                      <a:gd name="connsiteX600" fmla="*/ 1302146 w 1736378"/>
                      <a:gd name="connsiteY600" fmla="*/ 621291 h 1366373"/>
                      <a:gd name="connsiteX601" fmla="*/ 1302565 w 1736378"/>
                      <a:gd name="connsiteY601" fmla="*/ 620242 h 1366373"/>
                      <a:gd name="connsiteX602" fmla="*/ 1302565 w 1736378"/>
                      <a:gd name="connsiteY602" fmla="*/ 622350 h 1366373"/>
                      <a:gd name="connsiteX603" fmla="*/ 1302146 w 1736378"/>
                      <a:gd name="connsiteY603" fmla="*/ 621291 h 1366373"/>
                      <a:gd name="connsiteX604" fmla="*/ 1449 w 1736378"/>
                      <a:gd name="connsiteY604" fmla="*/ 615797 h 1366373"/>
                      <a:gd name="connsiteX605" fmla="*/ 1870 w 1736378"/>
                      <a:gd name="connsiteY605" fmla="*/ 614758 h 1366373"/>
                      <a:gd name="connsiteX606" fmla="*/ 1839 w 1736378"/>
                      <a:gd name="connsiteY606" fmla="*/ 617296 h 1366373"/>
                      <a:gd name="connsiteX607" fmla="*/ 1449 w 1736378"/>
                      <a:gd name="connsiteY607" fmla="*/ 615797 h 1366373"/>
                      <a:gd name="connsiteX608" fmla="*/ 786180 w 1736378"/>
                      <a:gd name="connsiteY608" fmla="*/ 597967 h 1366373"/>
                      <a:gd name="connsiteX609" fmla="*/ 786699 w 1736378"/>
                      <a:gd name="connsiteY609" fmla="*/ 597458 h 1366373"/>
                      <a:gd name="connsiteX610" fmla="*/ 786629 w 1736378"/>
                      <a:gd name="connsiteY610" fmla="*/ 599076 h 1366373"/>
                      <a:gd name="connsiteX611" fmla="*/ 786180 w 1736378"/>
                      <a:gd name="connsiteY611" fmla="*/ 597967 h 1366373"/>
                      <a:gd name="connsiteX612" fmla="*/ 473265 w 1736378"/>
                      <a:gd name="connsiteY612" fmla="*/ 596279 h 1366373"/>
                      <a:gd name="connsiteX613" fmla="*/ 473777 w 1736378"/>
                      <a:gd name="connsiteY613" fmla="*/ 595770 h 1366373"/>
                      <a:gd name="connsiteX614" fmla="*/ 473710 w 1736378"/>
                      <a:gd name="connsiteY614" fmla="*/ 597388 h 1366373"/>
                      <a:gd name="connsiteX615" fmla="*/ 473265 w 1736378"/>
                      <a:gd name="connsiteY615" fmla="*/ 596279 h 1366373"/>
                      <a:gd name="connsiteX616" fmla="*/ 1300388 w 1736378"/>
                      <a:gd name="connsiteY616" fmla="*/ 595430 h 1366373"/>
                      <a:gd name="connsiteX617" fmla="*/ 1300897 w 1736378"/>
                      <a:gd name="connsiteY617" fmla="*/ 594920 h 1366373"/>
                      <a:gd name="connsiteX618" fmla="*/ 1300827 w 1736378"/>
                      <a:gd name="connsiteY618" fmla="*/ 596539 h 1366373"/>
                      <a:gd name="connsiteX619" fmla="*/ 1300377 w 1736378"/>
                      <a:gd name="connsiteY619" fmla="*/ 595430 h 1366373"/>
                      <a:gd name="connsiteX620" fmla="*/ 830231 w 1736378"/>
                      <a:gd name="connsiteY620" fmla="*/ 594231 h 1366373"/>
                      <a:gd name="connsiteX621" fmla="*/ 830650 w 1736378"/>
                      <a:gd name="connsiteY621" fmla="*/ 593172 h 1366373"/>
                      <a:gd name="connsiteX622" fmla="*/ 830650 w 1736378"/>
                      <a:gd name="connsiteY622" fmla="*/ 595290 h 1366373"/>
                      <a:gd name="connsiteX623" fmla="*/ 830231 w 1736378"/>
                      <a:gd name="connsiteY623" fmla="*/ 594231 h 1366373"/>
                      <a:gd name="connsiteX624" fmla="*/ 516464 w 1736378"/>
                      <a:gd name="connsiteY624" fmla="*/ 590845 h 1366373"/>
                      <a:gd name="connsiteX625" fmla="*/ 516891 w 1736378"/>
                      <a:gd name="connsiteY625" fmla="*/ 589796 h 1366373"/>
                      <a:gd name="connsiteX626" fmla="*/ 516891 w 1736378"/>
                      <a:gd name="connsiteY626" fmla="*/ 591904 h 1366373"/>
                      <a:gd name="connsiteX627" fmla="*/ 516464 w 1736378"/>
                      <a:gd name="connsiteY627" fmla="*/ 590845 h 1366373"/>
                      <a:gd name="connsiteX628" fmla="*/ 787029 w 1736378"/>
                      <a:gd name="connsiteY628" fmla="*/ 588667 h 1366373"/>
                      <a:gd name="connsiteX629" fmla="*/ 787538 w 1736378"/>
                      <a:gd name="connsiteY629" fmla="*/ 588148 h 1366373"/>
                      <a:gd name="connsiteX630" fmla="*/ 787468 w 1736378"/>
                      <a:gd name="connsiteY630" fmla="*/ 589776 h 1366373"/>
                      <a:gd name="connsiteX631" fmla="*/ 787029 w 1736378"/>
                      <a:gd name="connsiteY631" fmla="*/ 588667 h 1366373"/>
                      <a:gd name="connsiteX632" fmla="*/ 3888 w 1736378"/>
                      <a:gd name="connsiteY632" fmla="*/ 584432 h 1366373"/>
                      <a:gd name="connsiteX633" fmla="*/ 4399 w 1736378"/>
                      <a:gd name="connsiteY633" fmla="*/ 583923 h 1366373"/>
                      <a:gd name="connsiteX634" fmla="*/ 4332 w 1736378"/>
                      <a:gd name="connsiteY634" fmla="*/ 585541 h 1366373"/>
                      <a:gd name="connsiteX635" fmla="*/ 3888 w 1736378"/>
                      <a:gd name="connsiteY635" fmla="*/ 584432 h 1366373"/>
                      <a:gd name="connsiteX636" fmla="*/ 1298689 w 1736378"/>
                      <a:gd name="connsiteY636" fmla="*/ 578519 h 1366373"/>
                      <a:gd name="connsiteX637" fmla="*/ 1299209 w 1736378"/>
                      <a:gd name="connsiteY637" fmla="*/ 577999 h 1366373"/>
                      <a:gd name="connsiteX638" fmla="*/ 1299139 w 1736378"/>
                      <a:gd name="connsiteY638" fmla="*/ 579627 h 1366373"/>
                      <a:gd name="connsiteX639" fmla="*/ 1298689 w 1736378"/>
                      <a:gd name="connsiteY639" fmla="*/ 578519 h 1366373"/>
                      <a:gd name="connsiteX640" fmla="*/ 770048 w 1736378"/>
                      <a:gd name="connsiteY640" fmla="*/ 571077 h 1366373"/>
                      <a:gd name="connsiteX641" fmla="*/ 771526 w 1736378"/>
                      <a:gd name="connsiteY641" fmla="*/ 569599 h 1366373"/>
                      <a:gd name="connsiteX642" fmla="*/ 771846 w 1736378"/>
                      <a:gd name="connsiteY642" fmla="*/ 569918 h 1366373"/>
                      <a:gd name="connsiteX643" fmla="*/ 770048 w 1736378"/>
                      <a:gd name="connsiteY643" fmla="*/ 571077 h 1366373"/>
                      <a:gd name="connsiteX644" fmla="*/ 830161 w 1736378"/>
                      <a:gd name="connsiteY644" fmla="*/ 570058 h 1366373"/>
                      <a:gd name="connsiteX645" fmla="*/ 830670 w 1736378"/>
                      <a:gd name="connsiteY645" fmla="*/ 569549 h 1366373"/>
                      <a:gd name="connsiteX646" fmla="*/ 830600 w 1736378"/>
                      <a:gd name="connsiteY646" fmla="*/ 571167 h 1366373"/>
                      <a:gd name="connsiteX647" fmla="*/ 830161 w 1736378"/>
                      <a:gd name="connsiteY647" fmla="*/ 570058 h 1366373"/>
                      <a:gd name="connsiteX648" fmla="*/ 1287012 w 1736378"/>
                      <a:gd name="connsiteY648" fmla="*/ 569948 h 1366373"/>
                      <a:gd name="connsiteX649" fmla="*/ 1291238 w 1736378"/>
                      <a:gd name="connsiteY649" fmla="*/ 569958 h 1366373"/>
                      <a:gd name="connsiteX650" fmla="*/ 1288900 w 1736378"/>
                      <a:gd name="connsiteY650" fmla="*/ 570308 h 1366373"/>
                      <a:gd name="connsiteX651" fmla="*/ 1287012 w 1736378"/>
                      <a:gd name="connsiteY651" fmla="*/ 569948 h 1366373"/>
                      <a:gd name="connsiteX652" fmla="*/ 646572 w 1736378"/>
                      <a:gd name="connsiteY652" fmla="*/ 565154 h 1366373"/>
                      <a:gd name="connsiteX653" fmla="*/ 648053 w 1736378"/>
                      <a:gd name="connsiteY653" fmla="*/ 563675 h 1366373"/>
                      <a:gd name="connsiteX654" fmla="*/ 648372 w 1736378"/>
                      <a:gd name="connsiteY654" fmla="*/ 563995 h 1366373"/>
                      <a:gd name="connsiteX655" fmla="*/ 646572 w 1736378"/>
                      <a:gd name="connsiteY655" fmla="*/ 565154 h 1366373"/>
                      <a:gd name="connsiteX656" fmla="*/ 616972 w 1736378"/>
                      <a:gd name="connsiteY656" fmla="*/ 532919 h 1366373"/>
                      <a:gd name="connsiteX657" fmla="*/ 620264 w 1736378"/>
                      <a:gd name="connsiteY657" fmla="*/ 529953 h 1366373"/>
                      <a:gd name="connsiteX658" fmla="*/ 617817 w 1736378"/>
                      <a:gd name="connsiteY658" fmla="*/ 532919 h 1366373"/>
                      <a:gd name="connsiteX659" fmla="*/ 614526 w 1736378"/>
                      <a:gd name="connsiteY659" fmla="*/ 535876 h 1366373"/>
                      <a:gd name="connsiteX660" fmla="*/ 616972 w 1736378"/>
                      <a:gd name="connsiteY660" fmla="*/ 532919 h 1366373"/>
                      <a:gd name="connsiteX661" fmla="*/ 686661 w 1736378"/>
                      <a:gd name="connsiteY661" fmla="*/ 533129 h 1366373"/>
                      <a:gd name="connsiteX662" fmla="*/ 685052 w 1736378"/>
                      <a:gd name="connsiteY662" fmla="*/ 531221 h 1366373"/>
                      <a:gd name="connsiteX663" fmla="*/ 686960 w 1736378"/>
                      <a:gd name="connsiteY663" fmla="*/ 532840 h 1366373"/>
                      <a:gd name="connsiteX664" fmla="*/ 688569 w 1736378"/>
                      <a:gd name="connsiteY664" fmla="*/ 535027 h 1366373"/>
                      <a:gd name="connsiteX665" fmla="*/ 686661 w 1736378"/>
                      <a:gd name="connsiteY665" fmla="*/ 533129 h 1366373"/>
                      <a:gd name="connsiteX666" fmla="*/ 814398 w 1736378"/>
                      <a:gd name="connsiteY666" fmla="*/ 529743 h 1366373"/>
                      <a:gd name="connsiteX667" fmla="*/ 811911 w 1736378"/>
                      <a:gd name="connsiteY667" fmla="*/ 526996 h 1366373"/>
                      <a:gd name="connsiteX668" fmla="*/ 814658 w 1736378"/>
                      <a:gd name="connsiteY668" fmla="*/ 529483 h 1366373"/>
                      <a:gd name="connsiteX669" fmla="*/ 817405 w 1736378"/>
                      <a:gd name="connsiteY669" fmla="*/ 532230 h 1366373"/>
                      <a:gd name="connsiteX670" fmla="*/ 814398 w 1736378"/>
                      <a:gd name="connsiteY670" fmla="*/ 529743 h 1366373"/>
                      <a:gd name="connsiteX671" fmla="*/ 135755 w 1736378"/>
                      <a:gd name="connsiteY671" fmla="*/ 523720 h 1366373"/>
                      <a:gd name="connsiteX672" fmla="*/ 137234 w 1736378"/>
                      <a:gd name="connsiteY672" fmla="*/ 522241 h 1366373"/>
                      <a:gd name="connsiteX673" fmla="*/ 137554 w 1736378"/>
                      <a:gd name="connsiteY673" fmla="*/ 522561 h 1366373"/>
                      <a:gd name="connsiteX674" fmla="*/ 135755 w 1736378"/>
                      <a:gd name="connsiteY674" fmla="*/ 523720 h 1366373"/>
                      <a:gd name="connsiteX675" fmla="*/ 1158605 w 1736378"/>
                      <a:gd name="connsiteY675" fmla="*/ 515369 h 1366373"/>
                      <a:gd name="connsiteX676" fmla="*/ 1156118 w 1736378"/>
                      <a:gd name="connsiteY676" fmla="*/ 512622 h 1366373"/>
                      <a:gd name="connsiteX677" fmla="*/ 1158875 w 1736378"/>
                      <a:gd name="connsiteY677" fmla="*/ 515099 h 1366373"/>
                      <a:gd name="connsiteX678" fmla="*/ 1161352 w 1736378"/>
                      <a:gd name="connsiteY678" fmla="*/ 518116 h 1366373"/>
                      <a:gd name="connsiteX679" fmla="*/ 1158605 w 1736378"/>
                      <a:gd name="connsiteY679" fmla="*/ 515369 h 1366373"/>
                      <a:gd name="connsiteX680" fmla="*/ 1107562 w 1736378"/>
                      <a:gd name="connsiteY680" fmla="*/ 407679 h 1366373"/>
                      <a:gd name="connsiteX681" fmla="*/ 1108072 w 1736378"/>
                      <a:gd name="connsiteY681" fmla="*/ 407169 h 1366373"/>
                      <a:gd name="connsiteX682" fmla="*/ 1108002 w 1736378"/>
                      <a:gd name="connsiteY682" fmla="*/ 408788 h 1366373"/>
                      <a:gd name="connsiteX683" fmla="*/ 1107552 w 1736378"/>
                      <a:gd name="connsiteY683" fmla="*/ 407679 h 1366373"/>
                      <a:gd name="connsiteX684" fmla="*/ 195868 w 1736378"/>
                      <a:gd name="connsiteY684" fmla="*/ 404293 h 1366373"/>
                      <a:gd name="connsiteX685" fmla="*/ 196378 w 1736378"/>
                      <a:gd name="connsiteY685" fmla="*/ 403783 h 1366373"/>
                      <a:gd name="connsiteX686" fmla="*/ 196311 w 1736378"/>
                      <a:gd name="connsiteY686" fmla="*/ 405402 h 1366373"/>
                      <a:gd name="connsiteX687" fmla="*/ 195867 w 1736378"/>
                      <a:gd name="connsiteY687" fmla="*/ 404293 h 1366373"/>
                      <a:gd name="connsiteX688" fmla="*/ 937392 w 1736378"/>
                      <a:gd name="connsiteY688" fmla="*/ 397390 h 1366373"/>
                      <a:gd name="connsiteX689" fmla="*/ 937711 w 1736378"/>
                      <a:gd name="connsiteY689" fmla="*/ 397071 h 1366373"/>
                      <a:gd name="connsiteX690" fmla="*/ 938870 w 1736378"/>
                      <a:gd name="connsiteY690" fmla="*/ 398869 h 1366373"/>
                      <a:gd name="connsiteX691" fmla="*/ 937392 w 1736378"/>
                      <a:gd name="connsiteY691" fmla="*/ 397390 h 1366373"/>
                      <a:gd name="connsiteX692" fmla="*/ 1106813 w 1736378"/>
                      <a:gd name="connsiteY692" fmla="*/ 396751 h 1366373"/>
                      <a:gd name="connsiteX693" fmla="*/ 1107232 w 1736378"/>
                      <a:gd name="connsiteY693" fmla="*/ 395712 h 1366373"/>
                      <a:gd name="connsiteX694" fmla="*/ 1107203 w 1736378"/>
                      <a:gd name="connsiteY694" fmla="*/ 398249 h 1366373"/>
                      <a:gd name="connsiteX695" fmla="*/ 1106813 w 1736378"/>
                      <a:gd name="connsiteY695" fmla="*/ 396751 h 1366373"/>
                      <a:gd name="connsiteX696" fmla="*/ 369598 w 1736378"/>
                      <a:gd name="connsiteY696" fmla="*/ 392945 h 1366373"/>
                      <a:gd name="connsiteX697" fmla="*/ 371551 w 1736378"/>
                      <a:gd name="connsiteY697" fmla="*/ 391257 h 1366373"/>
                      <a:gd name="connsiteX698" fmla="*/ 370443 w 1736378"/>
                      <a:gd name="connsiteY698" fmla="*/ 392945 h 1366373"/>
                      <a:gd name="connsiteX699" fmla="*/ 368490 w 1736378"/>
                      <a:gd name="connsiteY699" fmla="*/ 394643 h 1366373"/>
                      <a:gd name="connsiteX700" fmla="*/ 369598 w 1736378"/>
                      <a:gd name="connsiteY700" fmla="*/ 392945 h 1366373"/>
                      <a:gd name="connsiteX701" fmla="*/ 196931 w 1736378"/>
                      <a:gd name="connsiteY701" fmla="*/ 387871 h 1366373"/>
                      <a:gd name="connsiteX702" fmla="*/ 197262 w 1736378"/>
                      <a:gd name="connsiteY702" fmla="*/ 384704 h 1366373"/>
                      <a:gd name="connsiteX703" fmla="*/ 197262 w 1736378"/>
                      <a:gd name="connsiteY703" fmla="*/ 391047 h 1366373"/>
                      <a:gd name="connsiteX704" fmla="*/ 196931 w 1736378"/>
                      <a:gd name="connsiteY704" fmla="*/ 387871 h 1366373"/>
                      <a:gd name="connsiteX705" fmla="*/ 922258 w 1736378"/>
                      <a:gd name="connsiteY705" fmla="*/ 381318 h 1366373"/>
                      <a:gd name="connsiteX706" fmla="*/ 914247 w 1736378"/>
                      <a:gd name="connsiteY706" fmla="*/ 373077 h 1366373"/>
                      <a:gd name="connsiteX707" fmla="*/ 922488 w 1736378"/>
                      <a:gd name="connsiteY707" fmla="*/ 381089 h 1366373"/>
                      <a:gd name="connsiteX708" fmla="*/ 930509 w 1736378"/>
                      <a:gd name="connsiteY708" fmla="*/ 389569 h 1366373"/>
                      <a:gd name="connsiteX709" fmla="*/ 922258 w 1736378"/>
                      <a:gd name="connsiteY709" fmla="*/ 381318 h 1366373"/>
                      <a:gd name="connsiteX710" fmla="*/ 1106813 w 1736378"/>
                      <a:gd name="connsiteY710" fmla="*/ 378991 h 1366373"/>
                      <a:gd name="connsiteX711" fmla="*/ 1107232 w 1736378"/>
                      <a:gd name="connsiteY711" fmla="*/ 377952 h 1366373"/>
                      <a:gd name="connsiteX712" fmla="*/ 1107203 w 1736378"/>
                      <a:gd name="connsiteY712" fmla="*/ 380489 h 1366373"/>
                      <a:gd name="connsiteX713" fmla="*/ 1106813 w 1736378"/>
                      <a:gd name="connsiteY713" fmla="*/ 378991 h 1366373"/>
                      <a:gd name="connsiteX714" fmla="*/ 195868 w 1736378"/>
                      <a:gd name="connsiteY714" fmla="*/ 371309 h 1366373"/>
                      <a:gd name="connsiteX715" fmla="*/ 196378 w 1736378"/>
                      <a:gd name="connsiteY715" fmla="*/ 370800 h 1366373"/>
                      <a:gd name="connsiteX716" fmla="*/ 196311 w 1736378"/>
                      <a:gd name="connsiteY716" fmla="*/ 372418 h 1366373"/>
                      <a:gd name="connsiteX717" fmla="*/ 195867 w 1736378"/>
                      <a:gd name="connsiteY717" fmla="*/ 371309 h 1366373"/>
                      <a:gd name="connsiteX718" fmla="*/ 392010 w 1736378"/>
                      <a:gd name="connsiteY718" fmla="*/ 370640 h 1366373"/>
                      <a:gd name="connsiteX719" fmla="*/ 393489 w 1736378"/>
                      <a:gd name="connsiteY719" fmla="*/ 369162 h 1366373"/>
                      <a:gd name="connsiteX720" fmla="*/ 393809 w 1736378"/>
                      <a:gd name="connsiteY720" fmla="*/ 369481 h 1366373"/>
                      <a:gd name="connsiteX721" fmla="*/ 392010 w 1736378"/>
                      <a:gd name="connsiteY721" fmla="*/ 370640 h 1366373"/>
                      <a:gd name="connsiteX722" fmla="*/ 1107562 w 1736378"/>
                      <a:gd name="connsiteY722" fmla="*/ 367933 h 1366373"/>
                      <a:gd name="connsiteX723" fmla="*/ 1108072 w 1736378"/>
                      <a:gd name="connsiteY723" fmla="*/ 367414 h 1366373"/>
                      <a:gd name="connsiteX724" fmla="*/ 1108002 w 1736378"/>
                      <a:gd name="connsiteY724" fmla="*/ 369042 h 1366373"/>
                      <a:gd name="connsiteX725" fmla="*/ 1107552 w 1736378"/>
                      <a:gd name="connsiteY725" fmla="*/ 367933 h 1366373"/>
                      <a:gd name="connsiteX726" fmla="*/ 625271 w 1736378"/>
                      <a:gd name="connsiteY726" fmla="*/ 269742 h 1366373"/>
                      <a:gd name="connsiteX727" fmla="*/ 626892 w 1736378"/>
                      <a:gd name="connsiteY727" fmla="*/ 269812 h 1366373"/>
                      <a:gd name="connsiteX728" fmla="*/ 625781 w 1736378"/>
                      <a:gd name="connsiteY728" fmla="*/ 270252 h 1366373"/>
                      <a:gd name="connsiteX729" fmla="*/ 625271 w 1736378"/>
                      <a:gd name="connsiteY729" fmla="*/ 269742 h 1366373"/>
                      <a:gd name="connsiteX730" fmla="*/ 676860 w 1736378"/>
                      <a:gd name="connsiteY730" fmla="*/ 269742 h 1366373"/>
                      <a:gd name="connsiteX731" fmla="*/ 678480 w 1736378"/>
                      <a:gd name="connsiteY731" fmla="*/ 269812 h 1366373"/>
                      <a:gd name="connsiteX732" fmla="*/ 677371 w 1736378"/>
                      <a:gd name="connsiteY732" fmla="*/ 270252 h 1366373"/>
                      <a:gd name="connsiteX733" fmla="*/ 676860 w 1736378"/>
                      <a:gd name="connsiteY733" fmla="*/ 269742 h 1366373"/>
                      <a:gd name="connsiteX734" fmla="*/ 645055 w 1736378"/>
                      <a:gd name="connsiteY734" fmla="*/ 268844 h 1366373"/>
                      <a:gd name="connsiteX735" fmla="*/ 656896 w 1736378"/>
                      <a:gd name="connsiteY735" fmla="*/ 268844 h 1366373"/>
                      <a:gd name="connsiteX736" fmla="*/ 651224 w 1736378"/>
                      <a:gd name="connsiteY736" fmla="*/ 269143 h 1366373"/>
                      <a:gd name="connsiteX737" fmla="*/ 645055 w 1736378"/>
                      <a:gd name="connsiteY737" fmla="*/ 268853 h 1366373"/>
                      <a:gd name="connsiteX738" fmla="*/ 164509 w 1736378"/>
                      <a:gd name="connsiteY738" fmla="*/ 219259 h 1366373"/>
                      <a:gd name="connsiteX739" fmla="*/ 165989 w 1736378"/>
                      <a:gd name="connsiteY739" fmla="*/ 217780 h 1366373"/>
                      <a:gd name="connsiteX740" fmla="*/ 166309 w 1736378"/>
                      <a:gd name="connsiteY740" fmla="*/ 218100 h 1366373"/>
                      <a:gd name="connsiteX741" fmla="*/ 164509 w 1736378"/>
                      <a:gd name="connsiteY741" fmla="*/ 219259 h 1366373"/>
                      <a:gd name="connsiteX742" fmla="*/ 1134452 w 1736378"/>
                      <a:gd name="connsiteY742" fmla="*/ 214714 h 1366373"/>
                      <a:gd name="connsiteX743" fmla="*/ 1134772 w 1736378"/>
                      <a:gd name="connsiteY743" fmla="*/ 214394 h 1366373"/>
                      <a:gd name="connsiteX744" fmla="*/ 1135931 w 1736378"/>
                      <a:gd name="connsiteY744" fmla="*/ 216192 h 1366373"/>
                      <a:gd name="connsiteX745" fmla="*/ 1134452 w 1736378"/>
                      <a:gd name="connsiteY745" fmla="*/ 214714 h 1366373"/>
                      <a:gd name="connsiteX746" fmla="*/ 172120 w 1736378"/>
                      <a:gd name="connsiteY746" fmla="*/ 210798 h 1366373"/>
                      <a:gd name="connsiteX747" fmla="*/ 173601 w 1736378"/>
                      <a:gd name="connsiteY747" fmla="*/ 209320 h 1366373"/>
                      <a:gd name="connsiteX748" fmla="*/ 173920 w 1736378"/>
                      <a:gd name="connsiteY748" fmla="*/ 209639 h 1366373"/>
                      <a:gd name="connsiteX749" fmla="*/ 172120 w 1736378"/>
                      <a:gd name="connsiteY749" fmla="*/ 210798 h 1366373"/>
                      <a:gd name="connsiteX750" fmla="*/ 1123934 w 1736378"/>
                      <a:gd name="connsiteY750" fmla="*/ 203297 h 1366373"/>
                      <a:gd name="connsiteX751" fmla="*/ 1121447 w 1736378"/>
                      <a:gd name="connsiteY751" fmla="*/ 200549 h 1366373"/>
                      <a:gd name="connsiteX752" fmla="*/ 1124194 w 1736378"/>
                      <a:gd name="connsiteY752" fmla="*/ 203027 h 1366373"/>
                      <a:gd name="connsiteX753" fmla="*/ 1126681 w 1736378"/>
                      <a:gd name="connsiteY753" fmla="*/ 206043 h 1366373"/>
                      <a:gd name="connsiteX754" fmla="*/ 1123934 w 1736378"/>
                      <a:gd name="connsiteY754" fmla="*/ 203297 h 1366373"/>
                      <a:gd name="connsiteX755" fmla="*/ 375782 w 1736378"/>
                      <a:gd name="connsiteY755" fmla="*/ 196164 h 1366373"/>
                      <a:gd name="connsiteX756" fmla="*/ 377403 w 1736378"/>
                      <a:gd name="connsiteY756" fmla="*/ 196234 h 1366373"/>
                      <a:gd name="connsiteX757" fmla="*/ 376293 w 1736378"/>
                      <a:gd name="connsiteY757" fmla="*/ 196674 h 1366373"/>
                      <a:gd name="connsiteX758" fmla="*/ 375782 w 1736378"/>
                      <a:gd name="connsiteY758" fmla="*/ 196164 h 1366373"/>
                      <a:gd name="connsiteX759" fmla="*/ 399462 w 1736378"/>
                      <a:gd name="connsiteY759" fmla="*/ 196164 h 1366373"/>
                      <a:gd name="connsiteX760" fmla="*/ 401084 w 1736378"/>
                      <a:gd name="connsiteY760" fmla="*/ 196234 h 1366373"/>
                      <a:gd name="connsiteX761" fmla="*/ 399973 w 1736378"/>
                      <a:gd name="connsiteY761" fmla="*/ 196674 h 1366373"/>
                      <a:gd name="connsiteX762" fmla="*/ 399462 w 1736378"/>
                      <a:gd name="connsiteY762" fmla="*/ 196164 h 1366373"/>
                      <a:gd name="connsiteX763" fmla="*/ 901821 w 1736378"/>
                      <a:gd name="connsiteY763" fmla="*/ 196164 h 1366373"/>
                      <a:gd name="connsiteX764" fmla="*/ 903439 w 1736378"/>
                      <a:gd name="connsiteY764" fmla="*/ 196234 h 1366373"/>
                      <a:gd name="connsiteX765" fmla="*/ 902331 w 1736378"/>
                      <a:gd name="connsiteY765" fmla="*/ 196674 h 1366373"/>
                      <a:gd name="connsiteX766" fmla="*/ 901821 w 1736378"/>
                      <a:gd name="connsiteY766" fmla="*/ 196164 h 1366373"/>
                      <a:gd name="connsiteX767" fmla="*/ 1099821 w 1736378"/>
                      <a:gd name="connsiteY767" fmla="*/ 179193 h 1366373"/>
                      <a:gd name="connsiteX768" fmla="*/ 1097763 w 1736378"/>
                      <a:gd name="connsiteY768" fmla="*/ 176866 h 1366373"/>
                      <a:gd name="connsiteX769" fmla="*/ 1100090 w 1736378"/>
                      <a:gd name="connsiteY769" fmla="*/ 178914 h 1366373"/>
                      <a:gd name="connsiteX770" fmla="*/ 1102418 w 1736378"/>
                      <a:gd name="connsiteY770" fmla="*/ 181241 h 1366373"/>
                      <a:gd name="connsiteX771" fmla="*/ 1099821 w 1736378"/>
                      <a:gd name="connsiteY771" fmla="*/ 179193 h 1366373"/>
                      <a:gd name="connsiteX772" fmla="*/ 209332 w 1736378"/>
                      <a:gd name="connsiteY772" fmla="*/ 173590 h 1366373"/>
                      <a:gd name="connsiteX773" fmla="*/ 210812 w 1736378"/>
                      <a:gd name="connsiteY773" fmla="*/ 172111 h 1366373"/>
                      <a:gd name="connsiteX774" fmla="*/ 211132 w 1736378"/>
                      <a:gd name="connsiteY774" fmla="*/ 172431 h 1366373"/>
                      <a:gd name="connsiteX775" fmla="*/ 209333 w 1736378"/>
                      <a:gd name="connsiteY775" fmla="*/ 173590 h 1366373"/>
                      <a:gd name="connsiteX776" fmla="*/ 1087934 w 1736378"/>
                      <a:gd name="connsiteY776" fmla="*/ 168196 h 1366373"/>
                      <a:gd name="connsiteX777" fmla="*/ 1088254 w 1736378"/>
                      <a:gd name="connsiteY777" fmla="*/ 167876 h 1366373"/>
                      <a:gd name="connsiteX778" fmla="*/ 1089732 w 1736378"/>
                      <a:gd name="connsiteY778" fmla="*/ 169354 h 1366373"/>
                      <a:gd name="connsiteX779" fmla="*/ 1087934 w 1736378"/>
                      <a:gd name="connsiteY779" fmla="*/ 168196 h 1366373"/>
                      <a:gd name="connsiteX780" fmla="*/ 217790 w 1736378"/>
                      <a:gd name="connsiteY780" fmla="*/ 165978 h 1366373"/>
                      <a:gd name="connsiteX781" fmla="*/ 219270 w 1736378"/>
                      <a:gd name="connsiteY781" fmla="*/ 164500 h 1366373"/>
                      <a:gd name="connsiteX782" fmla="*/ 219590 w 1736378"/>
                      <a:gd name="connsiteY782" fmla="*/ 164819 h 1366373"/>
                      <a:gd name="connsiteX783" fmla="*/ 217790 w 1736378"/>
                      <a:gd name="connsiteY783" fmla="*/ 165978 h 1366373"/>
                      <a:gd name="connsiteX784" fmla="*/ 266734 w 1736378"/>
                      <a:gd name="connsiteY784" fmla="*/ 150435 h 1366373"/>
                      <a:gd name="connsiteX785" fmla="*/ 267054 w 1736378"/>
                      <a:gd name="connsiteY785" fmla="*/ 150116 h 1366373"/>
                      <a:gd name="connsiteX786" fmla="*/ 268533 w 1736378"/>
                      <a:gd name="connsiteY786" fmla="*/ 151594 h 1366373"/>
                      <a:gd name="connsiteX787" fmla="*/ 266734 w 1736378"/>
                      <a:gd name="connsiteY787" fmla="*/ 150435 h 1366373"/>
                      <a:gd name="connsiteX788" fmla="*/ 786899 w 1736378"/>
                      <a:gd name="connsiteY788" fmla="*/ 143673 h 1366373"/>
                      <a:gd name="connsiteX789" fmla="*/ 784851 w 1736378"/>
                      <a:gd name="connsiteY789" fmla="*/ 141345 h 1366373"/>
                      <a:gd name="connsiteX790" fmla="*/ 787179 w 1736378"/>
                      <a:gd name="connsiteY790" fmla="*/ 143393 h 1366373"/>
                      <a:gd name="connsiteX791" fmla="*/ 789496 w 1736378"/>
                      <a:gd name="connsiteY791" fmla="*/ 145721 h 1366373"/>
                      <a:gd name="connsiteX792" fmla="*/ 786899 w 1736378"/>
                      <a:gd name="connsiteY792" fmla="*/ 143673 h 1366373"/>
                      <a:gd name="connsiteX793" fmla="*/ 523097 w 1736378"/>
                      <a:gd name="connsiteY793" fmla="*/ 136371 h 1366373"/>
                      <a:gd name="connsiteX794" fmla="*/ 524577 w 1736378"/>
                      <a:gd name="connsiteY794" fmla="*/ 134893 h 1366373"/>
                      <a:gd name="connsiteX795" fmla="*/ 524896 w 1736378"/>
                      <a:gd name="connsiteY795" fmla="*/ 135212 h 1366373"/>
                      <a:gd name="connsiteX796" fmla="*/ 523097 w 1736378"/>
                      <a:gd name="connsiteY796" fmla="*/ 136371 h 1366373"/>
                      <a:gd name="connsiteX797" fmla="*/ 568833 w 1736378"/>
                      <a:gd name="connsiteY797" fmla="*/ 33865 h 1366373"/>
                      <a:gd name="connsiteX798" fmla="*/ 569343 w 1736378"/>
                      <a:gd name="connsiteY798" fmla="*/ 33356 h 1366373"/>
                      <a:gd name="connsiteX799" fmla="*/ 569276 w 1736378"/>
                      <a:gd name="connsiteY799" fmla="*/ 34984 h 1366373"/>
                      <a:gd name="connsiteX800" fmla="*/ 568832 w 1736378"/>
                      <a:gd name="connsiteY800" fmla="*/ 33865 h 1366373"/>
                      <a:gd name="connsiteX801" fmla="*/ 733818 w 1736378"/>
                      <a:gd name="connsiteY801" fmla="*/ 25904 h 1366373"/>
                      <a:gd name="connsiteX802" fmla="*/ 734238 w 1736378"/>
                      <a:gd name="connsiteY802" fmla="*/ 24845 h 1366373"/>
                      <a:gd name="connsiteX803" fmla="*/ 734238 w 1736378"/>
                      <a:gd name="connsiteY803" fmla="*/ 26963 h 1366373"/>
                      <a:gd name="connsiteX804" fmla="*/ 733818 w 1736378"/>
                      <a:gd name="connsiteY804" fmla="*/ 25904 h 1366373"/>
                      <a:gd name="connsiteX805" fmla="*/ 569808 w 1736378"/>
                      <a:gd name="connsiteY805" fmla="*/ 23367 h 1366373"/>
                      <a:gd name="connsiteX806" fmla="*/ 570194 w 1736378"/>
                      <a:gd name="connsiteY806" fmla="*/ 21888 h 1366373"/>
                      <a:gd name="connsiteX807" fmla="*/ 570194 w 1736378"/>
                      <a:gd name="connsiteY807" fmla="*/ 24845 h 1366373"/>
                      <a:gd name="connsiteX808" fmla="*/ 569808 w 1736378"/>
                      <a:gd name="connsiteY808" fmla="*/ 23367 h 1366373"/>
                      <a:gd name="connsiteX809" fmla="*/ 569678 w 1736378"/>
                      <a:gd name="connsiteY809" fmla="*/ 6805 h 1366373"/>
                      <a:gd name="connsiteX810" fmla="*/ 570189 w 1736378"/>
                      <a:gd name="connsiteY810" fmla="*/ 6296 h 1366373"/>
                      <a:gd name="connsiteX811" fmla="*/ 570122 w 1736378"/>
                      <a:gd name="connsiteY811" fmla="*/ 7914 h 1366373"/>
                      <a:gd name="connsiteX812" fmla="*/ 569678 w 1736378"/>
                      <a:gd name="connsiteY812" fmla="*/ 6805 h 1366373"/>
                      <a:gd name="connsiteX813" fmla="*/ 580447 w 1736378"/>
                      <a:gd name="connsiteY813" fmla="*/ 4188 h 1366373"/>
                      <a:gd name="connsiteX814" fmla="*/ 582068 w 1736378"/>
                      <a:gd name="connsiteY814" fmla="*/ 4258 h 1366373"/>
                      <a:gd name="connsiteX815" fmla="*/ 580958 w 1736378"/>
                      <a:gd name="connsiteY815" fmla="*/ 4698 h 1366373"/>
                      <a:gd name="connsiteX816" fmla="*/ 580447 w 1736378"/>
                      <a:gd name="connsiteY816" fmla="*/ 4188 h 1366373"/>
                      <a:gd name="connsiteX817" fmla="*/ 713231 w 1736378"/>
                      <a:gd name="connsiteY817" fmla="*/ 3339 h 1366373"/>
                      <a:gd name="connsiteX818" fmla="*/ 714849 w 1736378"/>
                      <a:gd name="connsiteY818" fmla="*/ 3409 h 1366373"/>
                      <a:gd name="connsiteX819" fmla="*/ 713740 w 1736378"/>
                      <a:gd name="connsiteY819" fmla="*/ 3849 h 1366373"/>
                      <a:gd name="connsiteX820" fmla="*/ 713221 w 1736378"/>
                      <a:gd name="connsiteY820" fmla="*/ 3339 h 1366373"/>
                      <a:gd name="connsiteX821" fmla="*/ 703921 w 1736378"/>
                      <a:gd name="connsiteY821" fmla="*/ 2490 h 1366373"/>
                      <a:gd name="connsiteX822" fmla="*/ 705540 w 1736378"/>
                      <a:gd name="connsiteY822" fmla="*/ 2560 h 1366373"/>
                      <a:gd name="connsiteX823" fmla="*/ 704431 w 1736378"/>
                      <a:gd name="connsiteY823" fmla="*/ 3010 h 1366373"/>
                      <a:gd name="connsiteX824" fmla="*/ 703921 w 1736378"/>
                      <a:gd name="connsiteY824" fmla="*/ 2490 h 1366373"/>
                      <a:gd name="connsiteX825" fmla="*/ 609149 w 1736378"/>
                      <a:gd name="connsiteY825" fmla="*/ 1661 h 1366373"/>
                      <a:gd name="connsiteX826" fmla="*/ 611264 w 1736378"/>
                      <a:gd name="connsiteY826" fmla="*/ 1661 h 1366373"/>
                      <a:gd name="connsiteX827" fmla="*/ 610207 w 1736378"/>
                      <a:gd name="connsiteY827" fmla="*/ 2090 h 1366373"/>
                      <a:gd name="connsiteX828" fmla="*/ 609149 w 1736378"/>
                      <a:gd name="connsiteY828" fmla="*/ 1661 h 1366373"/>
                      <a:gd name="connsiteX829" fmla="*/ 692035 w 1736378"/>
                      <a:gd name="connsiteY829" fmla="*/ 1661 h 1366373"/>
                      <a:gd name="connsiteX830" fmla="*/ 694142 w 1736378"/>
                      <a:gd name="connsiteY830" fmla="*/ 1661 h 1366373"/>
                      <a:gd name="connsiteX831" fmla="*/ 693084 w 1736378"/>
                      <a:gd name="connsiteY831" fmla="*/ 2090 h 1366373"/>
                      <a:gd name="connsiteX832" fmla="*/ 692035 w 1736378"/>
                      <a:gd name="connsiteY832" fmla="*/ 1661 h 1366373"/>
                      <a:gd name="connsiteX833" fmla="*/ 626064 w 1736378"/>
                      <a:gd name="connsiteY833" fmla="*/ 822 h 1366373"/>
                      <a:gd name="connsiteX834" fmla="*/ 628178 w 1736378"/>
                      <a:gd name="connsiteY834" fmla="*/ 822 h 1366373"/>
                      <a:gd name="connsiteX835" fmla="*/ 627121 w 1736378"/>
                      <a:gd name="connsiteY835" fmla="*/ 1241 h 1366373"/>
                      <a:gd name="connsiteX836" fmla="*/ 626064 w 1736378"/>
                      <a:gd name="connsiteY836" fmla="*/ 822 h 1366373"/>
                      <a:gd name="connsiteX837" fmla="*/ 674709 w 1736378"/>
                      <a:gd name="connsiteY837" fmla="*/ 792 h 1366373"/>
                      <a:gd name="connsiteX838" fmla="*/ 677246 w 1736378"/>
                      <a:gd name="connsiteY838" fmla="*/ 822 h 1366373"/>
                      <a:gd name="connsiteX839" fmla="*/ 675750 w 1736378"/>
                      <a:gd name="connsiteY839" fmla="*/ 1212 h 1366373"/>
                      <a:gd name="connsiteX840" fmla="*/ 674709 w 1736378"/>
                      <a:gd name="connsiteY840" fmla="*/ 782 h 1366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Lst>
                    <a:rect l="l" t="t" r="r" b="b"/>
                    <a:pathLst>
                      <a:path w="1736378" h="1366373">
                        <a:moveTo>
                          <a:pt x="538662" y="1365323"/>
                        </a:moveTo>
                        <a:lnTo>
                          <a:pt x="537051" y="1363415"/>
                        </a:lnTo>
                        <a:lnTo>
                          <a:pt x="538954" y="1365033"/>
                        </a:lnTo>
                        <a:cubicBezTo>
                          <a:pt x="540742" y="1366541"/>
                          <a:pt x="541242" y="1367221"/>
                          <a:pt x="540565" y="1367221"/>
                        </a:cubicBezTo>
                        <a:cubicBezTo>
                          <a:pt x="540404" y="1367221"/>
                          <a:pt x="539548" y="1366371"/>
                          <a:pt x="538662" y="1365323"/>
                        </a:cubicBezTo>
                        <a:close/>
                        <a:moveTo>
                          <a:pt x="460302" y="1302393"/>
                        </a:moveTo>
                        <a:cubicBezTo>
                          <a:pt x="460883" y="1302153"/>
                          <a:pt x="461834" y="1302153"/>
                          <a:pt x="462416" y="1302393"/>
                        </a:cubicBezTo>
                        <a:cubicBezTo>
                          <a:pt x="462998" y="1302622"/>
                          <a:pt x="462521" y="1302812"/>
                          <a:pt x="461358" y="1302812"/>
                        </a:cubicBezTo>
                        <a:cubicBezTo>
                          <a:pt x="460196" y="1302812"/>
                          <a:pt x="459720" y="1302622"/>
                          <a:pt x="460302" y="1302393"/>
                        </a:cubicBezTo>
                        <a:close/>
                        <a:moveTo>
                          <a:pt x="841778" y="1302373"/>
                        </a:moveTo>
                        <a:cubicBezTo>
                          <a:pt x="842387" y="1302123"/>
                          <a:pt x="843117" y="1302153"/>
                          <a:pt x="843396" y="1302443"/>
                        </a:cubicBezTo>
                        <a:cubicBezTo>
                          <a:pt x="843676" y="1302722"/>
                          <a:pt x="843176" y="1302922"/>
                          <a:pt x="842287" y="1302882"/>
                        </a:cubicBezTo>
                        <a:cubicBezTo>
                          <a:pt x="841299" y="1302842"/>
                          <a:pt x="841099" y="1302642"/>
                          <a:pt x="841778" y="1302373"/>
                        </a:cubicBezTo>
                        <a:close/>
                        <a:moveTo>
                          <a:pt x="1435018" y="1302363"/>
                        </a:moveTo>
                        <a:cubicBezTo>
                          <a:pt x="1435837" y="1302143"/>
                          <a:pt x="1436975" y="1302163"/>
                          <a:pt x="1437555" y="1302393"/>
                        </a:cubicBezTo>
                        <a:cubicBezTo>
                          <a:pt x="1438124" y="1302622"/>
                          <a:pt x="1437455" y="1302802"/>
                          <a:pt x="1436057" y="1302782"/>
                        </a:cubicBezTo>
                        <a:cubicBezTo>
                          <a:pt x="1434658" y="1302762"/>
                          <a:pt x="1434189" y="1302572"/>
                          <a:pt x="1435018" y="1302363"/>
                        </a:cubicBezTo>
                        <a:close/>
                        <a:moveTo>
                          <a:pt x="1473914" y="1302363"/>
                        </a:moveTo>
                        <a:cubicBezTo>
                          <a:pt x="1474743" y="1302143"/>
                          <a:pt x="1475882" y="1302163"/>
                          <a:pt x="1476452" y="1302393"/>
                        </a:cubicBezTo>
                        <a:cubicBezTo>
                          <a:pt x="1477031" y="1302622"/>
                          <a:pt x="1476352" y="1302802"/>
                          <a:pt x="1474963" y="1302782"/>
                        </a:cubicBezTo>
                        <a:cubicBezTo>
                          <a:pt x="1473565" y="1302762"/>
                          <a:pt x="1473095" y="1302572"/>
                          <a:pt x="1473914" y="1302363"/>
                        </a:cubicBezTo>
                        <a:close/>
                        <a:moveTo>
                          <a:pt x="1484912" y="1301514"/>
                        </a:moveTo>
                        <a:cubicBezTo>
                          <a:pt x="1485741" y="1301304"/>
                          <a:pt x="1486880" y="1301314"/>
                          <a:pt x="1487449" y="1301544"/>
                        </a:cubicBezTo>
                        <a:cubicBezTo>
                          <a:pt x="1488019" y="1301773"/>
                          <a:pt x="1487349" y="1301953"/>
                          <a:pt x="1485951" y="1301933"/>
                        </a:cubicBezTo>
                        <a:cubicBezTo>
                          <a:pt x="1484563" y="1301913"/>
                          <a:pt x="1484093" y="1301723"/>
                          <a:pt x="1484912" y="1301514"/>
                        </a:cubicBezTo>
                        <a:close/>
                        <a:moveTo>
                          <a:pt x="1424709" y="1298227"/>
                        </a:moveTo>
                        <a:cubicBezTo>
                          <a:pt x="1424749" y="1297238"/>
                          <a:pt x="1424949" y="1297039"/>
                          <a:pt x="1425219" y="1297718"/>
                        </a:cubicBezTo>
                        <a:cubicBezTo>
                          <a:pt x="1425458" y="1298327"/>
                          <a:pt x="1425428" y="1299056"/>
                          <a:pt x="1425149" y="1299336"/>
                        </a:cubicBezTo>
                        <a:cubicBezTo>
                          <a:pt x="1424869" y="1299616"/>
                          <a:pt x="1424669" y="1299116"/>
                          <a:pt x="1424699" y="1298227"/>
                        </a:cubicBezTo>
                        <a:close/>
                        <a:moveTo>
                          <a:pt x="861386" y="1293223"/>
                        </a:moveTo>
                        <a:cubicBezTo>
                          <a:pt x="862964" y="1291595"/>
                          <a:pt x="864443" y="1290256"/>
                          <a:pt x="864682" y="1290256"/>
                        </a:cubicBezTo>
                        <a:cubicBezTo>
                          <a:pt x="864912" y="1290256"/>
                          <a:pt x="863813" y="1291595"/>
                          <a:pt x="862235" y="1293223"/>
                        </a:cubicBezTo>
                        <a:cubicBezTo>
                          <a:pt x="860657" y="1294851"/>
                          <a:pt x="859169" y="1296180"/>
                          <a:pt x="858939" y="1296180"/>
                        </a:cubicBezTo>
                        <a:cubicBezTo>
                          <a:pt x="858709" y="1296180"/>
                          <a:pt x="859808" y="1294851"/>
                          <a:pt x="861386" y="1293223"/>
                        </a:cubicBezTo>
                        <a:close/>
                        <a:moveTo>
                          <a:pt x="1570237" y="1275033"/>
                        </a:moveTo>
                        <a:cubicBezTo>
                          <a:pt x="1570237" y="1273875"/>
                          <a:pt x="1570427" y="1273395"/>
                          <a:pt x="1570667" y="1273984"/>
                        </a:cubicBezTo>
                        <a:cubicBezTo>
                          <a:pt x="1570896" y="1274564"/>
                          <a:pt x="1570896" y="1275513"/>
                          <a:pt x="1570667" y="1276092"/>
                        </a:cubicBezTo>
                        <a:cubicBezTo>
                          <a:pt x="1570427" y="1276681"/>
                          <a:pt x="1570237" y="1276202"/>
                          <a:pt x="1570237" y="1275033"/>
                        </a:cubicBezTo>
                        <a:close/>
                        <a:moveTo>
                          <a:pt x="1570237" y="1253048"/>
                        </a:moveTo>
                        <a:cubicBezTo>
                          <a:pt x="1570237" y="1251889"/>
                          <a:pt x="1570427" y="1251409"/>
                          <a:pt x="1570667" y="1251989"/>
                        </a:cubicBezTo>
                        <a:cubicBezTo>
                          <a:pt x="1570896" y="1252578"/>
                          <a:pt x="1570896" y="1253527"/>
                          <a:pt x="1570667" y="1254107"/>
                        </a:cubicBezTo>
                        <a:cubicBezTo>
                          <a:pt x="1570427" y="1254686"/>
                          <a:pt x="1570237" y="1254216"/>
                          <a:pt x="1570237" y="1253048"/>
                        </a:cubicBezTo>
                        <a:close/>
                        <a:moveTo>
                          <a:pt x="439370" y="1249402"/>
                        </a:moveTo>
                        <a:cubicBezTo>
                          <a:pt x="439370" y="1249262"/>
                          <a:pt x="440607" y="1248023"/>
                          <a:pt x="442118" y="1246655"/>
                        </a:cubicBezTo>
                        <a:lnTo>
                          <a:pt x="444867" y="1244167"/>
                        </a:lnTo>
                        <a:lnTo>
                          <a:pt x="442383" y="1246924"/>
                        </a:lnTo>
                        <a:cubicBezTo>
                          <a:pt x="440067" y="1249482"/>
                          <a:pt x="439370" y="1250061"/>
                          <a:pt x="439370" y="1249402"/>
                        </a:cubicBezTo>
                        <a:close/>
                        <a:moveTo>
                          <a:pt x="1399158" y="1243119"/>
                        </a:moveTo>
                        <a:cubicBezTo>
                          <a:pt x="1398109" y="1241770"/>
                          <a:pt x="1398139" y="1241740"/>
                          <a:pt x="1399477" y="1242799"/>
                        </a:cubicBezTo>
                        <a:cubicBezTo>
                          <a:pt x="1400886" y="1243898"/>
                          <a:pt x="1401335" y="1244597"/>
                          <a:pt x="1400636" y="1244597"/>
                        </a:cubicBezTo>
                        <a:cubicBezTo>
                          <a:pt x="1400466" y="1244597"/>
                          <a:pt x="1399797" y="1243928"/>
                          <a:pt x="1399158" y="1243119"/>
                        </a:cubicBezTo>
                        <a:close/>
                        <a:moveTo>
                          <a:pt x="764974" y="1236986"/>
                        </a:moveTo>
                        <a:cubicBezTo>
                          <a:pt x="764974" y="1236516"/>
                          <a:pt x="765373" y="1236137"/>
                          <a:pt x="765872" y="1236137"/>
                        </a:cubicBezTo>
                        <a:cubicBezTo>
                          <a:pt x="766362" y="1236137"/>
                          <a:pt x="766532" y="1236516"/>
                          <a:pt x="766242" y="1236986"/>
                        </a:cubicBezTo>
                        <a:cubicBezTo>
                          <a:pt x="765952" y="1237445"/>
                          <a:pt x="765553" y="1237825"/>
                          <a:pt x="765343" y="1237825"/>
                        </a:cubicBezTo>
                        <a:cubicBezTo>
                          <a:pt x="765143" y="1237825"/>
                          <a:pt x="764974" y="1237445"/>
                          <a:pt x="764974" y="1236986"/>
                        </a:cubicBezTo>
                        <a:close/>
                        <a:moveTo>
                          <a:pt x="1389858" y="1233809"/>
                        </a:moveTo>
                        <a:cubicBezTo>
                          <a:pt x="1388809" y="1232471"/>
                          <a:pt x="1388839" y="1232441"/>
                          <a:pt x="1390178" y="1233489"/>
                        </a:cubicBezTo>
                        <a:cubicBezTo>
                          <a:pt x="1391586" y="1234598"/>
                          <a:pt x="1392036" y="1235287"/>
                          <a:pt x="1391336" y="1235287"/>
                        </a:cubicBezTo>
                        <a:cubicBezTo>
                          <a:pt x="1391157" y="1235287"/>
                          <a:pt x="1390497" y="1234628"/>
                          <a:pt x="1389858" y="1233809"/>
                        </a:cubicBezTo>
                        <a:close/>
                        <a:moveTo>
                          <a:pt x="1247776" y="1227047"/>
                        </a:moveTo>
                        <a:cubicBezTo>
                          <a:pt x="1246727" y="1225708"/>
                          <a:pt x="1246757" y="1225678"/>
                          <a:pt x="1248096" y="1226727"/>
                        </a:cubicBezTo>
                        <a:cubicBezTo>
                          <a:pt x="1248905" y="1227366"/>
                          <a:pt x="1249574" y="1228036"/>
                          <a:pt x="1249574" y="1228205"/>
                        </a:cubicBezTo>
                        <a:cubicBezTo>
                          <a:pt x="1249574" y="1228904"/>
                          <a:pt x="1248885" y="1228455"/>
                          <a:pt x="1247776" y="1227047"/>
                        </a:cubicBezTo>
                        <a:close/>
                        <a:moveTo>
                          <a:pt x="1241014" y="1221123"/>
                        </a:moveTo>
                        <a:cubicBezTo>
                          <a:pt x="1239955" y="1219785"/>
                          <a:pt x="1239985" y="1219755"/>
                          <a:pt x="1241333" y="1220804"/>
                        </a:cubicBezTo>
                        <a:cubicBezTo>
                          <a:pt x="1242142" y="1221443"/>
                          <a:pt x="1242812" y="1222112"/>
                          <a:pt x="1242812" y="1222282"/>
                        </a:cubicBezTo>
                        <a:cubicBezTo>
                          <a:pt x="1242812" y="1222981"/>
                          <a:pt x="1242112" y="1222532"/>
                          <a:pt x="1241014" y="1221123"/>
                        </a:cubicBezTo>
                        <a:close/>
                        <a:moveTo>
                          <a:pt x="1227978" y="1208867"/>
                        </a:moveTo>
                        <a:lnTo>
                          <a:pt x="1223783" y="1204422"/>
                        </a:lnTo>
                        <a:lnTo>
                          <a:pt x="1228218" y="1208617"/>
                        </a:lnTo>
                        <a:cubicBezTo>
                          <a:pt x="1232343" y="1212523"/>
                          <a:pt x="1233053" y="1213302"/>
                          <a:pt x="1232413" y="1213302"/>
                        </a:cubicBezTo>
                        <a:cubicBezTo>
                          <a:pt x="1232283" y="1213302"/>
                          <a:pt x="1230286" y="1211304"/>
                          <a:pt x="1227978" y="1208867"/>
                        </a:cubicBezTo>
                        <a:close/>
                        <a:moveTo>
                          <a:pt x="860537" y="1211294"/>
                        </a:moveTo>
                        <a:cubicBezTo>
                          <a:pt x="860537" y="1211114"/>
                          <a:pt x="861206" y="1210455"/>
                          <a:pt x="862025" y="1209816"/>
                        </a:cubicBezTo>
                        <a:cubicBezTo>
                          <a:pt x="863364" y="1208757"/>
                          <a:pt x="863394" y="1208787"/>
                          <a:pt x="862345" y="1210135"/>
                        </a:cubicBezTo>
                        <a:cubicBezTo>
                          <a:pt x="861236" y="1211544"/>
                          <a:pt x="860537" y="1211993"/>
                          <a:pt x="860537" y="1211294"/>
                        </a:cubicBezTo>
                        <a:close/>
                        <a:moveTo>
                          <a:pt x="458662" y="1208497"/>
                        </a:moveTo>
                        <a:cubicBezTo>
                          <a:pt x="459274" y="1208248"/>
                          <a:pt x="460003" y="1208278"/>
                          <a:pt x="460284" y="1208567"/>
                        </a:cubicBezTo>
                        <a:cubicBezTo>
                          <a:pt x="460565" y="1208847"/>
                          <a:pt x="460065" y="1209047"/>
                          <a:pt x="459174" y="1209007"/>
                        </a:cubicBezTo>
                        <a:cubicBezTo>
                          <a:pt x="458189" y="1208967"/>
                          <a:pt x="457988" y="1208767"/>
                          <a:pt x="458662" y="1208497"/>
                        </a:cubicBezTo>
                        <a:close/>
                        <a:moveTo>
                          <a:pt x="1306081" y="1208497"/>
                        </a:moveTo>
                        <a:cubicBezTo>
                          <a:pt x="1306690" y="1208248"/>
                          <a:pt x="1307420" y="1208278"/>
                          <a:pt x="1307699" y="1208567"/>
                        </a:cubicBezTo>
                        <a:cubicBezTo>
                          <a:pt x="1307979" y="1208847"/>
                          <a:pt x="1307480" y="1209047"/>
                          <a:pt x="1306591" y="1209007"/>
                        </a:cubicBezTo>
                        <a:cubicBezTo>
                          <a:pt x="1305602" y="1208967"/>
                          <a:pt x="1305402" y="1208767"/>
                          <a:pt x="1306081" y="1208497"/>
                        </a:cubicBezTo>
                        <a:close/>
                        <a:moveTo>
                          <a:pt x="1334839" y="1208497"/>
                        </a:moveTo>
                        <a:cubicBezTo>
                          <a:pt x="1335448" y="1208248"/>
                          <a:pt x="1336178" y="1208278"/>
                          <a:pt x="1336457" y="1208567"/>
                        </a:cubicBezTo>
                        <a:cubicBezTo>
                          <a:pt x="1336737" y="1208847"/>
                          <a:pt x="1336238" y="1209047"/>
                          <a:pt x="1335349" y="1209007"/>
                        </a:cubicBezTo>
                        <a:cubicBezTo>
                          <a:pt x="1334360" y="1208967"/>
                          <a:pt x="1334160" y="1208767"/>
                          <a:pt x="1334829" y="1208497"/>
                        </a:cubicBezTo>
                        <a:close/>
                        <a:moveTo>
                          <a:pt x="1317469" y="1207608"/>
                        </a:moveTo>
                        <a:cubicBezTo>
                          <a:pt x="1319696" y="1207428"/>
                          <a:pt x="1323122" y="1207428"/>
                          <a:pt x="1325080" y="1207618"/>
                        </a:cubicBezTo>
                        <a:cubicBezTo>
                          <a:pt x="1327048" y="1207788"/>
                          <a:pt x="1325220" y="1207938"/>
                          <a:pt x="1321035" y="1207928"/>
                        </a:cubicBezTo>
                        <a:cubicBezTo>
                          <a:pt x="1316849" y="1207928"/>
                          <a:pt x="1315251" y="1207788"/>
                          <a:pt x="1317469" y="1207608"/>
                        </a:cubicBezTo>
                        <a:close/>
                        <a:moveTo>
                          <a:pt x="440997" y="1199138"/>
                        </a:moveTo>
                        <a:lnTo>
                          <a:pt x="438946" y="1196810"/>
                        </a:lnTo>
                        <a:lnTo>
                          <a:pt x="441273" y="1198858"/>
                        </a:lnTo>
                        <a:cubicBezTo>
                          <a:pt x="443446" y="1200776"/>
                          <a:pt x="443986" y="1201465"/>
                          <a:pt x="443322" y="1201465"/>
                        </a:cubicBezTo>
                        <a:cubicBezTo>
                          <a:pt x="443172" y="1201465"/>
                          <a:pt x="442125" y="1200416"/>
                          <a:pt x="440997" y="1199138"/>
                        </a:cubicBezTo>
                        <a:close/>
                        <a:moveTo>
                          <a:pt x="1215242" y="1195332"/>
                        </a:moveTo>
                        <a:lnTo>
                          <a:pt x="1213634" y="1193424"/>
                        </a:lnTo>
                        <a:lnTo>
                          <a:pt x="1215532" y="1195042"/>
                        </a:lnTo>
                        <a:cubicBezTo>
                          <a:pt x="1216581" y="1195921"/>
                          <a:pt x="1217440" y="1196780"/>
                          <a:pt x="1217440" y="1196940"/>
                        </a:cubicBezTo>
                        <a:cubicBezTo>
                          <a:pt x="1217440" y="1197619"/>
                          <a:pt x="1216761" y="1197120"/>
                          <a:pt x="1215242" y="1195332"/>
                        </a:cubicBezTo>
                        <a:close/>
                        <a:moveTo>
                          <a:pt x="1209719" y="1188989"/>
                        </a:moveTo>
                        <a:cubicBezTo>
                          <a:pt x="1208670" y="1187651"/>
                          <a:pt x="1208700" y="1187621"/>
                          <a:pt x="1210038" y="1188669"/>
                        </a:cubicBezTo>
                        <a:cubicBezTo>
                          <a:pt x="1211446" y="1189778"/>
                          <a:pt x="1211896" y="1190467"/>
                          <a:pt x="1211197" y="1190467"/>
                        </a:cubicBezTo>
                        <a:cubicBezTo>
                          <a:pt x="1211017" y="1190467"/>
                          <a:pt x="1210358" y="1189798"/>
                          <a:pt x="1209719" y="1188989"/>
                        </a:cubicBezTo>
                        <a:close/>
                        <a:moveTo>
                          <a:pt x="1605628" y="1185073"/>
                        </a:moveTo>
                        <a:cubicBezTo>
                          <a:pt x="1605628" y="1184903"/>
                          <a:pt x="1606287" y="1184234"/>
                          <a:pt x="1607106" y="1183595"/>
                        </a:cubicBezTo>
                        <a:cubicBezTo>
                          <a:pt x="1608445" y="1182546"/>
                          <a:pt x="1608475" y="1182576"/>
                          <a:pt x="1607426" y="1183915"/>
                        </a:cubicBezTo>
                        <a:cubicBezTo>
                          <a:pt x="1606317" y="1185323"/>
                          <a:pt x="1605628" y="1185773"/>
                          <a:pt x="1605628" y="1185073"/>
                        </a:cubicBezTo>
                        <a:close/>
                        <a:moveTo>
                          <a:pt x="861326" y="1163617"/>
                        </a:moveTo>
                        <a:lnTo>
                          <a:pt x="859269" y="1161290"/>
                        </a:lnTo>
                        <a:lnTo>
                          <a:pt x="861596" y="1163338"/>
                        </a:lnTo>
                        <a:cubicBezTo>
                          <a:pt x="863774" y="1165255"/>
                          <a:pt x="864313" y="1165945"/>
                          <a:pt x="863644" y="1165945"/>
                        </a:cubicBezTo>
                        <a:cubicBezTo>
                          <a:pt x="863494" y="1165945"/>
                          <a:pt x="862455" y="1164896"/>
                          <a:pt x="861326" y="1163617"/>
                        </a:cubicBezTo>
                        <a:close/>
                        <a:moveTo>
                          <a:pt x="258808" y="1160021"/>
                        </a:moveTo>
                        <a:cubicBezTo>
                          <a:pt x="261569" y="1157234"/>
                          <a:pt x="264019" y="1154947"/>
                          <a:pt x="264252" y="1154947"/>
                        </a:cubicBezTo>
                        <a:cubicBezTo>
                          <a:pt x="264485" y="1154947"/>
                          <a:pt x="262415" y="1157234"/>
                          <a:pt x="259653" y="1160021"/>
                        </a:cubicBezTo>
                        <a:cubicBezTo>
                          <a:pt x="256891" y="1162818"/>
                          <a:pt x="254442" y="1165096"/>
                          <a:pt x="254209" y="1165096"/>
                        </a:cubicBezTo>
                        <a:cubicBezTo>
                          <a:pt x="253976" y="1165096"/>
                          <a:pt x="256046" y="1162818"/>
                          <a:pt x="258808" y="1160021"/>
                        </a:cubicBezTo>
                        <a:close/>
                        <a:moveTo>
                          <a:pt x="1685809" y="1159442"/>
                        </a:moveTo>
                        <a:cubicBezTo>
                          <a:pt x="1686418" y="1159202"/>
                          <a:pt x="1687147" y="1159232"/>
                          <a:pt x="1687427" y="1159512"/>
                        </a:cubicBezTo>
                        <a:cubicBezTo>
                          <a:pt x="1687716" y="1159792"/>
                          <a:pt x="1687217" y="1159991"/>
                          <a:pt x="1686318" y="1159961"/>
                        </a:cubicBezTo>
                        <a:cubicBezTo>
                          <a:pt x="1685339" y="1159921"/>
                          <a:pt x="1685139" y="1159722"/>
                          <a:pt x="1685809" y="1159452"/>
                        </a:cubicBezTo>
                        <a:close/>
                        <a:moveTo>
                          <a:pt x="1673083" y="1158583"/>
                        </a:moveTo>
                        <a:cubicBezTo>
                          <a:pt x="1674132" y="1158373"/>
                          <a:pt x="1675660" y="1158383"/>
                          <a:pt x="1676469" y="1158603"/>
                        </a:cubicBezTo>
                        <a:cubicBezTo>
                          <a:pt x="1677268" y="1158813"/>
                          <a:pt x="1676419" y="1158972"/>
                          <a:pt x="1674551" y="1158962"/>
                        </a:cubicBezTo>
                        <a:cubicBezTo>
                          <a:pt x="1672693" y="1158952"/>
                          <a:pt x="1672034" y="1158783"/>
                          <a:pt x="1673083" y="1158583"/>
                        </a:cubicBezTo>
                        <a:close/>
                        <a:moveTo>
                          <a:pt x="837083" y="1154338"/>
                        </a:moveTo>
                        <a:cubicBezTo>
                          <a:pt x="838372" y="1154148"/>
                          <a:pt x="840270" y="1154148"/>
                          <a:pt x="841309" y="1154348"/>
                        </a:cubicBezTo>
                        <a:cubicBezTo>
                          <a:pt x="842357" y="1154547"/>
                          <a:pt x="841299" y="1154707"/>
                          <a:pt x="838971" y="1154707"/>
                        </a:cubicBezTo>
                        <a:cubicBezTo>
                          <a:pt x="836654" y="1154697"/>
                          <a:pt x="835795" y="1154537"/>
                          <a:pt x="837083" y="1154338"/>
                        </a:cubicBezTo>
                        <a:close/>
                        <a:moveTo>
                          <a:pt x="1037190" y="1153469"/>
                        </a:moveTo>
                        <a:cubicBezTo>
                          <a:pt x="1036142" y="1152130"/>
                          <a:pt x="1036172" y="1152100"/>
                          <a:pt x="1037510" y="1153149"/>
                        </a:cubicBezTo>
                        <a:cubicBezTo>
                          <a:pt x="1038319" y="1153788"/>
                          <a:pt x="1038988" y="1154458"/>
                          <a:pt x="1038988" y="1154627"/>
                        </a:cubicBezTo>
                        <a:cubicBezTo>
                          <a:pt x="1038988" y="1155326"/>
                          <a:pt x="1038299" y="1154877"/>
                          <a:pt x="1037190" y="1153469"/>
                        </a:cubicBezTo>
                        <a:close/>
                        <a:moveTo>
                          <a:pt x="217682" y="1137396"/>
                        </a:moveTo>
                        <a:cubicBezTo>
                          <a:pt x="216630" y="1136058"/>
                          <a:pt x="216660" y="1136028"/>
                          <a:pt x="218001" y="1137077"/>
                        </a:cubicBezTo>
                        <a:cubicBezTo>
                          <a:pt x="218815" y="1137716"/>
                          <a:pt x="219482" y="1138385"/>
                          <a:pt x="219482" y="1138555"/>
                        </a:cubicBezTo>
                        <a:cubicBezTo>
                          <a:pt x="219482" y="1139254"/>
                          <a:pt x="218786" y="1138805"/>
                          <a:pt x="217682" y="1137396"/>
                        </a:cubicBezTo>
                        <a:close/>
                        <a:moveTo>
                          <a:pt x="1088044" y="1135179"/>
                        </a:moveTo>
                        <a:cubicBezTo>
                          <a:pt x="1088044" y="1134999"/>
                          <a:pt x="1088703" y="1134340"/>
                          <a:pt x="1089522" y="1133701"/>
                        </a:cubicBezTo>
                        <a:cubicBezTo>
                          <a:pt x="1090861" y="1132642"/>
                          <a:pt x="1090891" y="1132672"/>
                          <a:pt x="1089842" y="1134020"/>
                        </a:cubicBezTo>
                        <a:cubicBezTo>
                          <a:pt x="1088733" y="1135429"/>
                          <a:pt x="1088044" y="1135878"/>
                          <a:pt x="1088044" y="1135179"/>
                        </a:cubicBezTo>
                        <a:close/>
                        <a:moveTo>
                          <a:pt x="208379" y="1128946"/>
                        </a:moveTo>
                        <a:cubicBezTo>
                          <a:pt x="207327" y="1127597"/>
                          <a:pt x="207357" y="1127567"/>
                          <a:pt x="208699" y="1128626"/>
                        </a:cubicBezTo>
                        <a:cubicBezTo>
                          <a:pt x="209512" y="1129255"/>
                          <a:pt x="210178" y="1129925"/>
                          <a:pt x="210178" y="1130105"/>
                        </a:cubicBezTo>
                        <a:cubicBezTo>
                          <a:pt x="210178" y="1130794"/>
                          <a:pt x="209484" y="1130354"/>
                          <a:pt x="208379" y="1128946"/>
                        </a:cubicBezTo>
                        <a:close/>
                        <a:moveTo>
                          <a:pt x="1099881" y="1124081"/>
                        </a:moveTo>
                        <a:cubicBezTo>
                          <a:pt x="1100969" y="1122913"/>
                          <a:pt x="1102058" y="1121964"/>
                          <a:pt x="1102288" y="1121964"/>
                        </a:cubicBezTo>
                        <a:cubicBezTo>
                          <a:pt x="1102528" y="1121964"/>
                          <a:pt x="1101819" y="1122913"/>
                          <a:pt x="1100730" y="1124081"/>
                        </a:cubicBezTo>
                        <a:cubicBezTo>
                          <a:pt x="1099631" y="1125240"/>
                          <a:pt x="1098552" y="1126189"/>
                          <a:pt x="1098322" y="1126189"/>
                        </a:cubicBezTo>
                        <a:cubicBezTo>
                          <a:pt x="1098083" y="1126189"/>
                          <a:pt x="1098792" y="1125240"/>
                          <a:pt x="1099881" y="1124081"/>
                        </a:cubicBezTo>
                        <a:close/>
                        <a:moveTo>
                          <a:pt x="1454466" y="1119686"/>
                        </a:moveTo>
                        <a:cubicBezTo>
                          <a:pt x="1455295" y="1119476"/>
                          <a:pt x="1456434" y="1119486"/>
                          <a:pt x="1457003" y="1119716"/>
                        </a:cubicBezTo>
                        <a:cubicBezTo>
                          <a:pt x="1457572" y="1119946"/>
                          <a:pt x="1456903" y="1120126"/>
                          <a:pt x="1455505" y="1120106"/>
                        </a:cubicBezTo>
                        <a:cubicBezTo>
                          <a:pt x="1454116" y="1120086"/>
                          <a:pt x="1453647" y="1119896"/>
                          <a:pt x="1454466" y="1119686"/>
                        </a:cubicBezTo>
                        <a:close/>
                        <a:moveTo>
                          <a:pt x="1442240" y="1118847"/>
                        </a:moveTo>
                        <a:cubicBezTo>
                          <a:pt x="1442849" y="1118607"/>
                          <a:pt x="1443578" y="1118637"/>
                          <a:pt x="1443858" y="1118917"/>
                        </a:cubicBezTo>
                        <a:cubicBezTo>
                          <a:pt x="1444147" y="1119197"/>
                          <a:pt x="1443648" y="1119396"/>
                          <a:pt x="1442749" y="1119367"/>
                        </a:cubicBezTo>
                        <a:cubicBezTo>
                          <a:pt x="1441770" y="1119327"/>
                          <a:pt x="1441570" y="1119127"/>
                          <a:pt x="1442240" y="1118857"/>
                        </a:cubicBezTo>
                        <a:close/>
                        <a:moveTo>
                          <a:pt x="1467611" y="1118847"/>
                        </a:moveTo>
                        <a:cubicBezTo>
                          <a:pt x="1468221" y="1118607"/>
                          <a:pt x="1468950" y="1118637"/>
                          <a:pt x="1469230" y="1118917"/>
                        </a:cubicBezTo>
                        <a:cubicBezTo>
                          <a:pt x="1469519" y="1119197"/>
                          <a:pt x="1469020" y="1119396"/>
                          <a:pt x="1468121" y="1119367"/>
                        </a:cubicBezTo>
                        <a:cubicBezTo>
                          <a:pt x="1467142" y="1119327"/>
                          <a:pt x="1466942" y="1119127"/>
                          <a:pt x="1467611" y="1118857"/>
                        </a:cubicBezTo>
                        <a:close/>
                        <a:moveTo>
                          <a:pt x="1475223" y="1118008"/>
                        </a:moveTo>
                        <a:cubicBezTo>
                          <a:pt x="1475832" y="1117758"/>
                          <a:pt x="1476561" y="1117788"/>
                          <a:pt x="1476841" y="1118078"/>
                        </a:cubicBezTo>
                        <a:cubicBezTo>
                          <a:pt x="1477131" y="1118358"/>
                          <a:pt x="1476631" y="1118557"/>
                          <a:pt x="1475732" y="1118517"/>
                        </a:cubicBezTo>
                        <a:cubicBezTo>
                          <a:pt x="1474753" y="1118478"/>
                          <a:pt x="1474554" y="1118278"/>
                          <a:pt x="1475223" y="1118008"/>
                        </a:cubicBezTo>
                        <a:close/>
                        <a:moveTo>
                          <a:pt x="1480297" y="1117159"/>
                        </a:moveTo>
                        <a:cubicBezTo>
                          <a:pt x="1480907" y="1116909"/>
                          <a:pt x="1481636" y="1116939"/>
                          <a:pt x="1481916" y="1117229"/>
                        </a:cubicBezTo>
                        <a:cubicBezTo>
                          <a:pt x="1482205" y="1117509"/>
                          <a:pt x="1481706" y="1117708"/>
                          <a:pt x="1480807" y="1117668"/>
                        </a:cubicBezTo>
                        <a:cubicBezTo>
                          <a:pt x="1479828" y="1117628"/>
                          <a:pt x="1479628" y="1117429"/>
                          <a:pt x="1480297" y="1117159"/>
                        </a:cubicBezTo>
                        <a:close/>
                        <a:moveTo>
                          <a:pt x="372398" y="1107010"/>
                        </a:moveTo>
                        <a:cubicBezTo>
                          <a:pt x="373010" y="1106761"/>
                          <a:pt x="373739" y="1106791"/>
                          <a:pt x="374020" y="1107080"/>
                        </a:cubicBezTo>
                        <a:cubicBezTo>
                          <a:pt x="374300" y="1107360"/>
                          <a:pt x="373802" y="1107560"/>
                          <a:pt x="372910" y="1107520"/>
                        </a:cubicBezTo>
                        <a:cubicBezTo>
                          <a:pt x="371925" y="1107480"/>
                          <a:pt x="371724" y="1107280"/>
                          <a:pt x="372398" y="1107010"/>
                        </a:cubicBezTo>
                        <a:close/>
                        <a:moveTo>
                          <a:pt x="928891" y="1107010"/>
                        </a:moveTo>
                        <a:cubicBezTo>
                          <a:pt x="929500" y="1106761"/>
                          <a:pt x="930230" y="1106791"/>
                          <a:pt x="930509" y="1107080"/>
                        </a:cubicBezTo>
                        <a:cubicBezTo>
                          <a:pt x="930789" y="1107360"/>
                          <a:pt x="930289" y="1107560"/>
                          <a:pt x="929400" y="1107520"/>
                        </a:cubicBezTo>
                        <a:cubicBezTo>
                          <a:pt x="928412" y="1107480"/>
                          <a:pt x="928212" y="1107280"/>
                          <a:pt x="928881" y="1107010"/>
                        </a:cubicBezTo>
                        <a:close/>
                        <a:moveTo>
                          <a:pt x="1123135" y="1100817"/>
                        </a:moveTo>
                        <a:cubicBezTo>
                          <a:pt x="1123984" y="1099888"/>
                          <a:pt x="1124863" y="1099129"/>
                          <a:pt x="1125093" y="1099129"/>
                        </a:cubicBezTo>
                        <a:cubicBezTo>
                          <a:pt x="1125322" y="1099129"/>
                          <a:pt x="1124823" y="1099888"/>
                          <a:pt x="1123984" y="1100817"/>
                        </a:cubicBezTo>
                        <a:cubicBezTo>
                          <a:pt x="1123145" y="1101746"/>
                          <a:pt x="1122266" y="1102515"/>
                          <a:pt x="1122026" y="1102515"/>
                        </a:cubicBezTo>
                        <a:cubicBezTo>
                          <a:pt x="1121796" y="1102515"/>
                          <a:pt x="1122296" y="1101756"/>
                          <a:pt x="1123135" y="1100817"/>
                        </a:cubicBezTo>
                        <a:close/>
                        <a:moveTo>
                          <a:pt x="896127" y="1097791"/>
                        </a:moveTo>
                        <a:cubicBezTo>
                          <a:pt x="896167" y="1096802"/>
                          <a:pt x="896367" y="1096602"/>
                          <a:pt x="896637" y="1097281"/>
                        </a:cubicBezTo>
                        <a:cubicBezTo>
                          <a:pt x="896887" y="1097890"/>
                          <a:pt x="896857" y="1098620"/>
                          <a:pt x="896567" y="1098899"/>
                        </a:cubicBezTo>
                        <a:cubicBezTo>
                          <a:pt x="896287" y="1099179"/>
                          <a:pt x="896088" y="1098680"/>
                          <a:pt x="896127" y="1097791"/>
                        </a:cubicBezTo>
                        <a:close/>
                        <a:moveTo>
                          <a:pt x="174154" y="1094694"/>
                        </a:moveTo>
                        <a:lnTo>
                          <a:pt x="172543" y="1092786"/>
                        </a:lnTo>
                        <a:lnTo>
                          <a:pt x="174446" y="1094394"/>
                        </a:lnTo>
                        <a:cubicBezTo>
                          <a:pt x="176235" y="1095913"/>
                          <a:pt x="176734" y="1096592"/>
                          <a:pt x="176057" y="1096592"/>
                        </a:cubicBezTo>
                        <a:cubicBezTo>
                          <a:pt x="175897" y="1096592"/>
                          <a:pt x="175040" y="1095733"/>
                          <a:pt x="174154" y="1094694"/>
                        </a:cubicBezTo>
                        <a:close/>
                        <a:moveTo>
                          <a:pt x="896307" y="1091937"/>
                        </a:moveTo>
                        <a:cubicBezTo>
                          <a:pt x="896307" y="1089620"/>
                          <a:pt x="896477" y="1088761"/>
                          <a:pt x="896667" y="1090049"/>
                        </a:cubicBezTo>
                        <a:cubicBezTo>
                          <a:pt x="896867" y="1091338"/>
                          <a:pt x="896857" y="1093236"/>
                          <a:pt x="896657" y="1094274"/>
                        </a:cubicBezTo>
                        <a:cubicBezTo>
                          <a:pt x="896457" y="1095323"/>
                          <a:pt x="896297" y="1094265"/>
                          <a:pt x="896307" y="1091937"/>
                        </a:cubicBezTo>
                        <a:close/>
                        <a:moveTo>
                          <a:pt x="1132864" y="1090349"/>
                        </a:moveTo>
                        <a:cubicBezTo>
                          <a:pt x="1132864" y="1090179"/>
                          <a:pt x="1133533" y="1089510"/>
                          <a:pt x="1134342" y="1088870"/>
                        </a:cubicBezTo>
                        <a:cubicBezTo>
                          <a:pt x="1135691" y="1087822"/>
                          <a:pt x="1135711" y="1087852"/>
                          <a:pt x="1134662" y="1089190"/>
                        </a:cubicBezTo>
                        <a:cubicBezTo>
                          <a:pt x="1133563" y="1090599"/>
                          <a:pt x="1132864" y="1091048"/>
                          <a:pt x="1132864" y="1090349"/>
                        </a:cubicBezTo>
                        <a:close/>
                        <a:moveTo>
                          <a:pt x="1366174" y="1086653"/>
                        </a:moveTo>
                        <a:cubicBezTo>
                          <a:pt x="1365126" y="1085314"/>
                          <a:pt x="1365155" y="1085284"/>
                          <a:pt x="1366494" y="1086333"/>
                        </a:cubicBezTo>
                        <a:cubicBezTo>
                          <a:pt x="1367902" y="1087442"/>
                          <a:pt x="1368352" y="1088131"/>
                          <a:pt x="1367653" y="1088131"/>
                        </a:cubicBezTo>
                        <a:cubicBezTo>
                          <a:pt x="1367483" y="1088131"/>
                          <a:pt x="1366814" y="1087472"/>
                          <a:pt x="1366174" y="1086653"/>
                        </a:cubicBezTo>
                        <a:close/>
                        <a:moveTo>
                          <a:pt x="1546424" y="1085364"/>
                        </a:moveTo>
                        <a:cubicBezTo>
                          <a:pt x="1546424" y="1085235"/>
                          <a:pt x="1549370" y="1082288"/>
                          <a:pt x="1552976" y="1078812"/>
                        </a:cubicBezTo>
                        <a:lnTo>
                          <a:pt x="1559529" y="1072489"/>
                        </a:lnTo>
                        <a:lnTo>
                          <a:pt x="1553206" y="1079041"/>
                        </a:lnTo>
                        <a:cubicBezTo>
                          <a:pt x="1547343" y="1085135"/>
                          <a:pt x="1546424" y="1085984"/>
                          <a:pt x="1546424" y="1085364"/>
                        </a:cubicBezTo>
                        <a:close/>
                        <a:moveTo>
                          <a:pt x="1357724" y="1079041"/>
                        </a:moveTo>
                        <a:cubicBezTo>
                          <a:pt x="1356665" y="1077703"/>
                          <a:pt x="1356695" y="1077673"/>
                          <a:pt x="1358043" y="1078722"/>
                        </a:cubicBezTo>
                        <a:cubicBezTo>
                          <a:pt x="1359452" y="1079831"/>
                          <a:pt x="1359891" y="1080520"/>
                          <a:pt x="1359202" y="1080520"/>
                        </a:cubicBezTo>
                        <a:cubicBezTo>
                          <a:pt x="1359022" y="1080520"/>
                          <a:pt x="1358363" y="1079861"/>
                          <a:pt x="1357724" y="1079041"/>
                        </a:cubicBezTo>
                        <a:close/>
                        <a:moveTo>
                          <a:pt x="439370" y="1072649"/>
                        </a:moveTo>
                        <a:cubicBezTo>
                          <a:pt x="439370" y="1072499"/>
                          <a:pt x="440607" y="1071260"/>
                          <a:pt x="442118" y="1069902"/>
                        </a:cubicBezTo>
                        <a:lnTo>
                          <a:pt x="444867" y="1067414"/>
                        </a:lnTo>
                        <a:lnTo>
                          <a:pt x="442383" y="1070161"/>
                        </a:lnTo>
                        <a:cubicBezTo>
                          <a:pt x="440067" y="1072728"/>
                          <a:pt x="439370" y="1073298"/>
                          <a:pt x="439370" y="1072649"/>
                        </a:cubicBezTo>
                        <a:close/>
                        <a:moveTo>
                          <a:pt x="1350112" y="1070591"/>
                        </a:moveTo>
                        <a:cubicBezTo>
                          <a:pt x="1349053" y="1069242"/>
                          <a:pt x="1349083" y="1069212"/>
                          <a:pt x="1350432" y="1070271"/>
                        </a:cubicBezTo>
                        <a:cubicBezTo>
                          <a:pt x="1351241" y="1070900"/>
                          <a:pt x="1351910" y="1071570"/>
                          <a:pt x="1351910" y="1071750"/>
                        </a:cubicBezTo>
                        <a:cubicBezTo>
                          <a:pt x="1351910" y="1072439"/>
                          <a:pt x="1351211" y="1071999"/>
                          <a:pt x="1350112" y="1070591"/>
                        </a:cubicBezTo>
                        <a:close/>
                        <a:moveTo>
                          <a:pt x="423723" y="1052611"/>
                        </a:moveTo>
                        <a:cubicBezTo>
                          <a:pt x="424565" y="1051682"/>
                          <a:pt x="425444" y="1050923"/>
                          <a:pt x="425677" y="1050923"/>
                        </a:cubicBezTo>
                        <a:cubicBezTo>
                          <a:pt x="425910" y="1050923"/>
                          <a:pt x="425411" y="1051682"/>
                          <a:pt x="424569" y="1052611"/>
                        </a:cubicBezTo>
                        <a:cubicBezTo>
                          <a:pt x="423727" y="1053540"/>
                          <a:pt x="422848" y="1054309"/>
                          <a:pt x="422616" y="1054309"/>
                        </a:cubicBezTo>
                        <a:cubicBezTo>
                          <a:pt x="422384" y="1054309"/>
                          <a:pt x="422882" y="1053550"/>
                          <a:pt x="423723" y="1052611"/>
                        </a:cubicBezTo>
                        <a:close/>
                        <a:moveTo>
                          <a:pt x="601816" y="1050433"/>
                        </a:moveTo>
                        <a:cubicBezTo>
                          <a:pt x="601857" y="1049444"/>
                          <a:pt x="602057" y="1049245"/>
                          <a:pt x="602327" y="1049914"/>
                        </a:cubicBezTo>
                        <a:cubicBezTo>
                          <a:pt x="602571" y="1050533"/>
                          <a:pt x="602541" y="1051262"/>
                          <a:pt x="602260" y="1051542"/>
                        </a:cubicBezTo>
                        <a:cubicBezTo>
                          <a:pt x="601979" y="1051822"/>
                          <a:pt x="601779" y="1051322"/>
                          <a:pt x="601815" y="1050433"/>
                        </a:cubicBezTo>
                        <a:close/>
                        <a:moveTo>
                          <a:pt x="138291" y="1048915"/>
                        </a:moveTo>
                        <a:cubicBezTo>
                          <a:pt x="138291" y="1048735"/>
                          <a:pt x="138957" y="1048076"/>
                          <a:pt x="139771" y="1047437"/>
                        </a:cubicBezTo>
                        <a:cubicBezTo>
                          <a:pt x="141113" y="1046378"/>
                          <a:pt x="141143" y="1046408"/>
                          <a:pt x="140091" y="1047756"/>
                        </a:cubicBezTo>
                        <a:cubicBezTo>
                          <a:pt x="138986" y="1049165"/>
                          <a:pt x="138292" y="1049614"/>
                          <a:pt x="138292" y="1048915"/>
                        </a:cubicBezTo>
                        <a:close/>
                        <a:moveTo>
                          <a:pt x="1159924" y="1044580"/>
                        </a:moveTo>
                        <a:cubicBezTo>
                          <a:pt x="1157876" y="1042492"/>
                          <a:pt x="1156388" y="1040774"/>
                          <a:pt x="1156618" y="1040774"/>
                        </a:cubicBezTo>
                        <a:cubicBezTo>
                          <a:pt x="1156847" y="1040774"/>
                          <a:pt x="1158715" y="1042492"/>
                          <a:pt x="1160773" y="1044580"/>
                        </a:cubicBezTo>
                        <a:cubicBezTo>
                          <a:pt x="1162831" y="1046677"/>
                          <a:pt x="1164319" y="1048386"/>
                          <a:pt x="1164089" y="1048386"/>
                        </a:cubicBezTo>
                        <a:cubicBezTo>
                          <a:pt x="1163849" y="1048386"/>
                          <a:pt x="1161982" y="1046677"/>
                          <a:pt x="1159924" y="1044580"/>
                        </a:cubicBezTo>
                        <a:close/>
                        <a:moveTo>
                          <a:pt x="1205733" y="1043311"/>
                        </a:moveTo>
                        <a:cubicBezTo>
                          <a:pt x="1205733" y="1042152"/>
                          <a:pt x="1205923" y="1041673"/>
                          <a:pt x="1206152" y="1042252"/>
                        </a:cubicBezTo>
                        <a:cubicBezTo>
                          <a:pt x="1206392" y="1042832"/>
                          <a:pt x="1206392" y="1043791"/>
                          <a:pt x="1206152" y="1044370"/>
                        </a:cubicBezTo>
                        <a:cubicBezTo>
                          <a:pt x="1205923" y="1044949"/>
                          <a:pt x="1205733" y="1044480"/>
                          <a:pt x="1205733" y="1043311"/>
                        </a:cubicBezTo>
                        <a:close/>
                        <a:moveTo>
                          <a:pt x="147171" y="1039925"/>
                        </a:moveTo>
                        <a:cubicBezTo>
                          <a:pt x="148013" y="1038996"/>
                          <a:pt x="148892" y="1038237"/>
                          <a:pt x="149125" y="1038237"/>
                        </a:cubicBezTo>
                        <a:cubicBezTo>
                          <a:pt x="149358" y="1038237"/>
                          <a:pt x="148859" y="1038996"/>
                          <a:pt x="148017" y="1039925"/>
                        </a:cubicBezTo>
                        <a:cubicBezTo>
                          <a:pt x="147175" y="1040864"/>
                          <a:pt x="146296" y="1041623"/>
                          <a:pt x="146063" y="1041623"/>
                        </a:cubicBezTo>
                        <a:cubicBezTo>
                          <a:pt x="145832" y="1041623"/>
                          <a:pt x="146330" y="1040864"/>
                          <a:pt x="147171" y="1039925"/>
                        </a:cubicBezTo>
                        <a:close/>
                        <a:moveTo>
                          <a:pt x="599279" y="1030136"/>
                        </a:moveTo>
                        <a:cubicBezTo>
                          <a:pt x="599320" y="1029147"/>
                          <a:pt x="599520" y="1028947"/>
                          <a:pt x="599789" y="1029626"/>
                        </a:cubicBezTo>
                        <a:cubicBezTo>
                          <a:pt x="600034" y="1030236"/>
                          <a:pt x="600004" y="1030965"/>
                          <a:pt x="599722" y="1031245"/>
                        </a:cubicBezTo>
                        <a:cubicBezTo>
                          <a:pt x="599442" y="1031524"/>
                          <a:pt x="599242" y="1031025"/>
                          <a:pt x="599278" y="1030136"/>
                        </a:cubicBezTo>
                        <a:close/>
                        <a:moveTo>
                          <a:pt x="1206612" y="1028508"/>
                        </a:moveTo>
                        <a:cubicBezTo>
                          <a:pt x="1206632" y="1027119"/>
                          <a:pt x="1206812" y="1026650"/>
                          <a:pt x="1207032" y="1027469"/>
                        </a:cubicBezTo>
                        <a:cubicBezTo>
                          <a:pt x="1207241" y="1028298"/>
                          <a:pt x="1207231" y="1029437"/>
                          <a:pt x="1207001" y="1030006"/>
                        </a:cubicBezTo>
                        <a:cubicBezTo>
                          <a:pt x="1206772" y="1030585"/>
                          <a:pt x="1206592" y="1029906"/>
                          <a:pt x="1206612" y="1028508"/>
                        </a:cubicBezTo>
                        <a:close/>
                        <a:moveTo>
                          <a:pt x="1205663" y="1018289"/>
                        </a:moveTo>
                        <a:cubicBezTo>
                          <a:pt x="1205703" y="1017310"/>
                          <a:pt x="1205903" y="1017110"/>
                          <a:pt x="1206172" y="1017780"/>
                        </a:cubicBezTo>
                        <a:cubicBezTo>
                          <a:pt x="1206422" y="1018389"/>
                          <a:pt x="1206392" y="1019118"/>
                          <a:pt x="1206103" y="1019398"/>
                        </a:cubicBezTo>
                        <a:cubicBezTo>
                          <a:pt x="1205823" y="1019687"/>
                          <a:pt x="1205623" y="1019188"/>
                          <a:pt x="1205663" y="1018289"/>
                        </a:cubicBezTo>
                        <a:close/>
                        <a:moveTo>
                          <a:pt x="1734914" y="1007161"/>
                        </a:moveTo>
                        <a:cubicBezTo>
                          <a:pt x="1733865" y="1005813"/>
                          <a:pt x="1733895" y="1005783"/>
                          <a:pt x="1735234" y="1006842"/>
                        </a:cubicBezTo>
                        <a:cubicBezTo>
                          <a:pt x="1736043" y="1007471"/>
                          <a:pt x="1736712" y="1008140"/>
                          <a:pt x="1736712" y="1008320"/>
                        </a:cubicBezTo>
                        <a:cubicBezTo>
                          <a:pt x="1736712" y="1009009"/>
                          <a:pt x="1736023" y="1008570"/>
                          <a:pt x="1734914" y="1007161"/>
                        </a:cubicBezTo>
                        <a:close/>
                        <a:moveTo>
                          <a:pt x="1591314" y="1003915"/>
                        </a:moveTo>
                        <a:cubicBezTo>
                          <a:pt x="1591354" y="1002926"/>
                          <a:pt x="1591553" y="1002726"/>
                          <a:pt x="1591823" y="1003406"/>
                        </a:cubicBezTo>
                        <a:cubicBezTo>
                          <a:pt x="1592073" y="1004015"/>
                          <a:pt x="1592043" y="1004744"/>
                          <a:pt x="1591753" y="1005024"/>
                        </a:cubicBezTo>
                        <a:cubicBezTo>
                          <a:pt x="1591474" y="1005303"/>
                          <a:pt x="1591274" y="1004804"/>
                          <a:pt x="1591314" y="1003915"/>
                        </a:cubicBezTo>
                        <a:close/>
                        <a:moveTo>
                          <a:pt x="1592163" y="997992"/>
                        </a:moveTo>
                        <a:cubicBezTo>
                          <a:pt x="1592203" y="997013"/>
                          <a:pt x="1592402" y="996813"/>
                          <a:pt x="1592672" y="997482"/>
                        </a:cubicBezTo>
                        <a:cubicBezTo>
                          <a:pt x="1592912" y="998092"/>
                          <a:pt x="1592882" y="998821"/>
                          <a:pt x="1592602" y="999100"/>
                        </a:cubicBezTo>
                        <a:cubicBezTo>
                          <a:pt x="1592323" y="999390"/>
                          <a:pt x="1592123" y="998891"/>
                          <a:pt x="1592153" y="997992"/>
                        </a:cubicBezTo>
                        <a:close/>
                        <a:moveTo>
                          <a:pt x="1318208" y="994256"/>
                        </a:moveTo>
                        <a:cubicBezTo>
                          <a:pt x="1318208" y="993097"/>
                          <a:pt x="1318407" y="992618"/>
                          <a:pt x="1318637" y="993207"/>
                        </a:cubicBezTo>
                        <a:cubicBezTo>
                          <a:pt x="1318877" y="993786"/>
                          <a:pt x="1318877" y="994735"/>
                          <a:pt x="1318637" y="995315"/>
                        </a:cubicBezTo>
                        <a:cubicBezTo>
                          <a:pt x="1318407" y="995894"/>
                          <a:pt x="1318208" y="995425"/>
                          <a:pt x="1318208" y="994256"/>
                        </a:cubicBezTo>
                        <a:close/>
                        <a:moveTo>
                          <a:pt x="1593132" y="986644"/>
                        </a:moveTo>
                        <a:cubicBezTo>
                          <a:pt x="1593132" y="985016"/>
                          <a:pt x="1593311" y="984357"/>
                          <a:pt x="1593521" y="985166"/>
                        </a:cubicBezTo>
                        <a:cubicBezTo>
                          <a:pt x="1593731" y="985985"/>
                          <a:pt x="1593731" y="987314"/>
                          <a:pt x="1593521" y="988133"/>
                        </a:cubicBezTo>
                        <a:cubicBezTo>
                          <a:pt x="1593311" y="988942"/>
                          <a:pt x="1593132" y="988272"/>
                          <a:pt x="1593132" y="986644"/>
                        </a:cubicBezTo>
                        <a:close/>
                        <a:moveTo>
                          <a:pt x="1593132" y="977345"/>
                        </a:moveTo>
                        <a:cubicBezTo>
                          <a:pt x="1593132" y="975716"/>
                          <a:pt x="1593311" y="975047"/>
                          <a:pt x="1593521" y="975866"/>
                        </a:cubicBezTo>
                        <a:cubicBezTo>
                          <a:pt x="1593731" y="976675"/>
                          <a:pt x="1593731" y="978014"/>
                          <a:pt x="1593521" y="978823"/>
                        </a:cubicBezTo>
                        <a:cubicBezTo>
                          <a:pt x="1593311" y="979642"/>
                          <a:pt x="1593132" y="978973"/>
                          <a:pt x="1593132" y="977345"/>
                        </a:cubicBezTo>
                        <a:close/>
                        <a:moveTo>
                          <a:pt x="1318248" y="969314"/>
                        </a:moveTo>
                        <a:cubicBezTo>
                          <a:pt x="1318268" y="967915"/>
                          <a:pt x="1318447" y="967446"/>
                          <a:pt x="1318667" y="968275"/>
                        </a:cubicBezTo>
                        <a:cubicBezTo>
                          <a:pt x="1318877" y="969094"/>
                          <a:pt x="1318867" y="970233"/>
                          <a:pt x="1318637" y="970812"/>
                        </a:cubicBezTo>
                        <a:cubicBezTo>
                          <a:pt x="1318407" y="971381"/>
                          <a:pt x="1318228" y="970702"/>
                          <a:pt x="1318248" y="969314"/>
                        </a:cubicBezTo>
                        <a:close/>
                        <a:moveTo>
                          <a:pt x="1592163" y="965857"/>
                        </a:moveTo>
                        <a:cubicBezTo>
                          <a:pt x="1592203" y="964868"/>
                          <a:pt x="1592402" y="964669"/>
                          <a:pt x="1592672" y="965348"/>
                        </a:cubicBezTo>
                        <a:cubicBezTo>
                          <a:pt x="1592912" y="965957"/>
                          <a:pt x="1592882" y="966687"/>
                          <a:pt x="1592602" y="966966"/>
                        </a:cubicBezTo>
                        <a:cubicBezTo>
                          <a:pt x="1592323" y="967246"/>
                          <a:pt x="1592123" y="966746"/>
                          <a:pt x="1592153" y="965857"/>
                        </a:cubicBezTo>
                        <a:close/>
                        <a:moveTo>
                          <a:pt x="633108" y="948946"/>
                        </a:moveTo>
                        <a:cubicBezTo>
                          <a:pt x="633149" y="947957"/>
                          <a:pt x="633349" y="947758"/>
                          <a:pt x="633619" y="948437"/>
                        </a:cubicBezTo>
                        <a:cubicBezTo>
                          <a:pt x="633863" y="949046"/>
                          <a:pt x="633833" y="949775"/>
                          <a:pt x="633552" y="950055"/>
                        </a:cubicBezTo>
                        <a:cubicBezTo>
                          <a:pt x="633271" y="950335"/>
                          <a:pt x="633071" y="949835"/>
                          <a:pt x="633107" y="948946"/>
                        </a:cubicBezTo>
                        <a:close/>
                        <a:moveTo>
                          <a:pt x="1704737" y="942244"/>
                        </a:moveTo>
                        <a:cubicBezTo>
                          <a:pt x="1704757" y="940855"/>
                          <a:pt x="1704947" y="940386"/>
                          <a:pt x="1705157" y="941205"/>
                        </a:cubicBezTo>
                        <a:cubicBezTo>
                          <a:pt x="1705377" y="942034"/>
                          <a:pt x="1705367" y="943173"/>
                          <a:pt x="1705127" y="943742"/>
                        </a:cubicBezTo>
                        <a:cubicBezTo>
                          <a:pt x="1704897" y="944311"/>
                          <a:pt x="1704727" y="943642"/>
                          <a:pt x="1704737" y="942244"/>
                        </a:cubicBezTo>
                        <a:close/>
                        <a:moveTo>
                          <a:pt x="1107562" y="936260"/>
                        </a:moveTo>
                        <a:cubicBezTo>
                          <a:pt x="1107602" y="935271"/>
                          <a:pt x="1107802" y="935072"/>
                          <a:pt x="1108072" y="935751"/>
                        </a:cubicBezTo>
                        <a:cubicBezTo>
                          <a:pt x="1108311" y="936360"/>
                          <a:pt x="1108281" y="937089"/>
                          <a:pt x="1108002" y="937369"/>
                        </a:cubicBezTo>
                        <a:cubicBezTo>
                          <a:pt x="1107722" y="937649"/>
                          <a:pt x="1107522" y="937149"/>
                          <a:pt x="1107552" y="936260"/>
                        </a:cubicBezTo>
                        <a:close/>
                        <a:moveTo>
                          <a:pt x="195868" y="930337"/>
                        </a:moveTo>
                        <a:cubicBezTo>
                          <a:pt x="195909" y="929348"/>
                          <a:pt x="196109" y="929148"/>
                          <a:pt x="196378" y="929828"/>
                        </a:cubicBezTo>
                        <a:cubicBezTo>
                          <a:pt x="196623" y="930437"/>
                          <a:pt x="196593" y="931166"/>
                          <a:pt x="196311" y="931446"/>
                        </a:cubicBezTo>
                        <a:cubicBezTo>
                          <a:pt x="196031" y="931725"/>
                          <a:pt x="195831" y="931226"/>
                          <a:pt x="195868" y="930337"/>
                        </a:cubicBezTo>
                        <a:close/>
                        <a:moveTo>
                          <a:pt x="1106783" y="926601"/>
                        </a:moveTo>
                        <a:cubicBezTo>
                          <a:pt x="1106783" y="925442"/>
                          <a:pt x="1106973" y="924963"/>
                          <a:pt x="1107203" y="925542"/>
                        </a:cubicBezTo>
                        <a:cubicBezTo>
                          <a:pt x="1107442" y="926122"/>
                          <a:pt x="1107442" y="927081"/>
                          <a:pt x="1107203" y="927660"/>
                        </a:cubicBezTo>
                        <a:cubicBezTo>
                          <a:pt x="1106973" y="928239"/>
                          <a:pt x="1106783" y="927770"/>
                          <a:pt x="1106783" y="926601"/>
                        </a:cubicBezTo>
                        <a:close/>
                        <a:moveTo>
                          <a:pt x="1138847" y="926112"/>
                        </a:moveTo>
                        <a:cubicBezTo>
                          <a:pt x="1138887" y="925123"/>
                          <a:pt x="1139097" y="924923"/>
                          <a:pt x="1139367" y="925602"/>
                        </a:cubicBezTo>
                        <a:cubicBezTo>
                          <a:pt x="1139607" y="926212"/>
                          <a:pt x="1139577" y="926941"/>
                          <a:pt x="1139297" y="927220"/>
                        </a:cubicBezTo>
                        <a:cubicBezTo>
                          <a:pt x="1139017" y="927500"/>
                          <a:pt x="1138817" y="927001"/>
                          <a:pt x="1138847" y="926112"/>
                        </a:cubicBezTo>
                        <a:close/>
                        <a:moveTo>
                          <a:pt x="1704767" y="924064"/>
                        </a:moveTo>
                        <a:cubicBezTo>
                          <a:pt x="1704767" y="922436"/>
                          <a:pt x="1704947" y="921767"/>
                          <a:pt x="1705157" y="922586"/>
                        </a:cubicBezTo>
                        <a:cubicBezTo>
                          <a:pt x="1705367" y="923395"/>
                          <a:pt x="1705367" y="924733"/>
                          <a:pt x="1705157" y="925542"/>
                        </a:cubicBezTo>
                        <a:cubicBezTo>
                          <a:pt x="1704947" y="926361"/>
                          <a:pt x="1704767" y="925692"/>
                          <a:pt x="1704767" y="924064"/>
                        </a:cubicBezTo>
                        <a:close/>
                        <a:moveTo>
                          <a:pt x="925665" y="918570"/>
                        </a:moveTo>
                        <a:cubicBezTo>
                          <a:pt x="926753" y="917401"/>
                          <a:pt x="927842" y="916452"/>
                          <a:pt x="928072" y="916452"/>
                        </a:cubicBezTo>
                        <a:cubicBezTo>
                          <a:pt x="928302" y="916452"/>
                          <a:pt x="927602" y="917401"/>
                          <a:pt x="926504" y="918570"/>
                        </a:cubicBezTo>
                        <a:cubicBezTo>
                          <a:pt x="925415" y="919729"/>
                          <a:pt x="924336" y="920678"/>
                          <a:pt x="924096" y="920678"/>
                        </a:cubicBezTo>
                        <a:cubicBezTo>
                          <a:pt x="923867" y="920678"/>
                          <a:pt x="924566" y="919729"/>
                          <a:pt x="925665" y="918570"/>
                        </a:cubicBezTo>
                        <a:close/>
                        <a:moveTo>
                          <a:pt x="369067" y="909900"/>
                        </a:moveTo>
                        <a:cubicBezTo>
                          <a:pt x="368015" y="908561"/>
                          <a:pt x="368045" y="908531"/>
                          <a:pt x="369386" y="909580"/>
                        </a:cubicBezTo>
                        <a:cubicBezTo>
                          <a:pt x="370200" y="910219"/>
                          <a:pt x="370866" y="910889"/>
                          <a:pt x="370866" y="911058"/>
                        </a:cubicBezTo>
                        <a:cubicBezTo>
                          <a:pt x="370866" y="911758"/>
                          <a:pt x="370172" y="911308"/>
                          <a:pt x="369067" y="909900"/>
                        </a:cubicBezTo>
                        <a:close/>
                        <a:moveTo>
                          <a:pt x="584056" y="907502"/>
                        </a:moveTo>
                        <a:cubicBezTo>
                          <a:pt x="584097" y="906513"/>
                          <a:pt x="584297" y="906314"/>
                          <a:pt x="584566" y="906993"/>
                        </a:cubicBezTo>
                        <a:cubicBezTo>
                          <a:pt x="584811" y="907602"/>
                          <a:pt x="584781" y="908332"/>
                          <a:pt x="584500" y="908611"/>
                        </a:cubicBezTo>
                        <a:cubicBezTo>
                          <a:pt x="584219" y="908891"/>
                          <a:pt x="584019" y="908391"/>
                          <a:pt x="584056" y="907502"/>
                        </a:cubicBezTo>
                        <a:close/>
                        <a:moveTo>
                          <a:pt x="1106783" y="904616"/>
                        </a:moveTo>
                        <a:cubicBezTo>
                          <a:pt x="1106783" y="903447"/>
                          <a:pt x="1106973" y="902977"/>
                          <a:pt x="1107203" y="903557"/>
                        </a:cubicBezTo>
                        <a:cubicBezTo>
                          <a:pt x="1107442" y="904136"/>
                          <a:pt x="1107442" y="905085"/>
                          <a:pt x="1107203" y="905674"/>
                        </a:cubicBezTo>
                        <a:cubicBezTo>
                          <a:pt x="1106973" y="906254"/>
                          <a:pt x="1106783" y="905774"/>
                          <a:pt x="1106783" y="904616"/>
                        </a:cubicBezTo>
                        <a:close/>
                        <a:moveTo>
                          <a:pt x="195868" y="899891"/>
                        </a:moveTo>
                        <a:cubicBezTo>
                          <a:pt x="195909" y="898902"/>
                          <a:pt x="196109" y="898702"/>
                          <a:pt x="196378" y="899381"/>
                        </a:cubicBezTo>
                        <a:cubicBezTo>
                          <a:pt x="196623" y="899991"/>
                          <a:pt x="196593" y="900720"/>
                          <a:pt x="196311" y="901000"/>
                        </a:cubicBezTo>
                        <a:cubicBezTo>
                          <a:pt x="196031" y="901279"/>
                          <a:pt x="195831" y="900780"/>
                          <a:pt x="195868" y="899891"/>
                        </a:cubicBezTo>
                        <a:close/>
                        <a:moveTo>
                          <a:pt x="1107562" y="894816"/>
                        </a:moveTo>
                        <a:cubicBezTo>
                          <a:pt x="1107602" y="893828"/>
                          <a:pt x="1107802" y="893628"/>
                          <a:pt x="1108072" y="894307"/>
                        </a:cubicBezTo>
                        <a:cubicBezTo>
                          <a:pt x="1108311" y="894916"/>
                          <a:pt x="1108281" y="895646"/>
                          <a:pt x="1108002" y="895925"/>
                        </a:cubicBezTo>
                        <a:cubicBezTo>
                          <a:pt x="1107722" y="896205"/>
                          <a:pt x="1107522" y="895706"/>
                          <a:pt x="1107552" y="894816"/>
                        </a:cubicBezTo>
                        <a:close/>
                        <a:moveTo>
                          <a:pt x="1559000" y="891290"/>
                        </a:moveTo>
                        <a:cubicBezTo>
                          <a:pt x="1557951" y="889952"/>
                          <a:pt x="1557981" y="889922"/>
                          <a:pt x="1559319" y="890971"/>
                        </a:cubicBezTo>
                        <a:cubicBezTo>
                          <a:pt x="1560728" y="892080"/>
                          <a:pt x="1561177" y="892769"/>
                          <a:pt x="1560478" y="892769"/>
                        </a:cubicBezTo>
                        <a:cubicBezTo>
                          <a:pt x="1560308" y="892769"/>
                          <a:pt x="1559639" y="892110"/>
                          <a:pt x="1559000" y="891290"/>
                        </a:cubicBezTo>
                        <a:close/>
                        <a:moveTo>
                          <a:pt x="1358253" y="884318"/>
                        </a:moveTo>
                        <a:cubicBezTo>
                          <a:pt x="1361010" y="881521"/>
                          <a:pt x="1363457" y="879244"/>
                          <a:pt x="1363697" y="879244"/>
                        </a:cubicBezTo>
                        <a:cubicBezTo>
                          <a:pt x="1363927" y="879244"/>
                          <a:pt x="1361859" y="881521"/>
                          <a:pt x="1359092" y="884318"/>
                        </a:cubicBezTo>
                        <a:cubicBezTo>
                          <a:pt x="1356335" y="887105"/>
                          <a:pt x="1353888" y="889393"/>
                          <a:pt x="1353648" y="889393"/>
                        </a:cubicBezTo>
                        <a:cubicBezTo>
                          <a:pt x="1353419" y="889393"/>
                          <a:pt x="1355486" y="887105"/>
                          <a:pt x="1358253" y="884318"/>
                        </a:cubicBezTo>
                        <a:close/>
                        <a:moveTo>
                          <a:pt x="1545475" y="877765"/>
                        </a:moveTo>
                        <a:cubicBezTo>
                          <a:pt x="1544416" y="876417"/>
                          <a:pt x="1544446" y="876387"/>
                          <a:pt x="1545794" y="877446"/>
                        </a:cubicBezTo>
                        <a:cubicBezTo>
                          <a:pt x="1547203" y="878545"/>
                          <a:pt x="1547642" y="879244"/>
                          <a:pt x="1546953" y="879244"/>
                        </a:cubicBezTo>
                        <a:cubicBezTo>
                          <a:pt x="1546773" y="879244"/>
                          <a:pt x="1546114" y="878575"/>
                          <a:pt x="1545475" y="877765"/>
                        </a:cubicBezTo>
                        <a:close/>
                        <a:moveTo>
                          <a:pt x="679618" y="871982"/>
                        </a:moveTo>
                        <a:cubicBezTo>
                          <a:pt x="679658" y="870993"/>
                          <a:pt x="679868" y="870793"/>
                          <a:pt x="680138" y="871473"/>
                        </a:cubicBezTo>
                        <a:cubicBezTo>
                          <a:pt x="680378" y="872082"/>
                          <a:pt x="680348" y="872811"/>
                          <a:pt x="680068" y="873091"/>
                        </a:cubicBezTo>
                        <a:cubicBezTo>
                          <a:pt x="679788" y="873370"/>
                          <a:pt x="679579" y="872871"/>
                          <a:pt x="679618" y="871982"/>
                        </a:cubicBezTo>
                        <a:close/>
                        <a:moveTo>
                          <a:pt x="724449" y="864370"/>
                        </a:moveTo>
                        <a:cubicBezTo>
                          <a:pt x="724489" y="863382"/>
                          <a:pt x="724688" y="863182"/>
                          <a:pt x="724958" y="863861"/>
                        </a:cubicBezTo>
                        <a:cubicBezTo>
                          <a:pt x="725198" y="864470"/>
                          <a:pt x="725168" y="865199"/>
                          <a:pt x="724888" y="865479"/>
                        </a:cubicBezTo>
                        <a:cubicBezTo>
                          <a:pt x="724608" y="865759"/>
                          <a:pt x="724409" y="865259"/>
                          <a:pt x="724439" y="864370"/>
                        </a:cubicBezTo>
                        <a:close/>
                        <a:moveTo>
                          <a:pt x="682156" y="851685"/>
                        </a:moveTo>
                        <a:cubicBezTo>
                          <a:pt x="682196" y="850696"/>
                          <a:pt x="682405" y="850496"/>
                          <a:pt x="682675" y="851175"/>
                        </a:cubicBezTo>
                        <a:cubicBezTo>
                          <a:pt x="682915" y="851784"/>
                          <a:pt x="682885" y="852514"/>
                          <a:pt x="682605" y="852793"/>
                        </a:cubicBezTo>
                        <a:cubicBezTo>
                          <a:pt x="682325" y="853073"/>
                          <a:pt x="682116" y="852574"/>
                          <a:pt x="682156" y="851685"/>
                        </a:cubicBezTo>
                        <a:close/>
                        <a:moveTo>
                          <a:pt x="726137" y="850835"/>
                        </a:moveTo>
                        <a:cubicBezTo>
                          <a:pt x="726177" y="849857"/>
                          <a:pt x="726376" y="849657"/>
                          <a:pt x="726646" y="850326"/>
                        </a:cubicBezTo>
                        <a:cubicBezTo>
                          <a:pt x="726896" y="850935"/>
                          <a:pt x="726866" y="851665"/>
                          <a:pt x="726576" y="851944"/>
                        </a:cubicBezTo>
                        <a:cubicBezTo>
                          <a:pt x="726297" y="852234"/>
                          <a:pt x="726097" y="851735"/>
                          <a:pt x="726137" y="850835"/>
                        </a:cubicBezTo>
                        <a:close/>
                        <a:moveTo>
                          <a:pt x="1439703" y="844832"/>
                        </a:moveTo>
                        <a:cubicBezTo>
                          <a:pt x="1440312" y="844592"/>
                          <a:pt x="1441041" y="844622"/>
                          <a:pt x="1441321" y="844902"/>
                        </a:cubicBezTo>
                        <a:cubicBezTo>
                          <a:pt x="1441610" y="845182"/>
                          <a:pt x="1441111" y="845382"/>
                          <a:pt x="1440212" y="845352"/>
                        </a:cubicBezTo>
                        <a:cubicBezTo>
                          <a:pt x="1439233" y="845312"/>
                          <a:pt x="1439033" y="845112"/>
                          <a:pt x="1439703" y="844842"/>
                        </a:cubicBezTo>
                        <a:close/>
                        <a:moveTo>
                          <a:pt x="1470998" y="844832"/>
                        </a:moveTo>
                        <a:cubicBezTo>
                          <a:pt x="1471607" y="844592"/>
                          <a:pt x="1472336" y="844622"/>
                          <a:pt x="1472616" y="844902"/>
                        </a:cubicBezTo>
                        <a:cubicBezTo>
                          <a:pt x="1472896" y="845182"/>
                          <a:pt x="1472396" y="845382"/>
                          <a:pt x="1471507" y="845352"/>
                        </a:cubicBezTo>
                        <a:cubicBezTo>
                          <a:pt x="1470518" y="845312"/>
                          <a:pt x="1470318" y="845112"/>
                          <a:pt x="1470998" y="844842"/>
                        </a:cubicBezTo>
                        <a:close/>
                        <a:moveTo>
                          <a:pt x="1451919" y="843943"/>
                        </a:moveTo>
                        <a:cubicBezTo>
                          <a:pt x="1454126" y="843773"/>
                          <a:pt x="1457742" y="843773"/>
                          <a:pt x="1459950" y="843943"/>
                        </a:cubicBezTo>
                        <a:cubicBezTo>
                          <a:pt x="1462158" y="844123"/>
                          <a:pt x="1460349" y="844263"/>
                          <a:pt x="1455934" y="844263"/>
                        </a:cubicBezTo>
                        <a:cubicBezTo>
                          <a:pt x="1451509" y="844263"/>
                          <a:pt x="1449701" y="844123"/>
                          <a:pt x="1451919" y="843943"/>
                        </a:cubicBezTo>
                        <a:close/>
                        <a:moveTo>
                          <a:pt x="728674" y="830538"/>
                        </a:moveTo>
                        <a:cubicBezTo>
                          <a:pt x="728714" y="829559"/>
                          <a:pt x="728914" y="829359"/>
                          <a:pt x="729183" y="830029"/>
                        </a:cubicBezTo>
                        <a:cubicBezTo>
                          <a:pt x="729433" y="830638"/>
                          <a:pt x="729403" y="831367"/>
                          <a:pt x="729113" y="831647"/>
                        </a:cubicBezTo>
                        <a:cubicBezTo>
                          <a:pt x="728834" y="831927"/>
                          <a:pt x="728634" y="831427"/>
                          <a:pt x="728674" y="830538"/>
                        </a:cubicBezTo>
                        <a:close/>
                        <a:moveTo>
                          <a:pt x="617885" y="826313"/>
                        </a:moveTo>
                        <a:cubicBezTo>
                          <a:pt x="617926" y="825324"/>
                          <a:pt x="618126" y="825124"/>
                          <a:pt x="618396" y="825803"/>
                        </a:cubicBezTo>
                        <a:cubicBezTo>
                          <a:pt x="618640" y="826413"/>
                          <a:pt x="618610" y="827142"/>
                          <a:pt x="618329" y="827422"/>
                        </a:cubicBezTo>
                        <a:cubicBezTo>
                          <a:pt x="618048" y="827701"/>
                          <a:pt x="617848" y="827202"/>
                          <a:pt x="617884" y="826313"/>
                        </a:cubicBezTo>
                        <a:close/>
                        <a:moveTo>
                          <a:pt x="615348" y="806015"/>
                        </a:moveTo>
                        <a:cubicBezTo>
                          <a:pt x="615389" y="805026"/>
                          <a:pt x="615589" y="804827"/>
                          <a:pt x="615858" y="805506"/>
                        </a:cubicBezTo>
                        <a:cubicBezTo>
                          <a:pt x="616103" y="806115"/>
                          <a:pt x="616073" y="806844"/>
                          <a:pt x="615792" y="807124"/>
                        </a:cubicBezTo>
                        <a:cubicBezTo>
                          <a:pt x="615511" y="807404"/>
                          <a:pt x="615311" y="806904"/>
                          <a:pt x="615347" y="806015"/>
                        </a:cubicBezTo>
                        <a:close/>
                        <a:moveTo>
                          <a:pt x="1226530" y="804257"/>
                        </a:moveTo>
                        <a:cubicBezTo>
                          <a:pt x="1227109" y="804018"/>
                          <a:pt x="1228058" y="804018"/>
                          <a:pt x="1228647" y="804257"/>
                        </a:cubicBezTo>
                        <a:cubicBezTo>
                          <a:pt x="1229227" y="804487"/>
                          <a:pt x="1228747" y="804687"/>
                          <a:pt x="1227589" y="804687"/>
                        </a:cubicBezTo>
                        <a:cubicBezTo>
                          <a:pt x="1226420" y="804687"/>
                          <a:pt x="1225950" y="804487"/>
                          <a:pt x="1226530" y="804257"/>
                        </a:cubicBezTo>
                        <a:close/>
                        <a:moveTo>
                          <a:pt x="1245189" y="804237"/>
                        </a:moveTo>
                        <a:cubicBezTo>
                          <a:pt x="1245798" y="803988"/>
                          <a:pt x="1246528" y="804018"/>
                          <a:pt x="1246807" y="804307"/>
                        </a:cubicBezTo>
                        <a:cubicBezTo>
                          <a:pt x="1247087" y="804587"/>
                          <a:pt x="1246587" y="804787"/>
                          <a:pt x="1245698" y="804747"/>
                        </a:cubicBezTo>
                        <a:cubicBezTo>
                          <a:pt x="1244709" y="804707"/>
                          <a:pt x="1244510" y="804507"/>
                          <a:pt x="1245189" y="804237"/>
                        </a:cubicBezTo>
                        <a:close/>
                        <a:moveTo>
                          <a:pt x="1219817" y="803388"/>
                        </a:moveTo>
                        <a:cubicBezTo>
                          <a:pt x="1220426" y="803149"/>
                          <a:pt x="1221156" y="803179"/>
                          <a:pt x="1221435" y="803458"/>
                        </a:cubicBezTo>
                        <a:cubicBezTo>
                          <a:pt x="1221715" y="803738"/>
                          <a:pt x="1221216" y="803938"/>
                          <a:pt x="1220327" y="803908"/>
                        </a:cubicBezTo>
                        <a:cubicBezTo>
                          <a:pt x="1219338" y="803868"/>
                          <a:pt x="1219138" y="803668"/>
                          <a:pt x="1219817" y="803398"/>
                        </a:cubicBezTo>
                        <a:close/>
                        <a:moveTo>
                          <a:pt x="1251951" y="803388"/>
                        </a:moveTo>
                        <a:cubicBezTo>
                          <a:pt x="1252561" y="803149"/>
                          <a:pt x="1253290" y="803179"/>
                          <a:pt x="1253570" y="803458"/>
                        </a:cubicBezTo>
                        <a:cubicBezTo>
                          <a:pt x="1253859" y="803738"/>
                          <a:pt x="1253360" y="803938"/>
                          <a:pt x="1252461" y="803908"/>
                        </a:cubicBezTo>
                        <a:cubicBezTo>
                          <a:pt x="1251482" y="803868"/>
                          <a:pt x="1251282" y="803668"/>
                          <a:pt x="1251951" y="803398"/>
                        </a:cubicBezTo>
                        <a:close/>
                        <a:moveTo>
                          <a:pt x="1159504" y="787057"/>
                        </a:moveTo>
                        <a:cubicBezTo>
                          <a:pt x="1161322" y="785189"/>
                          <a:pt x="1163000" y="783670"/>
                          <a:pt x="1163230" y="783670"/>
                        </a:cubicBezTo>
                        <a:cubicBezTo>
                          <a:pt x="1163460" y="783670"/>
                          <a:pt x="1162171" y="785189"/>
                          <a:pt x="1160353" y="787057"/>
                        </a:cubicBezTo>
                        <a:cubicBezTo>
                          <a:pt x="1158535" y="788914"/>
                          <a:pt x="1156857" y="790433"/>
                          <a:pt x="1156628" y="790433"/>
                        </a:cubicBezTo>
                        <a:cubicBezTo>
                          <a:pt x="1156388" y="790433"/>
                          <a:pt x="1157686" y="788914"/>
                          <a:pt x="1159504" y="787057"/>
                        </a:cubicBezTo>
                        <a:close/>
                        <a:moveTo>
                          <a:pt x="1699393" y="772892"/>
                        </a:moveTo>
                        <a:cubicBezTo>
                          <a:pt x="1698345" y="771544"/>
                          <a:pt x="1698375" y="771514"/>
                          <a:pt x="1699713" y="772573"/>
                        </a:cubicBezTo>
                        <a:cubicBezTo>
                          <a:pt x="1700522" y="773202"/>
                          <a:pt x="1701191" y="773871"/>
                          <a:pt x="1701191" y="774051"/>
                        </a:cubicBezTo>
                        <a:cubicBezTo>
                          <a:pt x="1701191" y="774740"/>
                          <a:pt x="1700502" y="774301"/>
                          <a:pt x="1699393" y="772892"/>
                        </a:cubicBezTo>
                        <a:close/>
                        <a:moveTo>
                          <a:pt x="1693080" y="765700"/>
                        </a:moveTo>
                        <a:lnTo>
                          <a:pt x="1691462" y="763792"/>
                        </a:lnTo>
                        <a:lnTo>
                          <a:pt x="1693370" y="765411"/>
                        </a:lnTo>
                        <a:cubicBezTo>
                          <a:pt x="1695158" y="766919"/>
                          <a:pt x="1695658" y="767598"/>
                          <a:pt x="1694978" y="767598"/>
                        </a:cubicBezTo>
                        <a:cubicBezTo>
                          <a:pt x="1694818" y="767598"/>
                          <a:pt x="1693959" y="766749"/>
                          <a:pt x="1693080" y="765700"/>
                        </a:cubicBezTo>
                        <a:close/>
                        <a:moveTo>
                          <a:pt x="757362" y="760516"/>
                        </a:moveTo>
                        <a:cubicBezTo>
                          <a:pt x="757362" y="760346"/>
                          <a:pt x="758031" y="759677"/>
                          <a:pt x="758840" y="759038"/>
                        </a:cubicBezTo>
                        <a:cubicBezTo>
                          <a:pt x="760189" y="757989"/>
                          <a:pt x="760219" y="758019"/>
                          <a:pt x="759160" y="759357"/>
                        </a:cubicBezTo>
                        <a:cubicBezTo>
                          <a:pt x="758061" y="760766"/>
                          <a:pt x="757362" y="761215"/>
                          <a:pt x="757362" y="760516"/>
                        </a:cubicBezTo>
                        <a:close/>
                        <a:moveTo>
                          <a:pt x="762856" y="754912"/>
                        </a:moveTo>
                        <a:cubicBezTo>
                          <a:pt x="763705" y="753983"/>
                          <a:pt x="764584" y="753224"/>
                          <a:pt x="764814" y="753224"/>
                        </a:cubicBezTo>
                        <a:cubicBezTo>
                          <a:pt x="765043" y="753224"/>
                          <a:pt x="764544" y="753983"/>
                          <a:pt x="763705" y="754912"/>
                        </a:cubicBezTo>
                        <a:cubicBezTo>
                          <a:pt x="762866" y="755851"/>
                          <a:pt x="761987" y="756610"/>
                          <a:pt x="761757" y="756610"/>
                        </a:cubicBezTo>
                        <a:cubicBezTo>
                          <a:pt x="761517" y="756610"/>
                          <a:pt x="762017" y="755851"/>
                          <a:pt x="762856" y="754912"/>
                        </a:cubicBezTo>
                        <a:close/>
                        <a:moveTo>
                          <a:pt x="1578408" y="755182"/>
                        </a:moveTo>
                        <a:cubicBezTo>
                          <a:pt x="1579017" y="754942"/>
                          <a:pt x="1579747" y="754972"/>
                          <a:pt x="1580026" y="755252"/>
                        </a:cubicBezTo>
                        <a:cubicBezTo>
                          <a:pt x="1580306" y="755532"/>
                          <a:pt x="1579807" y="755731"/>
                          <a:pt x="1578918" y="755701"/>
                        </a:cubicBezTo>
                        <a:cubicBezTo>
                          <a:pt x="1577929" y="755661"/>
                          <a:pt x="1577729" y="755462"/>
                          <a:pt x="1578398" y="755192"/>
                        </a:cubicBezTo>
                        <a:close/>
                        <a:moveTo>
                          <a:pt x="1601243" y="755182"/>
                        </a:moveTo>
                        <a:cubicBezTo>
                          <a:pt x="1601852" y="754942"/>
                          <a:pt x="1602581" y="754972"/>
                          <a:pt x="1602861" y="755252"/>
                        </a:cubicBezTo>
                        <a:cubicBezTo>
                          <a:pt x="1603141" y="755532"/>
                          <a:pt x="1602641" y="755731"/>
                          <a:pt x="1601752" y="755701"/>
                        </a:cubicBezTo>
                        <a:cubicBezTo>
                          <a:pt x="1600763" y="755661"/>
                          <a:pt x="1600563" y="755462"/>
                          <a:pt x="1601233" y="755192"/>
                        </a:cubicBezTo>
                        <a:close/>
                        <a:moveTo>
                          <a:pt x="1671085" y="743715"/>
                        </a:moveTo>
                        <a:lnTo>
                          <a:pt x="1669477" y="741807"/>
                        </a:lnTo>
                        <a:lnTo>
                          <a:pt x="1671385" y="743415"/>
                        </a:lnTo>
                        <a:cubicBezTo>
                          <a:pt x="1673173" y="744933"/>
                          <a:pt x="1673672" y="745613"/>
                          <a:pt x="1672993" y="745613"/>
                        </a:cubicBezTo>
                        <a:cubicBezTo>
                          <a:pt x="1672833" y="745613"/>
                          <a:pt x="1671974" y="744754"/>
                          <a:pt x="1671085" y="743715"/>
                        </a:cubicBezTo>
                        <a:close/>
                        <a:moveTo>
                          <a:pt x="1663873" y="737372"/>
                        </a:moveTo>
                        <a:cubicBezTo>
                          <a:pt x="1662824" y="736023"/>
                          <a:pt x="1662854" y="735993"/>
                          <a:pt x="1664193" y="737052"/>
                        </a:cubicBezTo>
                        <a:cubicBezTo>
                          <a:pt x="1665601" y="738151"/>
                          <a:pt x="1666050" y="738850"/>
                          <a:pt x="1665351" y="738850"/>
                        </a:cubicBezTo>
                        <a:cubicBezTo>
                          <a:pt x="1665182" y="738850"/>
                          <a:pt x="1664512" y="738181"/>
                          <a:pt x="1663873" y="737372"/>
                        </a:cubicBezTo>
                        <a:close/>
                        <a:moveTo>
                          <a:pt x="649046" y="733986"/>
                        </a:moveTo>
                        <a:lnTo>
                          <a:pt x="646996" y="731658"/>
                        </a:lnTo>
                        <a:lnTo>
                          <a:pt x="649321" y="733706"/>
                        </a:lnTo>
                        <a:cubicBezTo>
                          <a:pt x="650601" y="734835"/>
                          <a:pt x="651647" y="735883"/>
                          <a:pt x="651647" y="736033"/>
                        </a:cubicBezTo>
                        <a:cubicBezTo>
                          <a:pt x="651647" y="736703"/>
                          <a:pt x="650962" y="736163"/>
                          <a:pt x="649046" y="733986"/>
                        </a:cubicBezTo>
                        <a:close/>
                        <a:moveTo>
                          <a:pt x="1273098" y="734045"/>
                        </a:moveTo>
                        <a:cubicBezTo>
                          <a:pt x="1273707" y="733796"/>
                          <a:pt x="1274436" y="733826"/>
                          <a:pt x="1274716" y="734115"/>
                        </a:cubicBezTo>
                        <a:cubicBezTo>
                          <a:pt x="1274996" y="734395"/>
                          <a:pt x="1274496" y="734595"/>
                          <a:pt x="1273607" y="734555"/>
                        </a:cubicBezTo>
                        <a:cubicBezTo>
                          <a:pt x="1272618" y="734515"/>
                          <a:pt x="1272419" y="734315"/>
                          <a:pt x="1273098" y="734045"/>
                        </a:cubicBezTo>
                        <a:close/>
                        <a:moveTo>
                          <a:pt x="11243" y="733157"/>
                        </a:moveTo>
                        <a:cubicBezTo>
                          <a:pt x="13233" y="732977"/>
                          <a:pt x="16278" y="732977"/>
                          <a:pt x="18010" y="733166"/>
                        </a:cubicBezTo>
                        <a:cubicBezTo>
                          <a:pt x="19742" y="733346"/>
                          <a:pt x="18114" y="733496"/>
                          <a:pt x="14393" y="733486"/>
                        </a:cubicBezTo>
                        <a:cubicBezTo>
                          <a:pt x="10671" y="733486"/>
                          <a:pt x="9255" y="733336"/>
                          <a:pt x="11243" y="733157"/>
                        </a:cubicBezTo>
                        <a:close/>
                        <a:moveTo>
                          <a:pt x="1340133" y="713828"/>
                        </a:moveTo>
                        <a:cubicBezTo>
                          <a:pt x="1340173" y="712849"/>
                          <a:pt x="1340373" y="712649"/>
                          <a:pt x="1340643" y="713319"/>
                        </a:cubicBezTo>
                        <a:cubicBezTo>
                          <a:pt x="1340892" y="713928"/>
                          <a:pt x="1340863" y="714657"/>
                          <a:pt x="1340573" y="714937"/>
                        </a:cubicBezTo>
                        <a:cubicBezTo>
                          <a:pt x="1340293" y="715227"/>
                          <a:pt x="1340093" y="714727"/>
                          <a:pt x="1340133" y="713828"/>
                        </a:cubicBezTo>
                        <a:close/>
                        <a:moveTo>
                          <a:pt x="3043" y="712140"/>
                        </a:moveTo>
                        <a:cubicBezTo>
                          <a:pt x="3084" y="711151"/>
                          <a:pt x="3283" y="710951"/>
                          <a:pt x="3553" y="711631"/>
                        </a:cubicBezTo>
                        <a:cubicBezTo>
                          <a:pt x="3798" y="712240"/>
                          <a:pt x="3768" y="712969"/>
                          <a:pt x="3486" y="713249"/>
                        </a:cubicBezTo>
                        <a:cubicBezTo>
                          <a:pt x="3205" y="713528"/>
                          <a:pt x="3006" y="713029"/>
                          <a:pt x="3042" y="712140"/>
                        </a:cubicBezTo>
                        <a:close/>
                        <a:moveTo>
                          <a:pt x="1300388" y="706216"/>
                        </a:moveTo>
                        <a:cubicBezTo>
                          <a:pt x="1300427" y="705238"/>
                          <a:pt x="1300627" y="705038"/>
                          <a:pt x="1300897" y="705707"/>
                        </a:cubicBezTo>
                        <a:cubicBezTo>
                          <a:pt x="1301137" y="706316"/>
                          <a:pt x="1301107" y="707046"/>
                          <a:pt x="1300827" y="707325"/>
                        </a:cubicBezTo>
                        <a:cubicBezTo>
                          <a:pt x="1300547" y="707615"/>
                          <a:pt x="1300348" y="707115"/>
                          <a:pt x="1300377" y="706216"/>
                        </a:cubicBezTo>
                        <a:close/>
                        <a:moveTo>
                          <a:pt x="1341192" y="702061"/>
                        </a:moveTo>
                        <a:cubicBezTo>
                          <a:pt x="1341192" y="698805"/>
                          <a:pt x="1341352" y="697576"/>
                          <a:pt x="1341532" y="699334"/>
                        </a:cubicBezTo>
                        <a:cubicBezTo>
                          <a:pt x="1341711" y="701082"/>
                          <a:pt x="1341711" y="703749"/>
                          <a:pt x="1341522" y="705248"/>
                        </a:cubicBezTo>
                        <a:cubicBezTo>
                          <a:pt x="1341332" y="706756"/>
                          <a:pt x="1341182" y="705318"/>
                          <a:pt x="1341192" y="702061"/>
                        </a:cubicBezTo>
                        <a:close/>
                        <a:moveTo>
                          <a:pt x="588284" y="702840"/>
                        </a:moveTo>
                        <a:cubicBezTo>
                          <a:pt x="588325" y="701851"/>
                          <a:pt x="588525" y="701652"/>
                          <a:pt x="588796" y="702331"/>
                        </a:cubicBezTo>
                        <a:cubicBezTo>
                          <a:pt x="589039" y="702940"/>
                          <a:pt x="589009" y="703669"/>
                          <a:pt x="588729" y="703949"/>
                        </a:cubicBezTo>
                        <a:cubicBezTo>
                          <a:pt x="588447" y="704229"/>
                          <a:pt x="588247" y="703729"/>
                          <a:pt x="588284" y="702840"/>
                        </a:cubicBezTo>
                        <a:close/>
                        <a:moveTo>
                          <a:pt x="2197" y="701991"/>
                        </a:moveTo>
                        <a:cubicBezTo>
                          <a:pt x="2238" y="701002"/>
                          <a:pt x="2437" y="700803"/>
                          <a:pt x="2708" y="701482"/>
                        </a:cubicBezTo>
                        <a:cubicBezTo>
                          <a:pt x="2952" y="702091"/>
                          <a:pt x="2922" y="702820"/>
                          <a:pt x="2641" y="703100"/>
                        </a:cubicBezTo>
                        <a:cubicBezTo>
                          <a:pt x="2359" y="703380"/>
                          <a:pt x="2160" y="702880"/>
                          <a:pt x="2197" y="701991"/>
                        </a:cubicBezTo>
                        <a:close/>
                        <a:moveTo>
                          <a:pt x="715139" y="701142"/>
                        </a:moveTo>
                        <a:cubicBezTo>
                          <a:pt x="715179" y="700163"/>
                          <a:pt x="715379" y="699964"/>
                          <a:pt x="715658" y="700633"/>
                        </a:cubicBezTo>
                        <a:cubicBezTo>
                          <a:pt x="715898" y="701242"/>
                          <a:pt x="715868" y="701971"/>
                          <a:pt x="715588" y="702251"/>
                        </a:cubicBezTo>
                        <a:cubicBezTo>
                          <a:pt x="715299" y="702531"/>
                          <a:pt x="715099" y="702031"/>
                          <a:pt x="715139" y="701142"/>
                        </a:cubicBezTo>
                        <a:close/>
                        <a:moveTo>
                          <a:pt x="1301297" y="695718"/>
                        </a:moveTo>
                        <a:cubicBezTo>
                          <a:pt x="1301297" y="694560"/>
                          <a:pt x="1301486" y="694080"/>
                          <a:pt x="1301726" y="694659"/>
                        </a:cubicBezTo>
                        <a:cubicBezTo>
                          <a:pt x="1301956" y="695239"/>
                          <a:pt x="1301956" y="696198"/>
                          <a:pt x="1301726" y="696777"/>
                        </a:cubicBezTo>
                        <a:cubicBezTo>
                          <a:pt x="1301486" y="697356"/>
                          <a:pt x="1301297" y="696877"/>
                          <a:pt x="1301297" y="695718"/>
                        </a:cubicBezTo>
                        <a:close/>
                        <a:moveTo>
                          <a:pt x="1341042" y="694030"/>
                        </a:moveTo>
                        <a:cubicBezTo>
                          <a:pt x="1341042" y="692861"/>
                          <a:pt x="1341242" y="692392"/>
                          <a:pt x="1341472" y="692971"/>
                        </a:cubicBezTo>
                        <a:cubicBezTo>
                          <a:pt x="1341711" y="693551"/>
                          <a:pt x="1341711" y="694499"/>
                          <a:pt x="1341472" y="695089"/>
                        </a:cubicBezTo>
                        <a:cubicBezTo>
                          <a:pt x="1341242" y="695668"/>
                          <a:pt x="1341042" y="695189"/>
                          <a:pt x="1341042" y="694030"/>
                        </a:cubicBezTo>
                        <a:close/>
                        <a:moveTo>
                          <a:pt x="1449" y="689375"/>
                        </a:moveTo>
                        <a:cubicBezTo>
                          <a:pt x="1466" y="687977"/>
                          <a:pt x="1656" y="687507"/>
                          <a:pt x="1870" y="688336"/>
                        </a:cubicBezTo>
                        <a:cubicBezTo>
                          <a:pt x="2085" y="689156"/>
                          <a:pt x="2071" y="690304"/>
                          <a:pt x="1839" y="690874"/>
                        </a:cubicBezTo>
                        <a:cubicBezTo>
                          <a:pt x="1607" y="691443"/>
                          <a:pt x="1432" y="690774"/>
                          <a:pt x="1449" y="689375"/>
                        </a:cubicBezTo>
                        <a:close/>
                        <a:moveTo>
                          <a:pt x="270291" y="685080"/>
                        </a:moveTo>
                        <a:cubicBezTo>
                          <a:pt x="270332" y="684091"/>
                          <a:pt x="270533" y="683891"/>
                          <a:pt x="270803" y="684571"/>
                        </a:cubicBezTo>
                        <a:cubicBezTo>
                          <a:pt x="271046" y="685180"/>
                          <a:pt x="271016" y="685909"/>
                          <a:pt x="270736" y="686189"/>
                        </a:cubicBezTo>
                        <a:cubicBezTo>
                          <a:pt x="270455" y="686469"/>
                          <a:pt x="270254" y="685969"/>
                          <a:pt x="270291" y="685080"/>
                        </a:cubicBezTo>
                        <a:close/>
                        <a:moveTo>
                          <a:pt x="1340133" y="685080"/>
                        </a:moveTo>
                        <a:cubicBezTo>
                          <a:pt x="1340173" y="684091"/>
                          <a:pt x="1340373" y="683891"/>
                          <a:pt x="1340643" y="684571"/>
                        </a:cubicBezTo>
                        <a:cubicBezTo>
                          <a:pt x="1340892" y="685180"/>
                          <a:pt x="1340863" y="685909"/>
                          <a:pt x="1340573" y="686189"/>
                        </a:cubicBezTo>
                        <a:cubicBezTo>
                          <a:pt x="1340293" y="686469"/>
                          <a:pt x="1340093" y="685969"/>
                          <a:pt x="1340133" y="685080"/>
                        </a:cubicBezTo>
                        <a:close/>
                        <a:moveTo>
                          <a:pt x="1302146" y="681344"/>
                        </a:moveTo>
                        <a:cubicBezTo>
                          <a:pt x="1302146" y="680176"/>
                          <a:pt x="1302335" y="679706"/>
                          <a:pt x="1302565" y="680285"/>
                        </a:cubicBezTo>
                        <a:cubicBezTo>
                          <a:pt x="1302805" y="680865"/>
                          <a:pt x="1302805" y="681814"/>
                          <a:pt x="1302565" y="682403"/>
                        </a:cubicBezTo>
                        <a:cubicBezTo>
                          <a:pt x="1302335" y="682982"/>
                          <a:pt x="1302146" y="682503"/>
                          <a:pt x="1302146" y="681344"/>
                        </a:cubicBezTo>
                        <a:close/>
                        <a:moveTo>
                          <a:pt x="1033205" y="679646"/>
                        </a:moveTo>
                        <a:cubicBezTo>
                          <a:pt x="1033205" y="678487"/>
                          <a:pt x="1033395" y="678008"/>
                          <a:pt x="1033625" y="678597"/>
                        </a:cubicBezTo>
                        <a:cubicBezTo>
                          <a:pt x="1033864" y="679177"/>
                          <a:pt x="1033864" y="680126"/>
                          <a:pt x="1033625" y="680705"/>
                        </a:cubicBezTo>
                        <a:cubicBezTo>
                          <a:pt x="1033395" y="681284"/>
                          <a:pt x="1033205" y="680815"/>
                          <a:pt x="1033205" y="679646"/>
                        </a:cubicBezTo>
                        <a:close/>
                        <a:moveTo>
                          <a:pt x="269446" y="672394"/>
                        </a:moveTo>
                        <a:cubicBezTo>
                          <a:pt x="269487" y="671405"/>
                          <a:pt x="269687" y="671206"/>
                          <a:pt x="269957" y="671885"/>
                        </a:cubicBezTo>
                        <a:cubicBezTo>
                          <a:pt x="270201" y="672494"/>
                          <a:pt x="270171" y="673223"/>
                          <a:pt x="269890" y="673503"/>
                        </a:cubicBezTo>
                        <a:cubicBezTo>
                          <a:pt x="269609" y="673783"/>
                          <a:pt x="269409" y="673283"/>
                          <a:pt x="269445" y="672394"/>
                        </a:cubicBezTo>
                        <a:close/>
                        <a:moveTo>
                          <a:pt x="634" y="668658"/>
                        </a:moveTo>
                        <a:cubicBezTo>
                          <a:pt x="634" y="667030"/>
                          <a:pt x="808" y="666361"/>
                          <a:pt x="1021" y="667180"/>
                        </a:cubicBezTo>
                        <a:cubicBezTo>
                          <a:pt x="1234" y="667989"/>
                          <a:pt x="1234" y="669318"/>
                          <a:pt x="1021" y="670137"/>
                        </a:cubicBezTo>
                        <a:cubicBezTo>
                          <a:pt x="808" y="670946"/>
                          <a:pt x="634" y="670286"/>
                          <a:pt x="634" y="668658"/>
                        </a:cubicBezTo>
                        <a:close/>
                        <a:moveTo>
                          <a:pt x="628033" y="669857"/>
                        </a:moveTo>
                        <a:cubicBezTo>
                          <a:pt x="628074" y="668868"/>
                          <a:pt x="628275" y="668668"/>
                          <a:pt x="628544" y="669348"/>
                        </a:cubicBezTo>
                        <a:cubicBezTo>
                          <a:pt x="628789" y="669957"/>
                          <a:pt x="628758" y="670686"/>
                          <a:pt x="628477" y="670966"/>
                        </a:cubicBezTo>
                        <a:cubicBezTo>
                          <a:pt x="628196" y="671246"/>
                          <a:pt x="627996" y="670746"/>
                          <a:pt x="628033" y="669857"/>
                        </a:cubicBezTo>
                        <a:close/>
                        <a:moveTo>
                          <a:pt x="675394" y="668159"/>
                        </a:moveTo>
                        <a:cubicBezTo>
                          <a:pt x="675435" y="667180"/>
                          <a:pt x="675635" y="666980"/>
                          <a:pt x="675905" y="667650"/>
                        </a:cubicBezTo>
                        <a:cubicBezTo>
                          <a:pt x="676149" y="668259"/>
                          <a:pt x="676119" y="668988"/>
                          <a:pt x="675838" y="669268"/>
                        </a:cubicBezTo>
                        <a:cubicBezTo>
                          <a:pt x="675557" y="669557"/>
                          <a:pt x="675357" y="669058"/>
                          <a:pt x="675393" y="668159"/>
                        </a:cubicBezTo>
                        <a:close/>
                        <a:moveTo>
                          <a:pt x="1034084" y="664004"/>
                        </a:moveTo>
                        <a:cubicBezTo>
                          <a:pt x="1034104" y="662605"/>
                          <a:pt x="1034284" y="662146"/>
                          <a:pt x="1034504" y="662965"/>
                        </a:cubicBezTo>
                        <a:cubicBezTo>
                          <a:pt x="1034713" y="663784"/>
                          <a:pt x="1034703" y="664933"/>
                          <a:pt x="1034473" y="665502"/>
                        </a:cubicBezTo>
                        <a:cubicBezTo>
                          <a:pt x="1034244" y="666071"/>
                          <a:pt x="1034064" y="665402"/>
                          <a:pt x="1034084" y="664004"/>
                        </a:cubicBezTo>
                        <a:close/>
                        <a:moveTo>
                          <a:pt x="1414331" y="663005"/>
                        </a:moveTo>
                        <a:cubicBezTo>
                          <a:pt x="1414940" y="662755"/>
                          <a:pt x="1415669" y="662785"/>
                          <a:pt x="1415949" y="663075"/>
                        </a:cubicBezTo>
                        <a:cubicBezTo>
                          <a:pt x="1416239" y="663354"/>
                          <a:pt x="1415739" y="663554"/>
                          <a:pt x="1414840" y="663514"/>
                        </a:cubicBezTo>
                        <a:cubicBezTo>
                          <a:pt x="1413861" y="663474"/>
                          <a:pt x="1413661" y="663274"/>
                          <a:pt x="1414331" y="663005"/>
                        </a:cubicBezTo>
                        <a:close/>
                        <a:moveTo>
                          <a:pt x="1421483" y="662146"/>
                        </a:moveTo>
                        <a:cubicBezTo>
                          <a:pt x="1422312" y="661936"/>
                          <a:pt x="1423451" y="661946"/>
                          <a:pt x="1424020" y="662176"/>
                        </a:cubicBezTo>
                        <a:cubicBezTo>
                          <a:pt x="1424589" y="662415"/>
                          <a:pt x="1423920" y="662585"/>
                          <a:pt x="1422522" y="662565"/>
                        </a:cubicBezTo>
                        <a:cubicBezTo>
                          <a:pt x="1421133" y="662545"/>
                          <a:pt x="1420664" y="662365"/>
                          <a:pt x="1421483" y="662146"/>
                        </a:cubicBezTo>
                        <a:close/>
                        <a:moveTo>
                          <a:pt x="1431242" y="661317"/>
                        </a:moveTo>
                        <a:cubicBezTo>
                          <a:pt x="1431861" y="661067"/>
                          <a:pt x="1432590" y="661097"/>
                          <a:pt x="1432870" y="661386"/>
                        </a:cubicBezTo>
                        <a:cubicBezTo>
                          <a:pt x="1433150" y="661666"/>
                          <a:pt x="1432650" y="661866"/>
                          <a:pt x="1431761" y="661826"/>
                        </a:cubicBezTo>
                        <a:cubicBezTo>
                          <a:pt x="1430772" y="661786"/>
                          <a:pt x="1430573" y="661586"/>
                          <a:pt x="1431242" y="661317"/>
                        </a:cubicBezTo>
                        <a:close/>
                        <a:moveTo>
                          <a:pt x="1478559" y="661337"/>
                        </a:moveTo>
                        <a:cubicBezTo>
                          <a:pt x="1479139" y="661097"/>
                          <a:pt x="1480088" y="661097"/>
                          <a:pt x="1480667" y="661337"/>
                        </a:cubicBezTo>
                        <a:cubicBezTo>
                          <a:pt x="1481246" y="661566"/>
                          <a:pt x="1480777" y="661756"/>
                          <a:pt x="1479608" y="661756"/>
                        </a:cubicBezTo>
                        <a:cubicBezTo>
                          <a:pt x="1478449" y="661756"/>
                          <a:pt x="1477970" y="661566"/>
                          <a:pt x="1478559" y="661337"/>
                        </a:cubicBezTo>
                        <a:close/>
                        <a:moveTo>
                          <a:pt x="1451100" y="660418"/>
                        </a:moveTo>
                        <a:cubicBezTo>
                          <a:pt x="1453787" y="660248"/>
                          <a:pt x="1457982" y="660258"/>
                          <a:pt x="1460399" y="660418"/>
                        </a:cubicBezTo>
                        <a:cubicBezTo>
                          <a:pt x="1462827" y="660587"/>
                          <a:pt x="1460629" y="660727"/>
                          <a:pt x="1455505" y="660727"/>
                        </a:cubicBezTo>
                        <a:cubicBezTo>
                          <a:pt x="1450391" y="660727"/>
                          <a:pt x="1448413" y="660587"/>
                          <a:pt x="1451100" y="660418"/>
                        </a:cubicBezTo>
                        <a:close/>
                        <a:moveTo>
                          <a:pt x="627317" y="655123"/>
                        </a:moveTo>
                        <a:cubicBezTo>
                          <a:pt x="627317" y="653495"/>
                          <a:pt x="627491" y="652836"/>
                          <a:pt x="627703" y="653645"/>
                        </a:cubicBezTo>
                        <a:cubicBezTo>
                          <a:pt x="627916" y="654464"/>
                          <a:pt x="627916" y="655793"/>
                          <a:pt x="627703" y="656602"/>
                        </a:cubicBezTo>
                        <a:cubicBezTo>
                          <a:pt x="627492" y="657421"/>
                          <a:pt x="627317" y="656752"/>
                          <a:pt x="627317" y="655123"/>
                        </a:cubicBezTo>
                        <a:close/>
                        <a:moveTo>
                          <a:pt x="676463" y="647941"/>
                        </a:moveTo>
                        <a:cubicBezTo>
                          <a:pt x="676463" y="644216"/>
                          <a:pt x="676615" y="642797"/>
                          <a:pt x="676794" y="644785"/>
                        </a:cubicBezTo>
                        <a:cubicBezTo>
                          <a:pt x="676971" y="646783"/>
                          <a:pt x="676969" y="649819"/>
                          <a:pt x="676785" y="651557"/>
                        </a:cubicBezTo>
                        <a:cubicBezTo>
                          <a:pt x="676603" y="653285"/>
                          <a:pt x="676457" y="651657"/>
                          <a:pt x="676460" y="647941"/>
                        </a:cubicBezTo>
                        <a:close/>
                        <a:moveTo>
                          <a:pt x="627286" y="640330"/>
                        </a:moveTo>
                        <a:cubicBezTo>
                          <a:pt x="627303" y="638931"/>
                          <a:pt x="627493" y="638462"/>
                          <a:pt x="627707" y="639281"/>
                        </a:cubicBezTo>
                        <a:cubicBezTo>
                          <a:pt x="627921" y="640110"/>
                          <a:pt x="627907" y="641249"/>
                          <a:pt x="627676" y="641818"/>
                        </a:cubicBezTo>
                        <a:cubicBezTo>
                          <a:pt x="627445" y="642398"/>
                          <a:pt x="627269" y="641718"/>
                          <a:pt x="627286" y="640330"/>
                        </a:cubicBezTo>
                        <a:close/>
                        <a:moveTo>
                          <a:pt x="1034114" y="639061"/>
                        </a:moveTo>
                        <a:cubicBezTo>
                          <a:pt x="1034114" y="637433"/>
                          <a:pt x="1034284" y="636764"/>
                          <a:pt x="1034493" y="637573"/>
                        </a:cubicBezTo>
                        <a:cubicBezTo>
                          <a:pt x="1034713" y="638392"/>
                          <a:pt x="1034713" y="639721"/>
                          <a:pt x="1034493" y="640540"/>
                        </a:cubicBezTo>
                        <a:cubicBezTo>
                          <a:pt x="1034284" y="641349"/>
                          <a:pt x="1034114" y="640689"/>
                          <a:pt x="1034114" y="639061"/>
                        </a:cubicBezTo>
                        <a:close/>
                        <a:moveTo>
                          <a:pt x="634" y="635675"/>
                        </a:moveTo>
                        <a:cubicBezTo>
                          <a:pt x="634" y="634047"/>
                          <a:pt x="808" y="633378"/>
                          <a:pt x="1021" y="634197"/>
                        </a:cubicBezTo>
                        <a:cubicBezTo>
                          <a:pt x="1234" y="635006"/>
                          <a:pt x="1234" y="636334"/>
                          <a:pt x="1021" y="637153"/>
                        </a:cubicBezTo>
                        <a:cubicBezTo>
                          <a:pt x="808" y="637963"/>
                          <a:pt x="634" y="637303"/>
                          <a:pt x="634" y="635675"/>
                        </a:cubicBezTo>
                        <a:close/>
                        <a:moveTo>
                          <a:pt x="269446" y="630950"/>
                        </a:moveTo>
                        <a:cubicBezTo>
                          <a:pt x="269487" y="629961"/>
                          <a:pt x="269687" y="629762"/>
                          <a:pt x="269957" y="630441"/>
                        </a:cubicBezTo>
                        <a:cubicBezTo>
                          <a:pt x="270201" y="631050"/>
                          <a:pt x="270171" y="631779"/>
                          <a:pt x="269890" y="632059"/>
                        </a:cubicBezTo>
                        <a:cubicBezTo>
                          <a:pt x="269609" y="632339"/>
                          <a:pt x="269409" y="631839"/>
                          <a:pt x="269445" y="630950"/>
                        </a:cubicBezTo>
                        <a:close/>
                        <a:moveTo>
                          <a:pt x="675394" y="627564"/>
                        </a:moveTo>
                        <a:cubicBezTo>
                          <a:pt x="675435" y="626585"/>
                          <a:pt x="675635" y="626385"/>
                          <a:pt x="675905" y="627055"/>
                        </a:cubicBezTo>
                        <a:cubicBezTo>
                          <a:pt x="676149" y="627664"/>
                          <a:pt x="676119" y="628393"/>
                          <a:pt x="675838" y="628673"/>
                        </a:cubicBezTo>
                        <a:cubicBezTo>
                          <a:pt x="675557" y="628963"/>
                          <a:pt x="675357" y="628463"/>
                          <a:pt x="675393" y="627564"/>
                        </a:cubicBezTo>
                        <a:close/>
                        <a:moveTo>
                          <a:pt x="1033205" y="622989"/>
                        </a:moveTo>
                        <a:cubicBezTo>
                          <a:pt x="1033205" y="621821"/>
                          <a:pt x="1033395" y="621351"/>
                          <a:pt x="1033625" y="621930"/>
                        </a:cubicBezTo>
                        <a:cubicBezTo>
                          <a:pt x="1033864" y="622510"/>
                          <a:pt x="1033864" y="623459"/>
                          <a:pt x="1033625" y="624048"/>
                        </a:cubicBezTo>
                        <a:cubicBezTo>
                          <a:pt x="1033395" y="624627"/>
                          <a:pt x="1033205" y="624148"/>
                          <a:pt x="1033205" y="622989"/>
                        </a:cubicBezTo>
                        <a:close/>
                        <a:moveTo>
                          <a:pt x="1302146" y="621291"/>
                        </a:moveTo>
                        <a:cubicBezTo>
                          <a:pt x="1302146" y="620132"/>
                          <a:pt x="1302335" y="619653"/>
                          <a:pt x="1302565" y="620242"/>
                        </a:cubicBezTo>
                        <a:cubicBezTo>
                          <a:pt x="1302805" y="620822"/>
                          <a:pt x="1302805" y="621771"/>
                          <a:pt x="1302565" y="622350"/>
                        </a:cubicBezTo>
                        <a:cubicBezTo>
                          <a:pt x="1302335" y="622929"/>
                          <a:pt x="1302146" y="622460"/>
                          <a:pt x="1302146" y="621291"/>
                        </a:cubicBezTo>
                        <a:close/>
                        <a:moveTo>
                          <a:pt x="1449" y="615797"/>
                        </a:moveTo>
                        <a:cubicBezTo>
                          <a:pt x="1466" y="614399"/>
                          <a:pt x="1656" y="613939"/>
                          <a:pt x="1870" y="614758"/>
                        </a:cubicBezTo>
                        <a:cubicBezTo>
                          <a:pt x="2085" y="615578"/>
                          <a:pt x="2071" y="616726"/>
                          <a:pt x="1839" y="617296"/>
                        </a:cubicBezTo>
                        <a:cubicBezTo>
                          <a:pt x="1607" y="617865"/>
                          <a:pt x="1432" y="617196"/>
                          <a:pt x="1449" y="615797"/>
                        </a:cubicBezTo>
                        <a:close/>
                        <a:moveTo>
                          <a:pt x="786180" y="597967"/>
                        </a:moveTo>
                        <a:cubicBezTo>
                          <a:pt x="786220" y="596978"/>
                          <a:pt x="786420" y="596778"/>
                          <a:pt x="786699" y="597458"/>
                        </a:cubicBezTo>
                        <a:cubicBezTo>
                          <a:pt x="786939" y="598067"/>
                          <a:pt x="786909" y="598796"/>
                          <a:pt x="786629" y="599076"/>
                        </a:cubicBezTo>
                        <a:cubicBezTo>
                          <a:pt x="786340" y="599355"/>
                          <a:pt x="786140" y="598856"/>
                          <a:pt x="786180" y="597967"/>
                        </a:cubicBezTo>
                        <a:close/>
                        <a:moveTo>
                          <a:pt x="473265" y="596279"/>
                        </a:moveTo>
                        <a:cubicBezTo>
                          <a:pt x="473306" y="595290"/>
                          <a:pt x="473507" y="595090"/>
                          <a:pt x="473777" y="595770"/>
                        </a:cubicBezTo>
                        <a:cubicBezTo>
                          <a:pt x="474020" y="596379"/>
                          <a:pt x="473990" y="597108"/>
                          <a:pt x="473710" y="597388"/>
                        </a:cubicBezTo>
                        <a:cubicBezTo>
                          <a:pt x="473429" y="597667"/>
                          <a:pt x="473228" y="597168"/>
                          <a:pt x="473265" y="596279"/>
                        </a:cubicBezTo>
                        <a:close/>
                        <a:moveTo>
                          <a:pt x="1300388" y="595430"/>
                        </a:moveTo>
                        <a:cubicBezTo>
                          <a:pt x="1300427" y="594441"/>
                          <a:pt x="1300627" y="594241"/>
                          <a:pt x="1300897" y="594920"/>
                        </a:cubicBezTo>
                        <a:cubicBezTo>
                          <a:pt x="1301137" y="595530"/>
                          <a:pt x="1301107" y="596259"/>
                          <a:pt x="1300827" y="596539"/>
                        </a:cubicBezTo>
                        <a:cubicBezTo>
                          <a:pt x="1300547" y="596818"/>
                          <a:pt x="1300348" y="596319"/>
                          <a:pt x="1300377" y="595430"/>
                        </a:cubicBezTo>
                        <a:close/>
                        <a:moveTo>
                          <a:pt x="830231" y="594231"/>
                        </a:moveTo>
                        <a:cubicBezTo>
                          <a:pt x="830231" y="593073"/>
                          <a:pt x="830421" y="592593"/>
                          <a:pt x="830650" y="593172"/>
                        </a:cubicBezTo>
                        <a:cubicBezTo>
                          <a:pt x="830890" y="593752"/>
                          <a:pt x="830890" y="594711"/>
                          <a:pt x="830650" y="595290"/>
                        </a:cubicBezTo>
                        <a:cubicBezTo>
                          <a:pt x="830421" y="595869"/>
                          <a:pt x="830231" y="595390"/>
                          <a:pt x="830231" y="594231"/>
                        </a:cubicBezTo>
                        <a:close/>
                        <a:moveTo>
                          <a:pt x="516464" y="590845"/>
                        </a:moveTo>
                        <a:cubicBezTo>
                          <a:pt x="516464" y="589686"/>
                          <a:pt x="516656" y="589207"/>
                          <a:pt x="516891" y="589796"/>
                        </a:cubicBezTo>
                        <a:cubicBezTo>
                          <a:pt x="517125" y="590375"/>
                          <a:pt x="517125" y="591324"/>
                          <a:pt x="516891" y="591904"/>
                        </a:cubicBezTo>
                        <a:cubicBezTo>
                          <a:pt x="516656" y="592483"/>
                          <a:pt x="516464" y="592014"/>
                          <a:pt x="516464" y="590845"/>
                        </a:cubicBezTo>
                        <a:close/>
                        <a:moveTo>
                          <a:pt x="787029" y="588667"/>
                        </a:moveTo>
                        <a:cubicBezTo>
                          <a:pt x="787069" y="587678"/>
                          <a:pt x="787269" y="587479"/>
                          <a:pt x="787538" y="588148"/>
                        </a:cubicBezTo>
                        <a:cubicBezTo>
                          <a:pt x="787788" y="588767"/>
                          <a:pt x="787758" y="589496"/>
                          <a:pt x="787468" y="589776"/>
                        </a:cubicBezTo>
                        <a:cubicBezTo>
                          <a:pt x="787189" y="590056"/>
                          <a:pt x="786989" y="589556"/>
                          <a:pt x="787029" y="588667"/>
                        </a:cubicBezTo>
                        <a:close/>
                        <a:moveTo>
                          <a:pt x="3888" y="584432"/>
                        </a:moveTo>
                        <a:cubicBezTo>
                          <a:pt x="3929" y="583453"/>
                          <a:pt x="4129" y="583253"/>
                          <a:pt x="4399" y="583923"/>
                        </a:cubicBezTo>
                        <a:cubicBezTo>
                          <a:pt x="4643" y="584532"/>
                          <a:pt x="4613" y="585261"/>
                          <a:pt x="4332" y="585541"/>
                        </a:cubicBezTo>
                        <a:cubicBezTo>
                          <a:pt x="4051" y="585831"/>
                          <a:pt x="3851" y="585331"/>
                          <a:pt x="3888" y="584432"/>
                        </a:cubicBezTo>
                        <a:close/>
                        <a:moveTo>
                          <a:pt x="1298689" y="578519"/>
                        </a:moveTo>
                        <a:cubicBezTo>
                          <a:pt x="1298729" y="577530"/>
                          <a:pt x="1298929" y="577330"/>
                          <a:pt x="1299209" y="577999"/>
                        </a:cubicBezTo>
                        <a:cubicBezTo>
                          <a:pt x="1299449" y="578619"/>
                          <a:pt x="1299419" y="579348"/>
                          <a:pt x="1299139" y="579627"/>
                        </a:cubicBezTo>
                        <a:cubicBezTo>
                          <a:pt x="1298849" y="579907"/>
                          <a:pt x="1298650" y="579408"/>
                          <a:pt x="1298689" y="578519"/>
                        </a:cubicBezTo>
                        <a:close/>
                        <a:moveTo>
                          <a:pt x="770048" y="571077"/>
                        </a:moveTo>
                        <a:cubicBezTo>
                          <a:pt x="770048" y="570897"/>
                          <a:pt x="770717" y="570238"/>
                          <a:pt x="771526" y="569599"/>
                        </a:cubicBezTo>
                        <a:cubicBezTo>
                          <a:pt x="772865" y="568550"/>
                          <a:pt x="772895" y="568580"/>
                          <a:pt x="771846" y="569918"/>
                        </a:cubicBezTo>
                        <a:cubicBezTo>
                          <a:pt x="770747" y="571327"/>
                          <a:pt x="770048" y="571776"/>
                          <a:pt x="770048" y="571077"/>
                        </a:cubicBezTo>
                        <a:close/>
                        <a:moveTo>
                          <a:pt x="830161" y="570058"/>
                        </a:moveTo>
                        <a:cubicBezTo>
                          <a:pt x="830201" y="569069"/>
                          <a:pt x="830401" y="568869"/>
                          <a:pt x="830670" y="569549"/>
                        </a:cubicBezTo>
                        <a:cubicBezTo>
                          <a:pt x="830920" y="570158"/>
                          <a:pt x="830890" y="570887"/>
                          <a:pt x="830600" y="571167"/>
                        </a:cubicBezTo>
                        <a:cubicBezTo>
                          <a:pt x="830321" y="571447"/>
                          <a:pt x="830121" y="570947"/>
                          <a:pt x="830161" y="570058"/>
                        </a:cubicBezTo>
                        <a:close/>
                        <a:moveTo>
                          <a:pt x="1287012" y="569948"/>
                        </a:moveTo>
                        <a:cubicBezTo>
                          <a:pt x="1288291" y="569748"/>
                          <a:pt x="1290199" y="569758"/>
                          <a:pt x="1291238" y="569958"/>
                        </a:cubicBezTo>
                        <a:cubicBezTo>
                          <a:pt x="1292277" y="570158"/>
                          <a:pt x="1291228" y="570318"/>
                          <a:pt x="1288900" y="570308"/>
                        </a:cubicBezTo>
                        <a:cubicBezTo>
                          <a:pt x="1286573" y="570298"/>
                          <a:pt x="1285724" y="570138"/>
                          <a:pt x="1287012" y="569948"/>
                        </a:cubicBezTo>
                        <a:close/>
                        <a:moveTo>
                          <a:pt x="646572" y="565154"/>
                        </a:moveTo>
                        <a:cubicBezTo>
                          <a:pt x="646572" y="564984"/>
                          <a:pt x="647239" y="564315"/>
                          <a:pt x="648053" y="563675"/>
                        </a:cubicBezTo>
                        <a:cubicBezTo>
                          <a:pt x="649394" y="562626"/>
                          <a:pt x="649424" y="562656"/>
                          <a:pt x="648372" y="563995"/>
                        </a:cubicBezTo>
                        <a:cubicBezTo>
                          <a:pt x="647266" y="565403"/>
                          <a:pt x="646572" y="565853"/>
                          <a:pt x="646572" y="565154"/>
                        </a:cubicBezTo>
                        <a:close/>
                        <a:moveTo>
                          <a:pt x="616972" y="532919"/>
                        </a:moveTo>
                        <a:cubicBezTo>
                          <a:pt x="618550" y="531291"/>
                          <a:pt x="620031" y="529953"/>
                          <a:pt x="620264" y="529953"/>
                        </a:cubicBezTo>
                        <a:cubicBezTo>
                          <a:pt x="620496" y="529953"/>
                          <a:pt x="619396" y="531291"/>
                          <a:pt x="617817" y="532919"/>
                        </a:cubicBezTo>
                        <a:cubicBezTo>
                          <a:pt x="616240" y="534548"/>
                          <a:pt x="614759" y="535876"/>
                          <a:pt x="614526" y="535876"/>
                        </a:cubicBezTo>
                        <a:cubicBezTo>
                          <a:pt x="614293" y="535876"/>
                          <a:pt x="615394" y="534548"/>
                          <a:pt x="616972" y="532919"/>
                        </a:cubicBezTo>
                        <a:close/>
                        <a:moveTo>
                          <a:pt x="686661" y="533129"/>
                        </a:moveTo>
                        <a:lnTo>
                          <a:pt x="685052" y="531221"/>
                        </a:lnTo>
                        <a:lnTo>
                          <a:pt x="686960" y="532840"/>
                        </a:lnTo>
                        <a:cubicBezTo>
                          <a:pt x="688748" y="534348"/>
                          <a:pt x="689248" y="535027"/>
                          <a:pt x="688569" y="535027"/>
                        </a:cubicBezTo>
                        <a:cubicBezTo>
                          <a:pt x="688409" y="535027"/>
                          <a:pt x="687550" y="534178"/>
                          <a:pt x="686661" y="533129"/>
                        </a:cubicBezTo>
                        <a:close/>
                        <a:moveTo>
                          <a:pt x="814398" y="529743"/>
                        </a:moveTo>
                        <a:lnTo>
                          <a:pt x="811911" y="526996"/>
                        </a:lnTo>
                        <a:lnTo>
                          <a:pt x="814658" y="529483"/>
                        </a:lnTo>
                        <a:cubicBezTo>
                          <a:pt x="816177" y="530852"/>
                          <a:pt x="817405" y="532080"/>
                          <a:pt x="817405" y="532230"/>
                        </a:cubicBezTo>
                        <a:cubicBezTo>
                          <a:pt x="817405" y="532880"/>
                          <a:pt x="816706" y="532310"/>
                          <a:pt x="814398" y="529743"/>
                        </a:cubicBezTo>
                        <a:close/>
                        <a:moveTo>
                          <a:pt x="135755" y="523720"/>
                        </a:moveTo>
                        <a:cubicBezTo>
                          <a:pt x="135755" y="523540"/>
                          <a:pt x="136420" y="522881"/>
                          <a:pt x="137234" y="522241"/>
                        </a:cubicBezTo>
                        <a:cubicBezTo>
                          <a:pt x="138576" y="521182"/>
                          <a:pt x="138606" y="521213"/>
                          <a:pt x="137554" y="522561"/>
                        </a:cubicBezTo>
                        <a:cubicBezTo>
                          <a:pt x="136449" y="523969"/>
                          <a:pt x="135755" y="524409"/>
                          <a:pt x="135755" y="523720"/>
                        </a:cubicBezTo>
                        <a:close/>
                        <a:moveTo>
                          <a:pt x="1158605" y="515369"/>
                        </a:moveTo>
                        <a:lnTo>
                          <a:pt x="1156118" y="512622"/>
                        </a:lnTo>
                        <a:lnTo>
                          <a:pt x="1158875" y="515099"/>
                        </a:lnTo>
                        <a:cubicBezTo>
                          <a:pt x="1161432" y="517417"/>
                          <a:pt x="1162012" y="518116"/>
                          <a:pt x="1161352" y="518116"/>
                        </a:cubicBezTo>
                        <a:cubicBezTo>
                          <a:pt x="1161212" y="518116"/>
                          <a:pt x="1159974" y="516877"/>
                          <a:pt x="1158605" y="515369"/>
                        </a:cubicBezTo>
                        <a:close/>
                        <a:moveTo>
                          <a:pt x="1107562" y="407679"/>
                        </a:moveTo>
                        <a:cubicBezTo>
                          <a:pt x="1107602" y="406690"/>
                          <a:pt x="1107802" y="406490"/>
                          <a:pt x="1108072" y="407169"/>
                        </a:cubicBezTo>
                        <a:cubicBezTo>
                          <a:pt x="1108311" y="407779"/>
                          <a:pt x="1108281" y="408508"/>
                          <a:pt x="1108002" y="408788"/>
                        </a:cubicBezTo>
                        <a:cubicBezTo>
                          <a:pt x="1107722" y="409067"/>
                          <a:pt x="1107522" y="408568"/>
                          <a:pt x="1107552" y="407679"/>
                        </a:cubicBezTo>
                        <a:close/>
                        <a:moveTo>
                          <a:pt x="195868" y="404293"/>
                        </a:moveTo>
                        <a:cubicBezTo>
                          <a:pt x="195909" y="403314"/>
                          <a:pt x="196109" y="403114"/>
                          <a:pt x="196378" y="403783"/>
                        </a:cubicBezTo>
                        <a:cubicBezTo>
                          <a:pt x="196623" y="404393"/>
                          <a:pt x="196593" y="405122"/>
                          <a:pt x="196311" y="405402"/>
                        </a:cubicBezTo>
                        <a:cubicBezTo>
                          <a:pt x="196031" y="405691"/>
                          <a:pt x="195831" y="405192"/>
                          <a:pt x="195867" y="404293"/>
                        </a:cubicBezTo>
                        <a:close/>
                        <a:moveTo>
                          <a:pt x="937392" y="397390"/>
                        </a:moveTo>
                        <a:cubicBezTo>
                          <a:pt x="936343" y="396052"/>
                          <a:pt x="936373" y="396022"/>
                          <a:pt x="937711" y="397071"/>
                        </a:cubicBezTo>
                        <a:cubicBezTo>
                          <a:pt x="939120" y="398179"/>
                          <a:pt x="939569" y="398869"/>
                          <a:pt x="938870" y="398869"/>
                        </a:cubicBezTo>
                        <a:cubicBezTo>
                          <a:pt x="938700" y="398869"/>
                          <a:pt x="938031" y="398199"/>
                          <a:pt x="937392" y="397390"/>
                        </a:cubicBezTo>
                        <a:close/>
                        <a:moveTo>
                          <a:pt x="1106813" y="396751"/>
                        </a:moveTo>
                        <a:cubicBezTo>
                          <a:pt x="1106833" y="395363"/>
                          <a:pt x="1107023" y="394893"/>
                          <a:pt x="1107232" y="395712"/>
                        </a:cubicBezTo>
                        <a:cubicBezTo>
                          <a:pt x="1107452" y="396541"/>
                          <a:pt x="1107432" y="397680"/>
                          <a:pt x="1107203" y="398249"/>
                        </a:cubicBezTo>
                        <a:cubicBezTo>
                          <a:pt x="1106973" y="398819"/>
                          <a:pt x="1106793" y="398149"/>
                          <a:pt x="1106813" y="396751"/>
                        </a:cubicBezTo>
                        <a:close/>
                        <a:moveTo>
                          <a:pt x="369598" y="392945"/>
                        </a:moveTo>
                        <a:cubicBezTo>
                          <a:pt x="370440" y="392016"/>
                          <a:pt x="371319" y="391257"/>
                          <a:pt x="371551" y="391257"/>
                        </a:cubicBezTo>
                        <a:cubicBezTo>
                          <a:pt x="371783" y="391257"/>
                          <a:pt x="371285" y="392016"/>
                          <a:pt x="370443" y="392945"/>
                        </a:cubicBezTo>
                        <a:cubicBezTo>
                          <a:pt x="369602" y="393884"/>
                          <a:pt x="368723" y="394643"/>
                          <a:pt x="368490" y="394643"/>
                        </a:cubicBezTo>
                        <a:cubicBezTo>
                          <a:pt x="368257" y="394643"/>
                          <a:pt x="368756" y="393884"/>
                          <a:pt x="369598" y="392945"/>
                        </a:cubicBezTo>
                        <a:close/>
                        <a:moveTo>
                          <a:pt x="196931" y="387871"/>
                        </a:moveTo>
                        <a:cubicBezTo>
                          <a:pt x="196931" y="384385"/>
                          <a:pt x="197081" y="382956"/>
                          <a:pt x="197262" y="384704"/>
                        </a:cubicBezTo>
                        <a:cubicBezTo>
                          <a:pt x="197445" y="386453"/>
                          <a:pt x="197445" y="389299"/>
                          <a:pt x="197262" y="391047"/>
                        </a:cubicBezTo>
                        <a:cubicBezTo>
                          <a:pt x="197081" y="392795"/>
                          <a:pt x="196931" y="391367"/>
                          <a:pt x="196931" y="387871"/>
                        </a:cubicBezTo>
                        <a:close/>
                        <a:moveTo>
                          <a:pt x="922258" y="381318"/>
                        </a:moveTo>
                        <a:lnTo>
                          <a:pt x="914247" y="373077"/>
                        </a:lnTo>
                        <a:lnTo>
                          <a:pt x="922488" y="381089"/>
                        </a:lnTo>
                        <a:cubicBezTo>
                          <a:pt x="930150" y="388540"/>
                          <a:pt x="931119" y="389569"/>
                          <a:pt x="930509" y="389569"/>
                        </a:cubicBezTo>
                        <a:cubicBezTo>
                          <a:pt x="930379" y="389569"/>
                          <a:pt x="926673" y="385853"/>
                          <a:pt x="922258" y="381318"/>
                        </a:cubicBezTo>
                        <a:close/>
                        <a:moveTo>
                          <a:pt x="1106813" y="378991"/>
                        </a:moveTo>
                        <a:cubicBezTo>
                          <a:pt x="1106833" y="377602"/>
                          <a:pt x="1107023" y="377133"/>
                          <a:pt x="1107232" y="377952"/>
                        </a:cubicBezTo>
                        <a:cubicBezTo>
                          <a:pt x="1107452" y="378781"/>
                          <a:pt x="1107432" y="379920"/>
                          <a:pt x="1107203" y="380489"/>
                        </a:cubicBezTo>
                        <a:cubicBezTo>
                          <a:pt x="1106973" y="381059"/>
                          <a:pt x="1106793" y="380389"/>
                          <a:pt x="1106813" y="378991"/>
                        </a:cubicBezTo>
                        <a:close/>
                        <a:moveTo>
                          <a:pt x="195868" y="371309"/>
                        </a:moveTo>
                        <a:cubicBezTo>
                          <a:pt x="195909" y="370331"/>
                          <a:pt x="196109" y="370131"/>
                          <a:pt x="196378" y="370800"/>
                        </a:cubicBezTo>
                        <a:cubicBezTo>
                          <a:pt x="196623" y="371409"/>
                          <a:pt x="196593" y="372139"/>
                          <a:pt x="196311" y="372418"/>
                        </a:cubicBezTo>
                        <a:cubicBezTo>
                          <a:pt x="196031" y="372708"/>
                          <a:pt x="195831" y="372208"/>
                          <a:pt x="195867" y="371309"/>
                        </a:cubicBezTo>
                        <a:close/>
                        <a:moveTo>
                          <a:pt x="392010" y="370640"/>
                        </a:moveTo>
                        <a:cubicBezTo>
                          <a:pt x="392010" y="370460"/>
                          <a:pt x="392675" y="369801"/>
                          <a:pt x="393489" y="369162"/>
                        </a:cubicBezTo>
                        <a:cubicBezTo>
                          <a:pt x="394830" y="368113"/>
                          <a:pt x="394860" y="368143"/>
                          <a:pt x="393809" y="369481"/>
                        </a:cubicBezTo>
                        <a:cubicBezTo>
                          <a:pt x="392704" y="370890"/>
                          <a:pt x="392010" y="371339"/>
                          <a:pt x="392010" y="370640"/>
                        </a:cubicBezTo>
                        <a:close/>
                        <a:moveTo>
                          <a:pt x="1107562" y="367933"/>
                        </a:moveTo>
                        <a:cubicBezTo>
                          <a:pt x="1107602" y="366944"/>
                          <a:pt x="1107802" y="366744"/>
                          <a:pt x="1108072" y="367414"/>
                        </a:cubicBezTo>
                        <a:cubicBezTo>
                          <a:pt x="1108311" y="368033"/>
                          <a:pt x="1108281" y="368762"/>
                          <a:pt x="1108002" y="369042"/>
                        </a:cubicBezTo>
                        <a:cubicBezTo>
                          <a:pt x="1107722" y="369322"/>
                          <a:pt x="1107522" y="368822"/>
                          <a:pt x="1107552" y="367933"/>
                        </a:cubicBezTo>
                        <a:close/>
                        <a:moveTo>
                          <a:pt x="625271" y="269742"/>
                        </a:moveTo>
                        <a:cubicBezTo>
                          <a:pt x="625881" y="269493"/>
                          <a:pt x="626611" y="269523"/>
                          <a:pt x="626892" y="269812"/>
                        </a:cubicBezTo>
                        <a:cubicBezTo>
                          <a:pt x="627173" y="270092"/>
                          <a:pt x="626673" y="270292"/>
                          <a:pt x="625781" y="270252"/>
                        </a:cubicBezTo>
                        <a:cubicBezTo>
                          <a:pt x="624797" y="270212"/>
                          <a:pt x="624596" y="270012"/>
                          <a:pt x="625271" y="269742"/>
                        </a:cubicBezTo>
                        <a:close/>
                        <a:moveTo>
                          <a:pt x="676860" y="269742"/>
                        </a:moveTo>
                        <a:cubicBezTo>
                          <a:pt x="677471" y="269493"/>
                          <a:pt x="678200" y="269523"/>
                          <a:pt x="678480" y="269812"/>
                        </a:cubicBezTo>
                        <a:cubicBezTo>
                          <a:pt x="678759" y="270092"/>
                          <a:pt x="678260" y="270292"/>
                          <a:pt x="677371" y="270252"/>
                        </a:cubicBezTo>
                        <a:cubicBezTo>
                          <a:pt x="676386" y="270212"/>
                          <a:pt x="676185" y="270012"/>
                          <a:pt x="676860" y="269742"/>
                        </a:cubicBezTo>
                        <a:close/>
                        <a:moveTo>
                          <a:pt x="645055" y="268844"/>
                        </a:moveTo>
                        <a:cubicBezTo>
                          <a:pt x="648175" y="268684"/>
                          <a:pt x="653503" y="268684"/>
                          <a:pt x="656896" y="268844"/>
                        </a:cubicBezTo>
                        <a:cubicBezTo>
                          <a:pt x="660288" y="269003"/>
                          <a:pt x="657736" y="269143"/>
                          <a:pt x="651224" y="269143"/>
                        </a:cubicBezTo>
                        <a:cubicBezTo>
                          <a:pt x="644712" y="269143"/>
                          <a:pt x="641936" y="269013"/>
                          <a:pt x="645055" y="268853"/>
                        </a:cubicBezTo>
                        <a:close/>
                        <a:moveTo>
                          <a:pt x="164509" y="219259"/>
                        </a:moveTo>
                        <a:cubicBezTo>
                          <a:pt x="164509" y="219079"/>
                          <a:pt x="165175" y="218420"/>
                          <a:pt x="165989" y="217780"/>
                        </a:cubicBezTo>
                        <a:cubicBezTo>
                          <a:pt x="167331" y="216722"/>
                          <a:pt x="167361" y="216752"/>
                          <a:pt x="166309" y="218100"/>
                        </a:cubicBezTo>
                        <a:cubicBezTo>
                          <a:pt x="165203" y="219508"/>
                          <a:pt x="164509" y="219948"/>
                          <a:pt x="164509" y="219259"/>
                        </a:cubicBezTo>
                        <a:close/>
                        <a:moveTo>
                          <a:pt x="1134452" y="214714"/>
                        </a:moveTo>
                        <a:cubicBezTo>
                          <a:pt x="1133393" y="213375"/>
                          <a:pt x="1133423" y="213345"/>
                          <a:pt x="1134772" y="214394"/>
                        </a:cubicBezTo>
                        <a:cubicBezTo>
                          <a:pt x="1136180" y="215493"/>
                          <a:pt x="1136620" y="216192"/>
                          <a:pt x="1135931" y="216192"/>
                        </a:cubicBezTo>
                        <a:cubicBezTo>
                          <a:pt x="1135751" y="216192"/>
                          <a:pt x="1135091" y="215523"/>
                          <a:pt x="1134452" y="214714"/>
                        </a:cubicBezTo>
                        <a:close/>
                        <a:moveTo>
                          <a:pt x="172120" y="210798"/>
                        </a:moveTo>
                        <a:cubicBezTo>
                          <a:pt x="172120" y="210618"/>
                          <a:pt x="172787" y="209959"/>
                          <a:pt x="173601" y="209320"/>
                        </a:cubicBezTo>
                        <a:cubicBezTo>
                          <a:pt x="174942" y="208271"/>
                          <a:pt x="174972" y="208301"/>
                          <a:pt x="173920" y="209639"/>
                        </a:cubicBezTo>
                        <a:cubicBezTo>
                          <a:pt x="172815" y="211048"/>
                          <a:pt x="172120" y="211497"/>
                          <a:pt x="172120" y="210798"/>
                        </a:cubicBezTo>
                        <a:close/>
                        <a:moveTo>
                          <a:pt x="1123934" y="203297"/>
                        </a:moveTo>
                        <a:lnTo>
                          <a:pt x="1121447" y="200549"/>
                        </a:lnTo>
                        <a:lnTo>
                          <a:pt x="1124194" y="203027"/>
                        </a:lnTo>
                        <a:cubicBezTo>
                          <a:pt x="1126761" y="205344"/>
                          <a:pt x="1127330" y="206043"/>
                          <a:pt x="1126681" y="206043"/>
                        </a:cubicBezTo>
                        <a:cubicBezTo>
                          <a:pt x="1126531" y="206043"/>
                          <a:pt x="1125292" y="204805"/>
                          <a:pt x="1123934" y="203297"/>
                        </a:cubicBezTo>
                        <a:close/>
                        <a:moveTo>
                          <a:pt x="375782" y="196164"/>
                        </a:moveTo>
                        <a:cubicBezTo>
                          <a:pt x="376392" y="195915"/>
                          <a:pt x="377121" y="195945"/>
                          <a:pt x="377403" y="196234"/>
                        </a:cubicBezTo>
                        <a:cubicBezTo>
                          <a:pt x="377684" y="196514"/>
                          <a:pt x="377184" y="196714"/>
                          <a:pt x="376293" y="196674"/>
                        </a:cubicBezTo>
                        <a:cubicBezTo>
                          <a:pt x="375307" y="196634"/>
                          <a:pt x="375107" y="196434"/>
                          <a:pt x="375782" y="196164"/>
                        </a:cubicBezTo>
                        <a:close/>
                        <a:moveTo>
                          <a:pt x="399462" y="196164"/>
                        </a:moveTo>
                        <a:cubicBezTo>
                          <a:pt x="400073" y="195915"/>
                          <a:pt x="400802" y="195945"/>
                          <a:pt x="401084" y="196234"/>
                        </a:cubicBezTo>
                        <a:cubicBezTo>
                          <a:pt x="401364" y="196514"/>
                          <a:pt x="400865" y="196714"/>
                          <a:pt x="399973" y="196674"/>
                        </a:cubicBezTo>
                        <a:cubicBezTo>
                          <a:pt x="398988" y="196634"/>
                          <a:pt x="398787" y="196434"/>
                          <a:pt x="399462" y="196164"/>
                        </a:cubicBezTo>
                        <a:close/>
                        <a:moveTo>
                          <a:pt x="901821" y="196164"/>
                        </a:moveTo>
                        <a:cubicBezTo>
                          <a:pt x="902430" y="195915"/>
                          <a:pt x="903160" y="195945"/>
                          <a:pt x="903439" y="196234"/>
                        </a:cubicBezTo>
                        <a:cubicBezTo>
                          <a:pt x="903729" y="196514"/>
                          <a:pt x="903230" y="196714"/>
                          <a:pt x="902331" y="196674"/>
                        </a:cubicBezTo>
                        <a:cubicBezTo>
                          <a:pt x="901352" y="196634"/>
                          <a:pt x="901152" y="196434"/>
                          <a:pt x="901821" y="196164"/>
                        </a:cubicBezTo>
                        <a:close/>
                        <a:moveTo>
                          <a:pt x="1099821" y="179193"/>
                        </a:moveTo>
                        <a:lnTo>
                          <a:pt x="1097763" y="176866"/>
                        </a:lnTo>
                        <a:lnTo>
                          <a:pt x="1100090" y="178914"/>
                        </a:lnTo>
                        <a:cubicBezTo>
                          <a:pt x="1101369" y="180042"/>
                          <a:pt x="1102418" y="181091"/>
                          <a:pt x="1102418" y="181241"/>
                        </a:cubicBezTo>
                        <a:cubicBezTo>
                          <a:pt x="1102418" y="181910"/>
                          <a:pt x="1101729" y="181371"/>
                          <a:pt x="1099821" y="179193"/>
                        </a:cubicBezTo>
                        <a:close/>
                        <a:moveTo>
                          <a:pt x="209332" y="173590"/>
                        </a:moveTo>
                        <a:cubicBezTo>
                          <a:pt x="209332" y="173410"/>
                          <a:pt x="209998" y="172740"/>
                          <a:pt x="210812" y="172111"/>
                        </a:cubicBezTo>
                        <a:cubicBezTo>
                          <a:pt x="212154" y="171052"/>
                          <a:pt x="212184" y="171082"/>
                          <a:pt x="211132" y="172431"/>
                        </a:cubicBezTo>
                        <a:cubicBezTo>
                          <a:pt x="210027" y="173839"/>
                          <a:pt x="209333" y="174279"/>
                          <a:pt x="209333" y="173590"/>
                        </a:cubicBezTo>
                        <a:close/>
                        <a:moveTo>
                          <a:pt x="1087934" y="168196"/>
                        </a:moveTo>
                        <a:cubicBezTo>
                          <a:pt x="1086885" y="166857"/>
                          <a:pt x="1086915" y="166827"/>
                          <a:pt x="1088254" y="167876"/>
                        </a:cubicBezTo>
                        <a:cubicBezTo>
                          <a:pt x="1089063" y="168515"/>
                          <a:pt x="1089732" y="169184"/>
                          <a:pt x="1089732" y="169354"/>
                        </a:cubicBezTo>
                        <a:cubicBezTo>
                          <a:pt x="1089732" y="170054"/>
                          <a:pt x="1089043" y="169604"/>
                          <a:pt x="1087934" y="168196"/>
                        </a:cubicBezTo>
                        <a:close/>
                        <a:moveTo>
                          <a:pt x="217790" y="165978"/>
                        </a:moveTo>
                        <a:cubicBezTo>
                          <a:pt x="217790" y="165798"/>
                          <a:pt x="218456" y="165129"/>
                          <a:pt x="219270" y="164500"/>
                        </a:cubicBezTo>
                        <a:cubicBezTo>
                          <a:pt x="220611" y="163441"/>
                          <a:pt x="220641" y="163471"/>
                          <a:pt x="219590" y="164819"/>
                        </a:cubicBezTo>
                        <a:cubicBezTo>
                          <a:pt x="218484" y="166228"/>
                          <a:pt x="217790" y="166667"/>
                          <a:pt x="217790" y="165978"/>
                        </a:cubicBezTo>
                        <a:close/>
                        <a:moveTo>
                          <a:pt x="266734" y="150435"/>
                        </a:moveTo>
                        <a:cubicBezTo>
                          <a:pt x="265682" y="149097"/>
                          <a:pt x="265712" y="149067"/>
                          <a:pt x="267054" y="150116"/>
                        </a:cubicBezTo>
                        <a:cubicBezTo>
                          <a:pt x="267867" y="150755"/>
                          <a:pt x="268533" y="151424"/>
                          <a:pt x="268533" y="151594"/>
                        </a:cubicBezTo>
                        <a:cubicBezTo>
                          <a:pt x="268533" y="152293"/>
                          <a:pt x="267839" y="151844"/>
                          <a:pt x="266734" y="150435"/>
                        </a:cubicBezTo>
                        <a:close/>
                        <a:moveTo>
                          <a:pt x="786899" y="143673"/>
                        </a:moveTo>
                        <a:lnTo>
                          <a:pt x="784851" y="141345"/>
                        </a:lnTo>
                        <a:lnTo>
                          <a:pt x="787179" y="143393"/>
                        </a:lnTo>
                        <a:cubicBezTo>
                          <a:pt x="788457" y="144522"/>
                          <a:pt x="789496" y="145571"/>
                          <a:pt x="789496" y="145721"/>
                        </a:cubicBezTo>
                        <a:cubicBezTo>
                          <a:pt x="789496" y="146390"/>
                          <a:pt x="788817" y="145850"/>
                          <a:pt x="786899" y="143673"/>
                        </a:cubicBezTo>
                        <a:close/>
                        <a:moveTo>
                          <a:pt x="523097" y="136371"/>
                        </a:moveTo>
                        <a:cubicBezTo>
                          <a:pt x="523097" y="136201"/>
                          <a:pt x="523763" y="135532"/>
                          <a:pt x="524577" y="134893"/>
                        </a:cubicBezTo>
                        <a:cubicBezTo>
                          <a:pt x="525918" y="133844"/>
                          <a:pt x="525948" y="133874"/>
                          <a:pt x="524896" y="135212"/>
                        </a:cubicBezTo>
                        <a:cubicBezTo>
                          <a:pt x="523791" y="136621"/>
                          <a:pt x="523097" y="137070"/>
                          <a:pt x="523097" y="136371"/>
                        </a:cubicBezTo>
                        <a:close/>
                        <a:moveTo>
                          <a:pt x="568833" y="33865"/>
                        </a:moveTo>
                        <a:cubicBezTo>
                          <a:pt x="568874" y="32886"/>
                          <a:pt x="569074" y="32686"/>
                          <a:pt x="569343" y="33356"/>
                        </a:cubicBezTo>
                        <a:cubicBezTo>
                          <a:pt x="569588" y="33965"/>
                          <a:pt x="569558" y="34694"/>
                          <a:pt x="569276" y="34984"/>
                        </a:cubicBezTo>
                        <a:cubicBezTo>
                          <a:pt x="568996" y="35264"/>
                          <a:pt x="568796" y="34764"/>
                          <a:pt x="568832" y="33865"/>
                        </a:cubicBezTo>
                        <a:close/>
                        <a:moveTo>
                          <a:pt x="733818" y="25904"/>
                        </a:moveTo>
                        <a:cubicBezTo>
                          <a:pt x="733818" y="24745"/>
                          <a:pt x="734008" y="24266"/>
                          <a:pt x="734238" y="24845"/>
                        </a:cubicBezTo>
                        <a:cubicBezTo>
                          <a:pt x="734477" y="25425"/>
                          <a:pt x="734477" y="26383"/>
                          <a:pt x="734238" y="26963"/>
                        </a:cubicBezTo>
                        <a:cubicBezTo>
                          <a:pt x="734008" y="27542"/>
                          <a:pt x="733818" y="27063"/>
                          <a:pt x="733818" y="25904"/>
                        </a:cubicBezTo>
                        <a:close/>
                        <a:moveTo>
                          <a:pt x="569808" y="23367"/>
                        </a:moveTo>
                        <a:cubicBezTo>
                          <a:pt x="569808" y="21739"/>
                          <a:pt x="569982" y="21069"/>
                          <a:pt x="570194" y="21888"/>
                        </a:cubicBezTo>
                        <a:cubicBezTo>
                          <a:pt x="570407" y="22698"/>
                          <a:pt x="570407" y="24036"/>
                          <a:pt x="570194" y="24845"/>
                        </a:cubicBezTo>
                        <a:cubicBezTo>
                          <a:pt x="569982" y="25664"/>
                          <a:pt x="569808" y="24995"/>
                          <a:pt x="569808" y="23367"/>
                        </a:cubicBezTo>
                        <a:close/>
                        <a:moveTo>
                          <a:pt x="569678" y="6805"/>
                        </a:moveTo>
                        <a:cubicBezTo>
                          <a:pt x="569719" y="5816"/>
                          <a:pt x="569920" y="5617"/>
                          <a:pt x="570189" y="6296"/>
                        </a:cubicBezTo>
                        <a:cubicBezTo>
                          <a:pt x="570433" y="6905"/>
                          <a:pt x="570403" y="7634"/>
                          <a:pt x="570122" y="7914"/>
                        </a:cubicBezTo>
                        <a:cubicBezTo>
                          <a:pt x="569842" y="8194"/>
                          <a:pt x="569641" y="7694"/>
                          <a:pt x="569678" y="6805"/>
                        </a:cubicBezTo>
                        <a:close/>
                        <a:moveTo>
                          <a:pt x="580447" y="4188"/>
                        </a:moveTo>
                        <a:cubicBezTo>
                          <a:pt x="581058" y="3938"/>
                          <a:pt x="581787" y="3968"/>
                          <a:pt x="582068" y="4258"/>
                        </a:cubicBezTo>
                        <a:cubicBezTo>
                          <a:pt x="582349" y="4538"/>
                          <a:pt x="581849" y="4738"/>
                          <a:pt x="580958" y="4698"/>
                        </a:cubicBezTo>
                        <a:cubicBezTo>
                          <a:pt x="579973" y="4658"/>
                          <a:pt x="579773" y="4458"/>
                          <a:pt x="580447" y="4188"/>
                        </a:cubicBezTo>
                        <a:close/>
                        <a:moveTo>
                          <a:pt x="713231" y="3339"/>
                        </a:moveTo>
                        <a:cubicBezTo>
                          <a:pt x="713840" y="3089"/>
                          <a:pt x="714570" y="3119"/>
                          <a:pt x="714849" y="3409"/>
                        </a:cubicBezTo>
                        <a:cubicBezTo>
                          <a:pt x="715129" y="3689"/>
                          <a:pt x="714630" y="3888"/>
                          <a:pt x="713740" y="3849"/>
                        </a:cubicBezTo>
                        <a:cubicBezTo>
                          <a:pt x="712752" y="3809"/>
                          <a:pt x="712552" y="3609"/>
                          <a:pt x="713221" y="3339"/>
                        </a:cubicBezTo>
                        <a:close/>
                        <a:moveTo>
                          <a:pt x="703921" y="2490"/>
                        </a:moveTo>
                        <a:cubicBezTo>
                          <a:pt x="704531" y="2250"/>
                          <a:pt x="705260" y="2280"/>
                          <a:pt x="705540" y="2560"/>
                        </a:cubicBezTo>
                        <a:cubicBezTo>
                          <a:pt x="705829" y="2840"/>
                          <a:pt x="705330" y="3039"/>
                          <a:pt x="704431" y="3010"/>
                        </a:cubicBezTo>
                        <a:cubicBezTo>
                          <a:pt x="703452" y="2969"/>
                          <a:pt x="703252" y="2770"/>
                          <a:pt x="703921" y="2490"/>
                        </a:cubicBezTo>
                        <a:close/>
                        <a:moveTo>
                          <a:pt x="609149" y="1661"/>
                        </a:moveTo>
                        <a:cubicBezTo>
                          <a:pt x="609730" y="1431"/>
                          <a:pt x="610682" y="1431"/>
                          <a:pt x="611264" y="1661"/>
                        </a:cubicBezTo>
                        <a:cubicBezTo>
                          <a:pt x="611845" y="1901"/>
                          <a:pt x="611369" y="2090"/>
                          <a:pt x="610207" y="2090"/>
                        </a:cubicBezTo>
                        <a:cubicBezTo>
                          <a:pt x="609043" y="2090"/>
                          <a:pt x="608568" y="1901"/>
                          <a:pt x="609149" y="1661"/>
                        </a:cubicBezTo>
                        <a:close/>
                        <a:moveTo>
                          <a:pt x="692035" y="1661"/>
                        </a:moveTo>
                        <a:cubicBezTo>
                          <a:pt x="692614" y="1431"/>
                          <a:pt x="693563" y="1431"/>
                          <a:pt x="694142" y="1661"/>
                        </a:cubicBezTo>
                        <a:cubicBezTo>
                          <a:pt x="694722" y="1901"/>
                          <a:pt x="694252" y="2090"/>
                          <a:pt x="693084" y="2090"/>
                        </a:cubicBezTo>
                        <a:cubicBezTo>
                          <a:pt x="691925" y="2090"/>
                          <a:pt x="691445" y="1901"/>
                          <a:pt x="692035" y="1661"/>
                        </a:cubicBezTo>
                        <a:close/>
                        <a:moveTo>
                          <a:pt x="626064" y="822"/>
                        </a:moveTo>
                        <a:cubicBezTo>
                          <a:pt x="626645" y="582"/>
                          <a:pt x="627596" y="582"/>
                          <a:pt x="628178" y="822"/>
                        </a:cubicBezTo>
                        <a:cubicBezTo>
                          <a:pt x="628759" y="1052"/>
                          <a:pt x="628284" y="1241"/>
                          <a:pt x="627121" y="1241"/>
                        </a:cubicBezTo>
                        <a:cubicBezTo>
                          <a:pt x="625958" y="1241"/>
                          <a:pt x="625482" y="1052"/>
                          <a:pt x="626064" y="822"/>
                        </a:cubicBezTo>
                        <a:close/>
                        <a:moveTo>
                          <a:pt x="674709" y="792"/>
                        </a:moveTo>
                        <a:cubicBezTo>
                          <a:pt x="675532" y="572"/>
                          <a:pt x="676674" y="582"/>
                          <a:pt x="677246" y="822"/>
                        </a:cubicBezTo>
                        <a:cubicBezTo>
                          <a:pt x="677818" y="1052"/>
                          <a:pt x="677145" y="1221"/>
                          <a:pt x="675750" y="1212"/>
                        </a:cubicBezTo>
                        <a:cubicBezTo>
                          <a:pt x="674354" y="1192"/>
                          <a:pt x="673886" y="1002"/>
                          <a:pt x="674709" y="782"/>
                        </a:cubicBezTo>
                        <a:close/>
                      </a:path>
                    </a:pathLst>
                  </a:custGeom>
                  <a:solidFill>
                    <a:srgbClr val="12A29B"/>
                  </a:solidFill>
                  <a:ln w="3046" cap="flat">
                    <a:no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78F8622C-E964-4B59-BDFE-E485CF52FDEF}"/>
                    </a:ext>
                  </a:extLst>
                </p:cNvPr>
                <p:cNvSpPr txBox="1"/>
                <p:nvPr userDrawn="1"/>
              </p:nvSpPr>
              <p:spPr>
                <a:xfrm>
                  <a:off x="482104" y="6362003"/>
                  <a:ext cx="3352383" cy="276999"/>
                </a:xfrm>
                <a:prstGeom prst="rect">
                  <a:avLst/>
                </a:prstGeom>
                <a:noFill/>
              </p:spPr>
              <p:txBody>
                <a:bodyPr wrap="square" rtlCol="0">
                  <a:spAutoFit/>
                </a:bodyPr>
                <a:lstStyle>
                  <a:defPPr>
                    <a:defRPr lang="en-US"/>
                  </a:defPPr>
                  <a:lvl1pPr>
                    <a:defRPr sz="1600">
                      <a:solidFill>
                        <a:srgbClr val="0F9EC0"/>
                      </a:solidFill>
                      <a:latin typeface="Univers LT Std 57 Cn" panose="020B0506020202050204" pitchFamily="34" charset="0"/>
                    </a:defRPr>
                  </a:lvl1pPr>
                </a:lstStyle>
                <a:p>
                  <a:r>
                    <a:rPr lang="en-US" sz="1200">
                      <a:solidFill>
                        <a:srgbClr val="004C92"/>
                      </a:solidFill>
                    </a:rPr>
                    <a:t>Technology Lifecycle Management </a:t>
                  </a:r>
                </a:p>
              </p:txBody>
            </p:sp>
          </p:grpSp>
          <p:sp>
            <p:nvSpPr>
              <p:cNvPr id="20" name="TextBox 19">
                <a:extLst>
                  <a:ext uri="{FF2B5EF4-FFF2-40B4-BE49-F238E27FC236}">
                    <a16:creationId xmlns:a16="http://schemas.microsoft.com/office/drawing/2014/main" id="{A3AD3A86-16DF-4308-A621-3C64830CC100}"/>
                  </a:ext>
                </a:extLst>
              </p:cNvPr>
              <p:cNvSpPr txBox="1"/>
              <p:nvPr userDrawn="1"/>
            </p:nvSpPr>
            <p:spPr>
              <a:xfrm>
                <a:off x="506450" y="6543092"/>
                <a:ext cx="4305670" cy="215444"/>
              </a:xfrm>
              <a:prstGeom prst="rect">
                <a:avLst/>
              </a:prstGeom>
              <a:noFill/>
            </p:spPr>
            <p:txBody>
              <a:bodyPr wrap="square" rtlCol="0">
                <a:spAutoFit/>
              </a:bodyPr>
              <a:lstStyle/>
              <a:p>
                <a:r>
                  <a:rPr lang="en-US" sz="800">
                    <a:solidFill>
                      <a:srgbClr val="6BA42C"/>
                    </a:solidFill>
                    <a:latin typeface="Arial" panose="020B0604020202020204" pitchFamily="34" charset="0"/>
                    <a:cs typeface="Arial" panose="020B0604020202020204" pitchFamily="34" charset="0"/>
                  </a:rPr>
                  <a:t>Excellence </a:t>
                </a:r>
                <a:r>
                  <a:rPr lang="en-US" sz="800">
                    <a:solidFill>
                      <a:srgbClr val="6BA42C"/>
                    </a:solidFill>
                    <a:effectLst/>
                    <a:latin typeface="Arial" panose="020B0604020202020204" pitchFamily="34" charset="0"/>
                    <a:ea typeface="Times New Roman" panose="02020603050405020304" pitchFamily="18" charset="0"/>
                    <a:cs typeface="Arial" panose="020B0604020202020204" pitchFamily="34" charset="0"/>
                  </a:rPr>
                  <a:t>–</a:t>
                </a:r>
                <a:r>
                  <a:rPr lang="en-US" sz="800">
                    <a:solidFill>
                      <a:srgbClr val="6BA42C"/>
                    </a:solidFill>
                    <a:latin typeface="Arial" panose="020B0604020202020204" pitchFamily="34" charset="0"/>
                    <a:cs typeface="Arial" panose="020B0604020202020204" pitchFamily="34" charset="0"/>
                  </a:rPr>
                  <a:t> it is in our DNA</a:t>
                </a:r>
              </a:p>
            </p:txBody>
          </p:sp>
        </p:grpSp>
        <p:pic>
          <p:nvPicPr>
            <p:cNvPr id="22" name="Picture 21">
              <a:extLst>
                <a:ext uri="{FF2B5EF4-FFF2-40B4-BE49-F238E27FC236}">
                  <a16:creationId xmlns:a16="http://schemas.microsoft.com/office/drawing/2014/main" id="{1ADD77B7-D799-48CF-A634-BE399AE558C3}"/>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193800" y="6340046"/>
              <a:ext cx="383581" cy="323468"/>
            </a:xfrm>
            <a:custGeom>
              <a:avLst/>
              <a:gdLst>
                <a:gd name="connsiteX0" fmla="*/ 0 w 1861428"/>
                <a:gd name="connsiteY0" fmla="*/ 0 h 1569709"/>
                <a:gd name="connsiteX1" fmla="*/ 1861428 w 1861428"/>
                <a:gd name="connsiteY1" fmla="*/ 0 h 1569709"/>
                <a:gd name="connsiteX2" fmla="*/ 1674817 w 1861428"/>
                <a:gd name="connsiteY2" fmla="*/ 292356 h 1569709"/>
                <a:gd name="connsiteX3" fmla="*/ 1430373 w 1861428"/>
                <a:gd name="connsiteY3" fmla="*/ 419105 h 1569709"/>
                <a:gd name="connsiteX4" fmla="*/ 1312678 w 1861428"/>
                <a:gd name="connsiteY4" fmla="*/ 563960 h 1569709"/>
                <a:gd name="connsiteX5" fmla="*/ 1294571 w 1861428"/>
                <a:gd name="connsiteY5" fmla="*/ 989473 h 1569709"/>
                <a:gd name="connsiteX6" fmla="*/ 1095395 w 1861428"/>
                <a:gd name="connsiteY6" fmla="*/ 1170543 h 1569709"/>
                <a:gd name="connsiteX7" fmla="*/ 678936 w 1861428"/>
                <a:gd name="connsiteY7" fmla="*/ 1306345 h 1569709"/>
                <a:gd name="connsiteX8" fmla="*/ 343957 w 1861428"/>
                <a:gd name="connsiteY8" fmla="*/ 1460253 h 1569709"/>
                <a:gd name="connsiteX9" fmla="*/ 341723 w 1861428"/>
                <a:gd name="connsiteY9" fmla="*/ 1569709 h 1569709"/>
                <a:gd name="connsiteX10" fmla="*/ 0 w 1861428"/>
                <a:gd name="connsiteY10" fmla="*/ 1569709 h 1569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61428" h="1569709">
                  <a:moveTo>
                    <a:pt x="0" y="0"/>
                  </a:moveTo>
                  <a:lnTo>
                    <a:pt x="1861428" y="0"/>
                  </a:lnTo>
                  <a:lnTo>
                    <a:pt x="1674817" y="292356"/>
                  </a:lnTo>
                  <a:lnTo>
                    <a:pt x="1430373" y="419105"/>
                  </a:lnTo>
                  <a:lnTo>
                    <a:pt x="1312678" y="563960"/>
                  </a:lnTo>
                  <a:lnTo>
                    <a:pt x="1294571" y="989473"/>
                  </a:lnTo>
                  <a:lnTo>
                    <a:pt x="1095395" y="1170543"/>
                  </a:lnTo>
                  <a:lnTo>
                    <a:pt x="678936" y="1306345"/>
                  </a:lnTo>
                  <a:lnTo>
                    <a:pt x="343957" y="1460253"/>
                  </a:lnTo>
                  <a:lnTo>
                    <a:pt x="341723" y="1569709"/>
                  </a:lnTo>
                  <a:lnTo>
                    <a:pt x="0" y="1569709"/>
                  </a:lnTo>
                  <a:close/>
                </a:path>
              </a:pathLst>
            </a:custGeom>
          </p:spPr>
        </p:pic>
      </p:grpSp>
      <p:graphicFrame>
        <p:nvGraphicFramePr>
          <p:cNvPr id="24" name="Object 23" hidden="1">
            <a:extLst>
              <a:ext uri="{FF2B5EF4-FFF2-40B4-BE49-F238E27FC236}">
                <a16:creationId xmlns:a16="http://schemas.microsoft.com/office/drawing/2014/main" id="{91A8B5BE-D303-4A7E-9DE5-50CD2A878ECC}"/>
              </a:ext>
            </a:extLst>
          </p:cNvPr>
          <p:cNvGraphicFramePr>
            <a:graphicFrameLocks noChangeAspect="1"/>
          </p:cNvGraphicFramePr>
          <p:nvPr userDrawn="1">
            <p:custDataLst>
              <p:tags r:id="rId1"/>
            </p:custDataLst>
            <p:extLst>
              <p:ext uri="{D42A27DB-BD31-4B8C-83A1-F6EECF244321}">
                <p14:modId xmlns:p14="http://schemas.microsoft.com/office/powerpoint/2010/main" val="38428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24" name="Object 23" hidden="1">
                        <a:extLst>
                          <a:ext uri="{FF2B5EF4-FFF2-40B4-BE49-F238E27FC236}">
                            <a16:creationId xmlns:a16="http://schemas.microsoft.com/office/drawing/2014/main" id="{91A8B5BE-D303-4A7E-9DE5-50CD2A878E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Picture 17" descr="A picture containing icon&#10;&#10;Description automatically generated">
            <a:extLst>
              <a:ext uri="{FF2B5EF4-FFF2-40B4-BE49-F238E27FC236}">
                <a16:creationId xmlns:a16="http://schemas.microsoft.com/office/drawing/2014/main" id="{871F79A1-AFF8-48AE-9F3F-35B5E9A24F50}"/>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646316" y="6364349"/>
            <a:ext cx="1216152" cy="272465"/>
          </a:xfrm>
          <a:prstGeom prst="rect">
            <a:avLst/>
          </a:prstGeom>
        </p:spPr>
      </p:pic>
      <p:sp>
        <p:nvSpPr>
          <p:cNvPr id="4" name="MSIPCMContentMarking" descr="{&quot;HashCode&quot;:1831732991,&quot;Placement&quot;:&quot;Footer&quot;}">
            <a:extLst>
              <a:ext uri="{FF2B5EF4-FFF2-40B4-BE49-F238E27FC236}">
                <a16:creationId xmlns:a16="http://schemas.microsoft.com/office/drawing/2014/main" id="{9449208B-853F-418E-AAC0-914D113F204B}"/>
              </a:ext>
            </a:extLst>
          </p:cNvPr>
          <p:cNvSpPr txBox="1"/>
          <p:nvPr userDrawn="1"/>
        </p:nvSpPr>
        <p:spPr>
          <a:xfrm>
            <a:off x="5389152" y="6649884"/>
            <a:ext cx="1413695" cy="15388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chemeClr val="tx1">
                    <a:lumMod val="75000"/>
                    <a:lumOff val="25000"/>
                  </a:schemeClr>
                </a:solidFill>
                <a:latin typeface="Calibri" panose="020F0502020204030204" pitchFamily="34" charset="0"/>
              </a:rPr>
              <a:t>Schlumberger-Private</a:t>
            </a:r>
          </a:p>
        </p:txBody>
      </p:sp>
      <p:sp>
        <p:nvSpPr>
          <p:cNvPr id="5" name="Slide Number Placeholder 5">
            <a:extLst>
              <a:ext uri="{FF2B5EF4-FFF2-40B4-BE49-F238E27FC236}">
                <a16:creationId xmlns:a16="http://schemas.microsoft.com/office/drawing/2014/main" id="{9F9A5162-AB47-4B1B-AA28-A2DD5975DDD3}"/>
              </a:ext>
            </a:extLst>
          </p:cNvPr>
          <p:cNvSpPr>
            <a:spLocks noGrp="1"/>
          </p:cNvSpPr>
          <p:nvPr>
            <p:ph type="sldNum" sz="quarter" idx="4"/>
          </p:nvPr>
        </p:nvSpPr>
        <p:spPr>
          <a:xfrm>
            <a:off x="9447165" y="6475987"/>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15964FF0-3D12-894F-89A0-D8BCC07A230C}" type="slidenum">
              <a:rPr lang="en-US" smtClean="0"/>
              <a:pPr/>
              <a:t>‹#›</a:t>
            </a:fld>
            <a:endParaRPr lang="en-US"/>
          </a:p>
        </p:txBody>
      </p:sp>
      <p:sp>
        <p:nvSpPr>
          <p:cNvPr id="15" name="Content Placeholder 2">
            <a:extLst>
              <a:ext uri="{FF2B5EF4-FFF2-40B4-BE49-F238E27FC236}">
                <a16:creationId xmlns:a16="http://schemas.microsoft.com/office/drawing/2014/main" id="{AAFD3EF8-C284-4215-863B-345C46F6CB03}"/>
              </a:ext>
            </a:extLst>
          </p:cNvPr>
          <p:cNvSpPr>
            <a:spLocks noGrp="1"/>
          </p:cNvSpPr>
          <p:nvPr>
            <p:ph idx="1"/>
          </p:nvPr>
        </p:nvSpPr>
        <p:spPr>
          <a:xfrm>
            <a:off x="517660" y="1431010"/>
            <a:ext cx="11155093" cy="4117035"/>
          </a:xfrm>
        </p:spPr>
        <p:txBody>
          <a:bodyPr>
            <a:normAutofit/>
          </a:bodyPr>
          <a:lstStyle>
            <a:lvl1pPr marL="228600" indent="-228600">
              <a:buFont typeface="Wingdings" panose="05000000000000000000" pitchFamily="2" charset="2"/>
              <a:buChar char="§"/>
              <a:defRPr sz="2000">
                <a:solidFill>
                  <a:schemeClr val="tx1"/>
                </a:solidFill>
              </a:defRPr>
            </a:lvl1pPr>
            <a:lvl2pPr marL="685800" indent="-228600">
              <a:buFont typeface="Wingdings" panose="05000000000000000000" pitchFamily="2" charset="2"/>
              <a:buChar char="§"/>
              <a:defRPr sz="1800">
                <a:solidFill>
                  <a:schemeClr val="tx1"/>
                </a:solidFill>
              </a:defRPr>
            </a:lvl2pPr>
            <a:lvl3pPr marL="1143000" indent="-228600">
              <a:buFont typeface="Wingdings" panose="05000000000000000000" pitchFamily="2" charset="2"/>
              <a:buChar char="§"/>
              <a:defRPr sz="1600">
                <a:solidFill>
                  <a:schemeClr val="tx1"/>
                </a:solidFill>
              </a:defRPr>
            </a:lvl3pPr>
            <a:lvl4pPr marL="1600200" indent="-228600">
              <a:buFont typeface="Wingdings" panose="05000000000000000000" pitchFamily="2" charset="2"/>
              <a:buChar char="§"/>
              <a:defRPr sz="1400">
                <a:solidFill>
                  <a:schemeClr val="tx1"/>
                </a:solidFill>
              </a:defRPr>
            </a:lvl4pPr>
            <a:lvl5pPr marL="2057400" indent="-228600">
              <a:buFont typeface="Wingdings" panose="05000000000000000000"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4">
            <a:extLst>
              <a:ext uri="{FF2B5EF4-FFF2-40B4-BE49-F238E27FC236}">
                <a16:creationId xmlns:a16="http://schemas.microsoft.com/office/drawing/2014/main" id="{5CF78261-FC7C-4D4B-A1D1-1616647AA272}"/>
              </a:ext>
            </a:extLst>
          </p:cNvPr>
          <p:cNvSpPr>
            <a:spLocks noGrp="1"/>
          </p:cNvSpPr>
          <p:nvPr>
            <p:ph type="title"/>
          </p:nvPr>
        </p:nvSpPr>
        <p:spPr>
          <a:xfrm>
            <a:off x="516073" y="543560"/>
            <a:ext cx="11156680" cy="887450"/>
          </a:xfrm>
          <a:prstGeom prst="rect">
            <a:avLst/>
          </a:prstGeom>
        </p:spPr>
        <p:txBody>
          <a:bodyPr vert="horz">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65935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Basin Map">
    <p:bg>
      <p:bgPr>
        <a:solidFill>
          <a:schemeClr val="bg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3B0B03C-65C1-B39F-F4CF-D3F9200D5416}"/>
              </a:ext>
            </a:extLst>
          </p:cNvPr>
          <p:cNvSpPr/>
          <p:nvPr userDrawn="1"/>
        </p:nvSpPr>
        <p:spPr>
          <a:xfrm>
            <a:off x="238539" y="1078788"/>
            <a:ext cx="9117495" cy="55626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8EF50B7-28CC-1AAA-7DAB-B4A38148BF8A}"/>
              </a:ext>
            </a:extLst>
          </p:cNvPr>
          <p:cNvSpPr/>
          <p:nvPr userDrawn="1"/>
        </p:nvSpPr>
        <p:spPr>
          <a:xfrm>
            <a:off x="238540" y="261709"/>
            <a:ext cx="9117494" cy="734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a:xfrm>
            <a:off x="457200" y="457201"/>
            <a:ext cx="8672513" cy="332399"/>
          </a:xfrm>
        </p:spPr>
        <p:txBody>
          <a:bodyPr wrap="square">
            <a:spAutoFit/>
          </a:bodyPr>
          <a:lstStyle>
            <a:lvl1pPr>
              <a:defRPr sz="2400"/>
            </a:lvl1pPr>
          </a:lstStyle>
          <a:p>
            <a:r>
              <a:rPr lang="en-US"/>
              <a:t>Click to edit Master title style</a:t>
            </a:r>
            <a:endParaRPr lang="en-GB"/>
          </a:p>
        </p:txBody>
      </p:sp>
      <p:pic>
        <p:nvPicPr>
          <p:cNvPr id="8" name="Graphic 7">
            <a:extLst>
              <a:ext uri="{FF2B5EF4-FFF2-40B4-BE49-F238E27FC236}">
                <a16:creationId xmlns:a16="http://schemas.microsoft.com/office/drawing/2014/main" id="{358762FB-9D63-2349-6E8F-D2CFE4E431E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9" name="Rectangle 8">
            <a:extLst>
              <a:ext uri="{FF2B5EF4-FFF2-40B4-BE49-F238E27FC236}">
                <a16:creationId xmlns:a16="http://schemas.microsoft.com/office/drawing/2014/main" id="{45A8EDF0-4DAB-ACF1-7FD5-891321DB014E}"/>
              </a:ext>
            </a:extLst>
          </p:cNvPr>
          <p:cNvSpPr/>
          <p:nvPr userDrawn="1"/>
        </p:nvSpPr>
        <p:spPr>
          <a:xfrm>
            <a:off x="238540" y="189708"/>
            <a:ext cx="911749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35678054-26F6-BE3B-EE69-C659B73A4C9D}"/>
              </a:ext>
            </a:extLst>
          </p:cNvPr>
          <p:cNvSpPr>
            <a:spLocks noGrp="1"/>
          </p:cNvSpPr>
          <p:nvPr>
            <p:ph type="body" sz="quarter" idx="13"/>
          </p:nvPr>
        </p:nvSpPr>
        <p:spPr>
          <a:xfrm>
            <a:off x="9594850" y="1376362"/>
            <a:ext cx="2278063" cy="4560887"/>
          </a:xfrm>
        </p:spPr>
        <p:txBody>
          <a:bodyPr/>
          <a:lstStyle>
            <a:lvl1pPr>
              <a:defRPr sz="1600"/>
            </a:lvl1pPr>
            <a:lvl2pPr>
              <a:defRPr sz="1600"/>
            </a:lvl2pPr>
            <a:lvl3pPr>
              <a:defRPr sz="16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3598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31ED342-3D5F-E744-5C02-ED60F13F3A32}"/>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p:nvPr>
        </p:nvSpPr>
        <p:spPr>
          <a:xfrm>
            <a:off x="457200" y="975334"/>
            <a:ext cx="9144000" cy="3439236"/>
          </a:xfrm>
        </p:spPr>
        <p:txBody>
          <a:bodyPr anchor="b">
            <a:noAutofit/>
          </a:bodyPr>
          <a:lstStyle>
            <a:lvl1pPr algn="l">
              <a:lnSpc>
                <a:spcPct val="80000"/>
              </a:lnSpc>
              <a:defRPr sz="8800">
                <a:solidFill>
                  <a:schemeClr val="accent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pic>
        <p:nvPicPr>
          <p:cNvPr id="5" name="Graphic 4">
            <a:extLst>
              <a:ext uri="{FF2B5EF4-FFF2-40B4-BE49-F238E27FC236}">
                <a16:creationId xmlns:a16="http://schemas.microsoft.com/office/drawing/2014/main" id="{AC1A5716-3608-4053-4CC8-84BF92B5D6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34093661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2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41084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4108450"/>
            <a:ext cx="3968750" cy="2743200"/>
          </a:xfrm>
        </p:spPr>
        <p:txBody>
          <a:bodyPr/>
          <a:lstStyle/>
          <a:p>
            <a:r>
              <a:rPr lang="en-US"/>
              <a:t>Click icon to add picture</a:t>
            </a:r>
            <a:endParaRPr lang="en-GB"/>
          </a:p>
        </p:txBody>
      </p:sp>
    </p:spTree>
    <p:extLst>
      <p:ext uri="{BB962C8B-B14F-4D97-AF65-F5344CB8AC3E}">
        <p14:creationId xmlns:p14="http://schemas.microsoft.com/office/powerpoint/2010/main" val="18917178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for 1 Sent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0ADC76-D61C-14B2-73B6-03136E7AB583}"/>
              </a:ext>
            </a:extLst>
          </p:cNvPr>
          <p:cNvSpPr/>
          <p:nvPr userDrawn="1"/>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hasCustomPrompt="1"/>
          </p:nvPr>
        </p:nvSpPr>
        <p:spPr>
          <a:xfrm>
            <a:off x="457200" y="3049750"/>
            <a:ext cx="9144000" cy="1083374"/>
          </a:xfrm>
        </p:spPr>
        <p:txBody>
          <a:bodyPr anchor="b">
            <a:noAutofit/>
          </a:bodyPr>
          <a:lstStyle>
            <a:lvl1pPr algn="l">
              <a:lnSpc>
                <a:spcPct val="80000"/>
              </a:lnSpc>
              <a:defRPr sz="8800">
                <a:solidFill>
                  <a:schemeClr val="accent1"/>
                </a:solidFill>
              </a:defRPr>
            </a:lvl1pPr>
          </a:lstStyle>
          <a:p>
            <a:r>
              <a:rPr lang="en-US" dirty="0"/>
              <a:t>Master title style</a:t>
            </a:r>
            <a:endParaRPr lang="en-GB" dirty="0"/>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sp>
        <p:nvSpPr>
          <p:cNvPr id="6" name="Picture Placeholder 11">
            <a:extLst>
              <a:ext uri="{FF2B5EF4-FFF2-40B4-BE49-F238E27FC236}">
                <a16:creationId xmlns:a16="http://schemas.microsoft.com/office/drawing/2014/main" id="{577C862B-51AF-22E7-C1C8-B6AB08B70818}"/>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pic>
        <p:nvPicPr>
          <p:cNvPr id="5" name="Graphic 4">
            <a:extLst>
              <a:ext uri="{FF2B5EF4-FFF2-40B4-BE49-F238E27FC236}">
                <a16:creationId xmlns:a16="http://schemas.microsoft.com/office/drawing/2014/main" id="{7C47EC89-A6A9-22D1-1BE8-E0D34780BDC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174040672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9" name="Picture Placeholder 11">
            <a:extLst>
              <a:ext uri="{FF2B5EF4-FFF2-40B4-BE49-F238E27FC236}">
                <a16:creationId xmlns:a16="http://schemas.microsoft.com/office/drawing/2014/main" id="{01E87593-5AB1-A742-817D-C9CC722DF5EB}"/>
              </a:ext>
            </a:extLst>
          </p:cNvPr>
          <p:cNvSpPr>
            <a:spLocks noGrp="1"/>
          </p:cNvSpPr>
          <p:nvPr>
            <p:ph type="pic" sz="quarter" idx="13" hasCustomPrompt="1"/>
          </p:nvPr>
        </p:nvSpPr>
        <p:spPr>
          <a:xfrm>
            <a:off x="0" y="0"/>
            <a:ext cx="12192000" cy="685800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B4FC5297-363A-7DB8-E10F-5C447164ED3E}"/>
              </a:ext>
            </a:extLst>
          </p:cNvPr>
          <p:cNvSpPr>
            <a:spLocks noGrp="1"/>
          </p:cNvSpPr>
          <p:nvPr>
            <p:ph type="title"/>
          </p:nvPr>
        </p:nvSpPr>
        <p:spPr>
          <a:xfrm>
            <a:off x="457200" y="402608"/>
            <a:ext cx="9586913" cy="2852737"/>
          </a:xfrm>
        </p:spPr>
        <p:txBody>
          <a:bodyPr anchor="t"/>
          <a:lstStyle>
            <a:lvl1pPr>
              <a:defRPr sz="7200"/>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62B0A461-379B-6A19-B69E-A04AF5ECEBFA}"/>
              </a:ext>
            </a:extLst>
          </p:cNvPr>
          <p:cNvSpPr>
            <a:spLocks noGrp="1"/>
          </p:cNvSpPr>
          <p:nvPr>
            <p:ph type="body" idx="1"/>
          </p:nvPr>
        </p:nvSpPr>
        <p:spPr>
          <a:xfrm>
            <a:off x="457201" y="3654426"/>
            <a:ext cx="5937250" cy="914399"/>
          </a:xfr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27BFB576-48D2-B938-362D-C2CA0F65CCCF}"/>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9744F17B-F1E6-D688-7E7E-CD7675D187CA}"/>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3014422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A26944-9883-9ACF-5400-2F702B82D504}"/>
              </a:ext>
            </a:extLst>
          </p:cNvPr>
          <p:cNvSpPr/>
          <p:nvPr userDrawn="1"/>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2ECD5EDD-F44D-E2A4-B31C-712D8B99E8B7}"/>
              </a:ext>
            </a:extLst>
          </p:cNvPr>
          <p:cNvSpPr>
            <a:spLocks noGrp="1"/>
          </p:cNvSpPr>
          <p:nvPr>
            <p:ph type="pic" sz="quarter" idx="14" hasCustomPrompt="1"/>
          </p:nvPr>
        </p:nvSpPr>
        <p:spPr>
          <a:xfrm>
            <a:off x="0" y="-19050"/>
            <a:ext cx="8223250" cy="687705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7E35D584-0EEB-DF18-6040-C306755CF2C6}"/>
              </a:ext>
            </a:extLst>
          </p:cNvPr>
          <p:cNvSpPr>
            <a:spLocks noGrp="1"/>
          </p:cNvSpPr>
          <p:nvPr>
            <p:ph type="title"/>
          </p:nvPr>
        </p:nvSpPr>
        <p:spPr>
          <a:xfrm>
            <a:off x="7769225" y="2047164"/>
            <a:ext cx="3651250" cy="2061286"/>
          </a:xfrm>
        </p:spPr>
        <p:txBody>
          <a:bodyPr>
            <a:normAutofit/>
          </a:bodyPr>
          <a:lstStyle>
            <a:lvl1pPr>
              <a:defRPr sz="4800"/>
            </a:lvl1p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D5AE34A6-9330-09DC-1C21-168B521268CA}"/>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8BDBDCCB-998D-EBD0-8BD5-00E7B94ADC54}"/>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11" name="Text Placeholder 9">
            <a:extLst>
              <a:ext uri="{FF2B5EF4-FFF2-40B4-BE49-F238E27FC236}">
                <a16:creationId xmlns:a16="http://schemas.microsoft.com/office/drawing/2014/main" id="{5DF72ABF-3158-3C09-4A36-943B3A21C0B9}"/>
              </a:ext>
            </a:extLst>
          </p:cNvPr>
          <p:cNvSpPr>
            <a:spLocks noGrp="1"/>
          </p:cNvSpPr>
          <p:nvPr>
            <p:ph type="body" sz="quarter" idx="13"/>
          </p:nvPr>
        </p:nvSpPr>
        <p:spPr>
          <a:xfrm>
            <a:off x="9129713" y="4339989"/>
            <a:ext cx="2743200" cy="1597261"/>
          </a:xfrm>
        </p:spPr>
        <p:txBody>
          <a:bodyPr>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673145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Key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accent1"/>
              </a:buClr>
              <a:buFont typeface="SLB Sans Light" panose="02000503040000020004" pitchFamily="2" charset="0"/>
              <a:buChar char="→"/>
              <a:defRPr sz="3600" b="0">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6411838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Key Bullet Blue">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3C7488-E944-893A-2043-FE9944331A8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bg1"/>
              </a:buClr>
              <a:buFont typeface="SLB Sans Light" panose="02000503040000020004" pitchFamily="2" charset="0"/>
              <a:buChar char="→"/>
              <a:defRPr sz="3600" b="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F0650C58-ADB6-799E-D665-4F33A4818F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2942724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52790248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Blue">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552FDF-29F0-FEA1-55F4-48C517205ACB}"/>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37BC1DE3-EE83-6842-B054-58DA3F6BFD3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09248028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6634050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Blu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50BD1E-00A9-4F45-5A21-3A16C0123F69}"/>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5" name="Graphic 4">
            <a:extLst>
              <a:ext uri="{FF2B5EF4-FFF2-40B4-BE49-F238E27FC236}">
                <a16:creationId xmlns:a16="http://schemas.microsoft.com/office/drawing/2014/main" id="{DB5DA967-430E-FD94-6B0C-7C66CB6678D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60896189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3606990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accent3"/>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F53DD-0966-0BFD-B778-F487FDD28A20}"/>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Text Placeholder 8">
            <a:extLst>
              <a:ext uri="{FF2B5EF4-FFF2-40B4-BE49-F238E27FC236}">
                <a16:creationId xmlns:a16="http://schemas.microsoft.com/office/drawing/2014/main" id="{ECA6186D-802B-AA5D-226E-496C143AC661}"/>
              </a:ext>
            </a:extLst>
          </p:cNvPr>
          <p:cNvSpPr>
            <a:spLocks noGrp="1"/>
          </p:cNvSpPr>
          <p:nvPr>
            <p:ph type="body" sz="quarter" idx="13"/>
          </p:nvPr>
        </p:nvSpPr>
        <p:spPr>
          <a:xfrm>
            <a:off x="8223250" y="4568825"/>
            <a:ext cx="3968750" cy="2289175"/>
          </a:xfrm>
          <a:solidFill>
            <a:schemeClr val="bg2"/>
          </a:solidFill>
        </p:spPr>
        <p:txBody>
          <a:bodyPr lIns="468000" tIns="468000" rIns="360000">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141BAAD1-B2B6-51E6-5B60-1808F5AC81C2}"/>
              </a:ext>
            </a:extLst>
          </p:cNvPr>
          <p:cNvSpPr>
            <a:spLocks noGrp="1"/>
          </p:cNvSpPr>
          <p:nvPr>
            <p:ph type="chart" sz="quarter" idx="14"/>
          </p:nvPr>
        </p:nvSpPr>
        <p:spPr>
          <a:xfrm>
            <a:off x="8680450" y="457200"/>
            <a:ext cx="3192463" cy="3651250"/>
          </a:xfrm>
        </p:spPr>
        <p:txBody>
          <a:bodyPr/>
          <a:lstStyle/>
          <a:p>
            <a:r>
              <a:rPr lang="en-US"/>
              <a:t>Click icon to add chart</a:t>
            </a:r>
            <a:endParaRPr lang="en-GB"/>
          </a:p>
        </p:txBody>
      </p:sp>
      <p:pic>
        <p:nvPicPr>
          <p:cNvPr id="5" name="Graphic 4">
            <a:extLst>
              <a:ext uri="{FF2B5EF4-FFF2-40B4-BE49-F238E27FC236}">
                <a16:creationId xmlns:a16="http://schemas.microsoft.com/office/drawing/2014/main" id="{8DDAAA2D-F47B-6394-6A72-F074375588A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9684468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nd 2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41084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4108450"/>
            <a:ext cx="3968750" cy="2743200"/>
          </a:xfrm>
        </p:spPr>
        <p:txBody>
          <a:bodyPr/>
          <a:lstStyle/>
          <a:p>
            <a:r>
              <a:rPr lang="en-US"/>
              <a:t>Click icon to add picture</a:t>
            </a:r>
            <a:endParaRPr lang="en-GB"/>
          </a:p>
        </p:txBody>
      </p:sp>
    </p:spTree>
    <p:extLst>
      <p:ext uri="{BB962C8B-B14F-4D97-AF65-F5344CB8AC3E}">
        <p14:creationId xmlns:p14="http://schemas.microsoft.com/office/powerpoint/2010/main" val="12024564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accent3"/>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F53DD-0966-0BFD-B778-F487FDD28A20}"/>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Text Placeholder 8">
            <a:extLst>
              <a:ext uri="{FF2B5EF4-FFF2-40B4-BE49-F238E27FC236}">
                <a16:creationId xmlns:a16="http://schemas.microsoft.com/office/drawing/2014/main" id="{ECA6186D-802B-AA5D-226E-496C143AC661}"/>
              </a:ext>
            </a:extLst>
          </p:cNvPr>
          <p:cNvSpPr>
            <a:spLocks noGrp="1"/>
          </p:cNvSpPr>
          <p:nvPr>
            <p:ph type="body" sz="quarter" idx="13"/>
          </p:nvPr>
        </p:nvSpPr>
        <p:spPr>
          <a:xfrm>
            <a:off x="8223250" y="4568825"/>
            <a:ext cx="3968750" cy="2289175"/>
          </a:xfrm>
          <a:solidFill>
            <a:schemeClr val="bg2"/>
          </a:solidFill>
        </p:spPr>
        <p:txBody>
          <a:bodyPr lIns="468000" tIns="468000" rIns="360000">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hart Placeholder 12">
            <a:extLst>
              <a:ext uri="{FF2B5EF4-FFF2-40B4-BE49-F238E27FC236}">
                <a16:creationId xmlns:a16="http://schemas.microsoft.com/office/drawing/2014/main" id="{141BAAD1-B2B6-51E6-5B60-1808F5AC81C2}"/>
              </a:ext>
            </a:extLst>
          </p:cNvPr>
          <p:cNvSpPr>
            <a:spLocks noGrp="1"/>
          </p:cNvSpPr>
          <p:nvPr>
            <p:ph type="chart" sz="quarter" idx="14"/>
          </p:nvPr>
        </p:nvSpPr>
        <p:spPr>
          <a:xfrm>
            <a:off x="8680450" y="457200"/>
            <a:ext cx="3192463" cy="3651250"/>
          </a:xfrm>
        </p:spPr>
        <p:txBody>
          <a:bodyPr/>
          <a:lstStyle/>
          <a:p>
            <a:r>
              <a:rPr lang="en-US"/>
              <a:t>Click icon to add chart</a:t>
            </a:r>
            <a:endParaRPr lang="en-GB"/>
          </a:p>
        </p:txBody>
      </p:sp>
      <p:pic>
        <p:nvPicPr>
          <p:cNvPr id="5" name="Graphic 4">
            <a:extLst>
              <a:ext uri="{FF2B5EF4-FFF2-40B4-BE49-F238E27FC236}">
                <a16:creationId xmlns:a16="http://schemas.microsoft.com/office/drawing/2014/main" id="{8DDAAA2D-F47B-6394-6A72-F074375588A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384066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ext and Image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8080376"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EDD43530-2003-7EDD-62EC-552AB7BE35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4022282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wo Column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Content Placeholder 2">
            <a:extLst>
              <a:ext uri="{FF2B5EF4-FFF2-40B4-BE49-F238E27FC236}">
                <a16:creationId xmlns:a16="http://schemas.microsoft.com/office/drawing/2014/main" id="{7C38C3D6-67EC-0336-DD99-56DDA5E52710}"/>
              </a:ext>
            </a:extLst>
          </p:cNvPr>
          <p:cNvSpPr>
            <a:spLocks noGrp="1"/>
          </p:cNvSpPr>
          <p:nvPr>
            <p:ph sz="half" idx="13"/>
          </p:nvPr>
        </p:nvSpPr>
        <p:spPr>
          <a:xfrm>
            <a:off x="4572000" y="2279650"/>
            <a:ext cx="73009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8" name="Graphic 7">
            <a:extLst>
              <a:ext uri="{FF2B5EF4-FFF2-40B4-BE49-F238E27FC236}">
                <a16:creationId xmlns:a16="http://schemas.microsoft.com/office/drawing/2014/main" id="{77F3EFBD-B4F2-F929-4A06-6F13B5F7B0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1390116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ext and 2 Image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4111625"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1828800"/>
            <a:ext cx="3968750" cy="5022850"/>
          </a:xfrm>
        </p:spPr>
        <p:txBody>
          <a:bodyPr/>
          <a:lstStyle/>
          <a:p>
            <a:r>
              <a:rPr lang="en-US"/>
              <a:t>Click icon to add picture</a:t>
            </a:r>
            <a:endParaRPr lang="en-GB"/>
          </a:p>
        </p:txBody>
      </p:sp>
      <p:pic>
        <p:nvPicPr>
          <p:cNvPr id="9" name="Graphic 8">
            <a:extLst>
              <a:ext uri="{FF2B5EF4-FFF2-40B4-BE49-F238E27FC236}">
                <a16:creationId xmlns:a16="http://schemas.microsoft.com/office/drawing/2014/main" id="{B45D086E-DF0D-EA77-42DA-30D06A62159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3018841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92533017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and 2 Im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5797550" cy="3197225"/>
          </a:xfrm>
        </p:spPr>
        <p:txBody>
          <a:bodyPr/>
          <a:lstStyle/>
          <a:p>
            <a:r>
              <a:rPr lang="en-US"/>
              <a:t>Click icon to add picture</a:t>
            </a:r>
            <a:endParaRPr lang="en-GB"/>
          </a:p>
        </p:txBody>
      </p:sp>
    </p:spTree>
    <p:extLst>
      <p:ext uri="{BB962C8B-B14F-4D97-AF65-F5344CB8AC3E}">
        <p14:creationId xmlns:p14="http://schemas.microsoft.com/office/powerpoint/2010/main" val="168117815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and 3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9594850" y="3654425"/>
            <a:ext cx="2597150" cy="3197225"/>
          </a:xfrm>
        </p:spPr>
        <p:txBody>
          <a:bodyPr/>
          <a:lstStyle/>
          <a:p>
            <a:r>
              <a:rPr lang="en-US"/>
              <a:t>Click icon to add picture</a:t>
            </a:r>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3200400" cy="3197225"/>
          </a:xfrm>
        </p:spPr>
        <p:txBody>
          <a:bodyPr/>
          <a:lstStyle/>
          <a:p>
            <a:r>
              <a:rPr lang="en-US"/>
              <a:t>Click icon to add picture</a:t>
            </a:r>
            <a:endParaRPr lang="en-GB"/>
          </a:p>
        </p:txBody>
      </p:sp>
    </p:spTree>
    <p:extLst>
      <p:ext uri="{BB962C8B-B14F-4D97-AF65-F5344CB8AC3E}">
        <p14:creationId xmlns:p14="http://schemas.microsoft.com/office/powerpoint/2010/main" val="20776359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Multi Layout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E91FA772-0BFE-9951-6889-D200B7DA587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75431144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95238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and Image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8080376"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EDD43530-2003-7EDD-62EC-552AB7BE35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33731211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556348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31ED342-3D5F-E744-5C02-ED60F13F3A32}"/>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p:nvPr>
        </p:nvSpPr>
        <p:spPr>
          <a:xfrm>
            <a:off x="457200" y="975334"/>
            <a:ext cx="9144000" cy="3439236"/>
          </a:xfrm>
        </p:spPr>
        <p:txBody>
          <a:bodyPr anchor="b">
            <a:noAutofit/>
          </a:bodyPr>
          <a:lstStyle>
            <a:lvl1pPr algn="l">
              <a:lnSpc>
                <a:spcPct val="80000"/>
              </a:lnSpc>
              <a:defRPr sz="8800">
                <a:solidFill>
                  <a:schemeClr val="accent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pic>
        <p:nvPicPr>
          <p:cNvPr id="5" name="Graphic 4">
            <a:extLst>
              <a:ext uri="{FF2B5EF4-FFF2-40B4-BE49-F238E27FC236}">
                <a16:creationId xmlns:a16="http://schemas.microsoft.com/office/drawing/2014/main" id="{9F166A59-25A3-3A00-7289-60767DE59A8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11796024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for 1 Sent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0ADC76-D61C-14B2-73B6-03136E7AB583}"/>
              </a:ext>
            </a:extLst>
          </p:cNvPr>
          <p:cNvSpPr/>
          <p:nvPr userDrawn="1"/>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hasCustomPrompt="1"/>
          </p:nvPr>
        </p:nvSpPr>
        <p:spPr>
          <a:xfrm>
            <a:off x="457200" y="3049750"/>
            <a:ext cx="9144000" cy="1083374"/>
          </a:xfrm>
        </p:spPr>
        <p:txBody>
          <a:bodyPr anchor="b">
            <a:noAutofit/>
          </a:bodyPr>
          <a:lstStyle>
            <a:lvl1pPr algn="l">
              <a:lnSpc>
                <a:spcPct val="80000"/>
              </a:lnSpc>
              <a:defRPr sz="8800">
                <a:solidFill>
                  <a:schemeClr val="accent1"/>
                </a:solidFill>
              </a:defRPr>
            </a:lvl1pPr>
          </a:lstStyle>
          <a:p>
            <a:r>
              <a:rPr lang="en-US" dirty="0"/>
              <a:t>Master title style</a:t>
            </a:r>
            <a:endParaRPr lang="en-GB" dirty="0"/>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sp>
        <p:nvSpPr>
          <p:cNvPr id="6" name="Picture Placeholder 11">
            <a:extLst>
              <a:ext uri="{FF2B5EF4-FFF2-40B4-BE49-F238E27FC236}">
                <a16:creationId xmlns:a16="http://schemas.microsoft.com/office/drawing/2014/main" id="{577C862B-51AF-22E7-C1C8-B6AB08B70818}"/>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pic>
        <p:nvPicPr>
          <p:cNvPr id="5" name="Graphic 4">
            <a:extLst>
              <a:ext uri="{FF2B5EF4-FFF2-40B4-BE49-F238E27FC236}">
                <a16:creationId xmlns:a16="http://schemas.microsoft.com/office/drawing/2014/main" id="{B6991778-B436-9629-6EC4-E96EA59B0C8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350381489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9" name="Picture Placeholder 11">
            <a:extLst>
              <a:ext uri="{FF2B5EF4-FFF2-40B4-BE49-F238E27FC236}">
                <a16:creationId xmlns:a16="http://schemas.microsoft.com/office/drawing/2014/main" id="{01E87593-5AB1-A742-817D-C9CC722DF5EB}"/>
              </a:ext>
            </a:extLst>
          </p:cNvPr>
          <p:cNvSpPr>
            <a:spLocks noGrp="1"/>
          </p:cNvSpPr>
          <p:nvPr>
            <p:ph type="pic" sz="quarter" idx="13" hasCustomPrompt="1"/>
          </p:nvPr>
        </p:nvSpPr>
        <p:spPr>
          <a:xfrm>
            <a:off x="0" y="0"/>
            <a:ext cx="12192000" cy="685800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B4FC5297-363A-7DB8-E10F-5C447164ED3E}"/>
              </a:ext>
            </a:extLst>
          </p:cNvPr>
          <p:cNvSpPr>
            <a:spLocks noGrp="1"/>
          </p:cNvSpPr>
          <p:nvPr>
            <p:ph type="title"/>
          </p:nvPr>
        </p:nvSpPr>
        <p:spPr>
          <a:xfrm>
            <a:off x="457200" y="402608"/>
            <a:ext cx="9586913" cy="2852737"/>
          </a:xfrm>
        </p:spPr>
        <p:txBody>
          <a:bodyPr anchor="t"/>
          <a:lstStyle>
            <a:lvl1pPr>
              <a:defRPr sz="7200"/>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62B0A461-379B-6A19-B69E-A04AF5ECEBFA}"/>
              </a:ext>
            </a:extLst>
          </p:cNvPr>
          <p:cNvSpPr>
            <a:spLocks noGrp="1"/>
          </p:cNvSpPr>
          <p:nvPr>
            <p:ph type="body" idx="1"/>
          </p:nvPr>
        </p:nvSpPr>
        <p:spPr>
          <a:xfrm>
            <a:off x="457201" y="3654426"/>
            <a:ext cx="5937250" cy="914399"/>
          </a:xfr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27BFB576-48D2-B938-362D-C2CA0F65CCCF}"/>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6" name="Slide Number Placeholder 5">
            <a:extLst>
              <a:ext uri="{FF2B5EF4-FFF2-40B4-BE49-F238E27FC236}">
                <a16:creationId xmlns:a16="http://schemas.microsoft.com/office/drawing/2014/main" id="{9744F17B-F1E6-D688-7E7E-CD7675D187CA}"/>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7F1A0222-B118-DD79-00E6-0881AAA2BE5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11059263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A26944-9883-9ACF-5400-2F702B82D504}"/>
              </a:ext>
            </a:extLst>
          </p:cNvPr>
          <p:cNvSpPr/>
          <p:nvPr userDrawn="1"/>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2ECD5EDD-F44D-E2A4-B31C-712D8B99E8B7}"/>
              </a:ext>
            </a:extLst>
          </p:cNvPr>
          <p:cNvSpPr>
            <a:spLocks noGrp="1"/>
          </p:cNvSpPr>
          <p:nvPr>
            <p:ph type="pic" sz="quarter" idx="14" hasCustomPrompt="1"/>
          </p:nvPr>
        </p:nvSpPr>
        <p:spPr>
          <a:xfrm>
            <a:off x="0" y="-19050"/>
            <a:ext cx="8223250" cy="687705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7E35D584-0EEB-DF18-6040-C306755CF2C6}"/>
              </a:ext>
            </a:extLst>
          </p:cNvPr>
          <p:cNvSpPr>
            <a:spLocks noGrp="1"/>
          </p:cNvSpPr>
          <p:nvPr>
            <p:ph type="title"/>
          </p:nvPr>
        </p:nvSpPr>
        <p:spPr>
          <a:xfrm>
            <a:off x="7769225" y="2047164"/>
            <a:ext cx="3651250" cy="2061286"/>
          </a:xfrm>
        </p:spPr>
        <p:txBody>
          <a:bodyPr>
            <a:normAutofit/>
          </a:bodyPr>
          <a:lstStyle>
            <a:lvl1pPr>
              <a:defRPr sz="4800"/>
            </a:lvl1pPr>
          </a:lstStyle>
          <a:p>
            <a:r>
              <a:rPr lang="en-US"/>
              <a:t>Click to edit Master title style</a:t>
            </a:r>
            <a:endParaRPr lang="en-GB" dirty="0"/>
          </a:p>
        </p:txBody>
      </p:sp>
      <p:sp>
        <p:nvSpPr>
          <p:cNvPr id="3" name="Footer Placeholder 2">
            <a:extLst>
              <a:ext uri="{FF2B5EF4-FFF2-40B4-BE49-F238E27FC236}">
                <a16:creationId xmlns:a16="http://schemas.microsoft.com/office/drawing/2014/main" id="{D5AE34A6-9330-09DC-1C21-168B521268CA}"/>
              </a:ext>
            </a:extLst>
          </p:cNvPr>
          <p:cNvSpPr>
            <a:spLocks noGrp="1"/>
          </p:cNvSpPr>
          <p:nvPr>
            <p:ph type="ftr" sz="quarter" idx="10"/>
          </p:nvPr>
        </p:nvSpPr>
        <p:spPr>
          <a:xfrm>
            <a:off x="1828435" y="6391587"/>
            <a:ext cx="9367616" cy="249859"/>
          </a:xfrm>
          <a:prstGeom prst="rect">
            <a:avLst/>
          </a:prstGeom>
        </p:spPr>
        <p:txBody>
          <a:bodyPr/>
          <a:lstStyle/>
          <a:p>
            <a:r>
              <a:rPr lang="en-US"/>
              <a:t>SLB Technology. Private. Internal use only.</a:t>
            </a:r>
            <a:endParaRPr lang="en-GB"/>
          </a:p>
        </p:txBody>
      </p:sp>
      <p:sp>
        <p:nvSpPr>
          <p:cNvPr id="4" name="Slide Number Placeholder 3">
            <a:extLst>
              <a:ext uri="{FF2B5EF4-FFF2-40B4-BE49-F238E27FC236}">
                <a16:creationId xmlns:a16="http://schemas.microsoft.com/office/drawing/2014/main" id="{8BDBDCCB-998D-EBD0-8BD5-00E7B94ADC54}"/>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11" name="Text Placeholder 9">
            <a:extLst>
              <a:ext uri="{FF2B5EF4-FFF2-40B4-BE49-F238E27FC236}">
                <a16:creationId xmlns:a16="http://schemas.microsoft.com/office/drawing/2014/main" id="{5DF72ABF-3158-3C09-4A36-943B3A21C0B9}"/>
              </a:ext>
            </a:extLst>
          </p:cNvPr>
          <p:cNvSpPr>
            <a:spLocks noGrp="1"/>
          </p:cNvSpPr>
          <p:nvPr>
            <p:ph type="body" sz="quarter" idx="13"/>
          </p:nvPr>
        </p:nvSpPr>
        <p:spPr>
          <a:xfrm>
            <a:off x="9129713" y="4339989"/>
            <a:ext cx="2743200" cy="1597261"/>
          </a:xfrm>
        </p:spPr>
        <p:txBody>
          <a:bodyPr>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38844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Key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accent1"/>
              </a:buClr>
              <a:buFont typeface="SLB Sans Light" panose="02000503040000020004" pitchFamily="2" charset="0"/>
              <a:buChar char="→"/>
              <a:defRPr sz="3600" b="0">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10861465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Key Bullet Blue">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3C7488-E944-893A-2043-FE9944331A8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Tx/>
              <a:buFont typeface="SLB Sans Light" panose="02000503040000020004" pitchFamily="2" charset="0"/>
              <a:buChar char="→"/>
              <a:defRPr sz="3600" b="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3A8ADEEA-C976-6343-E015-561A866601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8321209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14082580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Blue">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552FDF-29F0-FEA1-55F4-48C517205ACB}"/>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FB57FFDA-D27B-2D1D-703B-FAC972FA970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9158636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8618798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lumn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Content Placeholder 2">
            <a:extLst>
              <a:ext uri="{FF2B5EF4-FFF2-40B4-BE49-F238E27FC236}">
                <a16:creationId xmlns:a16="http://schemas.microsoft.com/office/drawing/2014/main" id="{7C38C3D6-67EC-0336-DD99-56DDA5E52710}"/>
              </a:ext>
            </a:extLst>
          </p:cNvPr>
          <p:cNvSpPr>
            <a:spLocks noGrp="1"/>
          </p:cNvSpPr>
          <p:nvPr>
            <p:ph sz="half" idx="13"/>
          </p:nvPr>
        </p:nvSpPr>
        <p:spPr>
          <a:xfrm>
            <a:off x="4572000" y="2279650"/>
            <a:ext cx="73009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Graphic 7">
            <a:extLst>
              <a:ext uri="{FF2B5EF4-FFF2-40B4-BE49-F238E27FC236}">
                <a16:creationId xmlns:a16="http://schemas.microsoft.com/office/drawing/2014/main" id="{77F3EFBD-B4F2-F929-4A06-6F13B5F7B0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41923383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Blu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50BD1E-00A9-4F45-5A21-3A16C0123F69}"/>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5" name="Graphic 4">
            <a:extLst>
              <a:ext uri="{FF2B5EF4-FFF2-40B4-BE49-F238E27FC236}">
                <a16:creationId xmlns:a16="http://schemas.microsoft.com/office/drawing/2014/main" id="{90EA85E6-F1EF-96E4-5D58-38735E3A98D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84122142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90274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and 2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41084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4108450"/>
            <a:ext cx="3968750" cy="2743200"/>
          </a:xfrm>
        </p:spPr>
        <p:txBody>
          <a:bodyPr/>
          <a:lstStyle/>
          <a:p>
            <a:r>
              <a:rPr lang="en-US"/>
              <a:t>Click icon to add picture</a:t>
            </a:r>
            <a:endParaRPr lang="en-GB"/>
          </a:p>
        </p:txBody>
      </p:sp>
    </p:spTree>
    <p:extLst>
      <p:ext uri="{BB962C8B-B14F-4D97-AF65-F5344CB8AC3E}">
        <p14:creationId xmlns:p14="http://schemas.microsoft.com/office/powerpoint/2010/main" val="30170165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F53DD-0966-0BFD-B778-F487FDD28A20}"/>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Text Placeholder 8">
            <a:extLst>
              <a:ext uri="{FF2B5EF4-FFF2-40B4-BE49-F238E27FC236}">
                <a16:creationId xmlns:a16="http://schemas.microsoft.com/office/drawing/2014/main" id="{ECA6186D-802B-AA5D-226E-496C143AC661}"/>
              </a:ext>
            </a:extLst>
          </p:cNvPr>
          <p:cNvSpPr>
            <a:spLocks noGrp="1"/>
          </p:cNvSpPr>
          <p:nvPr>
            <p:ph type="body" sz="quarter" idx="13"/>
          </p:nvPr>
        </p:nvSpPr>
        <p:spPr>
          <a:xfrm>
            <a:off x="8223250" y="4568825"/>
            <a:ext cx="3968750" cy="2289175"/>
          </a:xfrm>
          <a:solidFill>
            <a:schemeClr val="bg2"/>
          </a:solidFill>
        </p:spPr>
        <p:txBody>
          <a:bodyPr lIns="468000" tIns="468000" rIns="36000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hart Placeholder 12">
            <a:extLst>
              <a:ext uri="{FF2B5EF4-FFF2-40B4-BE49-F238E27FC236}">
                <a16:creationId xmlns:a16="http://schemas.microsoft.com/office/drawing/2014/main" id="{141BAAD1-B2B6-51E6-5B60-1808F5AC81C2}"/>
              </a:ext>
            </a:extLst>
          </p:cNvPr>
          <p:cNvSpPr>
            <a:spLocks noGrp="1"/>
          </p:cNvSpPr>
          <p:nvPr>
            <p:ph type="chart" sz="quarter" idx="14"/>
          </p:nvPr>
        </p:nvSpPr>
        <p:spPr>
          <a:xfrm>
            <a:off x="8680450" y="457200"/>
            <a:ext cx="3192463" cy="3651250"/>
          </a:xfrm>
        </p:spPr>
        <p:txBody>
          <a:bodyPr/>
          <a:lstStyle/>
          <a:p>
            <a:r>
              <a:rPr lang="en-US"/>
              <a:t>Click icon to add chart</a:t>
            </a:r>
            <a:endParaRPr lang="en-GB"/>
          </a:p>
        </p:txBody>
      </p:sp>
      <p:pic>
        <p:nvPicPr>
          <p:cNvPr id="5" name="Graphic 4">
            <a:extLst>
              <a:ext uri="{FF2B5EF4-FFF2-40B4-BE49-F238E27FC236}">
                <a16:creationId xmlns:a16="http://schemas.microsoft.com/office/drawing/2014/main" id="{BCBC916D-681F-B16B-82E0-C83AEC5C63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25360722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and Image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8080376"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64123430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Content Placeholder 2">
            <a:extLst>
              <a:ext uri="{FF2B5EF4-FFF2-40B4-BE49-F238E27FC236}">
                <a16:creationId xmlns:a16="http://schemas.microsoft.com/office/drawing/2014/main" id="{7C38C3D6-67EC-0336-DD99-56DDA5E52710}"/>
              </a:ext>
            </a:extLst>
          </p:cNvPr>
          <p:cNvSpPr>
            <a:spLocks noGrp="1"/>
          </p:cNvSpPr>
          <p:nvPr>
            <p:ph sz="half" idx="13"/>
          </p:nvPr>
        </p:nvSpPr>
        <p:spPr>
          <a:xfrm>
            <a:off x="4572000" y="2279650"/>
            <a:ext cx="73009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9278114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and 2 Image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4111625"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1828800"/>
            <a:ext cx="3968750" cy="5022850"/>
          </a:xfrm>
        </p:spPr>
        <p:txBody>
          <a:bodyPr/>
          <a:lstStyle/>
          <a:p>
            <a:r>
              <a:rPr lang="en-US"/>
              <a:t>Click icon to add picture</a:t>
            </a:r>
            <a:endParaRPr lang="en-GB"/>
          </a:p>
        </p:txBody>
      </p:sp>
    </p:spTree>
    <p:extLst>
      <p:ext uri="{BB962C8B-B14F-4D97-AF65-F5344CB8AC3E}">
        <p14:creationId xmlns:p14="http://schemas.microsoft.com/office/powerpoint/2010/main" val="163212982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5239190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and 2 Im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5797550" cy="3197225"/>
          </a:xfrm>
        </p:spPr>
        <p:txBody>
          <a:bodyPr/>
          <a:lstStyle/>
          <a:p>
            <a:r>
              <a:rPr lang="en-US"/>
              <a:t>Click icon to add picture</a:t>
            </a:r>
            <a:endParaRPr lang="en-GB"/>
          </a:p>
        </p:txBody>
      </p:sp>
    </p:spTree>
    <p:extLst>
      <p:ext uri="{BB962C8B-B14F-4D97-AF65-F5344CB8AC3E}">
        <p14:creationId xmlns:p14="http://schemas.microsoft.com/office/powerpoint/2010/main" val="30108043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and 3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9594850" y="3654425"/>
            <a:ext cx="2597150" cy="3197225"/>
          </a:xfrm>
        </p:spPr>
        <p:txBody>
          <a:bodyPr/>
          <a:lstStyle/>
          <a:p>
            <a:r>
              <a:rPr lang="en-US"/>
              <a:t>Click icon to add picture</a:t>
            </a:r>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3200400" cy="3197225"/>
          </a:xfrm>
        </p:spPr>
        <p:txBody>
          <a:bodyPr/>
          <a:lstStyle/>
          <a:p>
            <a:r>
              <a:rPr lang="en-US"/>
              <a:t>Click icon to add picture</a:t>
            </a:r>
            <a:endParaRPr lang="en-GB"/>
          </a:p>
        </p:txBody>
      </p:sp>
    </p:spTree>
    <p:extLst>
      <p:ext uri="{BB962C8B-B14F-4D97-AF65-F5344CB8AC3E}">
        <p14:creationId xmlns:p14="http://schemas.microsoft.com/office/powerpoint/2010/main" val="41726335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and 2 Image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4111625"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1828800"/>
            <a:ext cx="3968750" cy="5022850"/>
          </a:xfrm>
        </p:spPr>
        <p:txBody>
          <a:bodyPr/>
          <a:lstStyle/>
          <a:p>
            <a:r>
              <a:rPr lang="en-US"/>
              <a:t>Click icon to add picture</a:t>
            </a:r>
            <a:endParaRPr lang="en-GB"/>
          </a:p>
        </p:txBody>
      </p:sp>
      <p:pic>
        <p:nvPicPr>
          <p:cNvPr id="9" name="Graphic 8">
            <a:extLst>
              <a:ext uri="{FF2B5EF4-FFF2-40B4-BE49-F238E27FC236}">
                <a16:creationId xmlns:a16="http://schemas.microsoft.com/office/drawing/2014/main" id="{B45D086E-DF0D-EA77-42DA-30D06A62159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39544099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Number">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a:xfrm>
            <a:off x="1828435" y="6391587"/>
            <a:ext cx="9367616" cy="249859"/>
          </a:xfrm>
          <a:prstGeom prst="rect">
            <a:avLst/>
          </a:prstGeom>
        </p:spPr>
        <p:txBody>
          <a:bodyPr/>
          <a:lstStyle/>
          <a:p>
            <a:r>
              <a:rPr lang="en-US"/>
              <a:t>SLB Technology. Private. Internal use only.</a:t>
            </a:r>
            <a:endParaRPr lang="en-GB"/>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6" name="Rectangle 5">
            <a:extLst>
              <a:ext uri="{FF2B5EF4-FFF2-40B4-BE49-F238E27FC236}">
                <a16:creationId xmlns:a16="http://schemas.microsoft.com/office/drawing/2014/main" id="{DB0C50D2-043C-36A1-1B56-B01E9B752648}"/>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a:extLst>
              <a:ext uri="{FF2B5EF4-FFF2-40B4-BE49-F238E27FC236}">
                <a16:creationId xmlns:a16="http://schemas.microsoft.com/office/drawing/2014/main" id="{F802C4B2-937C-CC88-1104-BE3049DA47FA}"/>
              </a:ext>
            </a:extLst>
          </p:cNvPr>
          <p:cNvSpPr>
            <a:spLocks noGrp="1"/>
          </p:cNvSpPr>
          <p:nvPr>
            <p:ph type="body" sz="quarter" idx="12" hasCustomPrompt="1"/>
          </p:nvPr>
        </p:nvSpPr>
        <p:spPr>
          <a:xfrm>
            <a:off x="8680450" y="457200"/>
            <a:ext cx="3192463" cy="1371600"/>
          </a:xfrm>
        </p:spPr>
        <p:txBody>
          <a:bodyPr>
            <a:noAutofit/>
          </a:bodyPr>
          <a:lstStyle>
            <a:lvl1pPr>
              <a:lnSpc>
                <a:spcPct val="80000"/>
              </a:lnSpc>
              <a:defRPr sz="14400" b="0">
                <a:solidFill>
                  <a:schemeClr val="bg1"/>
                </a:solidFill>
                <a:latin typeface="+mj-lt"/>
              </a:defRPr>
            </a:lvl1pPr>
          </a:lstStyle>
          <a:p>
            <a:pPr lvl="0"/>
            <a:r>
              <a:rPr lang="en-GB" dirty="0"/>
              <a:t>##</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8223250" y="2279650"/>
            <a:ext cx="3968750" cy="45783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pic>
        <p:nvPicPr>
          <p:cNvPr id="5" name="Graphic 4">
            <a:extLst>
              <a:ext uri="{FF2B5EF4-FFF2-40B4-BE49-F238E27FC236}">
                <a16:creationId xmlns:a16="http://schemas.microsoft.com/office/drawing/2014/main" id="{C2A43E3D-583C-C3D3-EB91-4B474E93AA7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54109545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mage on Blue">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a:xfrm>
            <a:off x="1828435" y="6391587"/>
            <a:ext cx="9367616" cy="249859"/>
          </a:xfrm>
          <a:prstGeom prst="rect">
            <a:avLst/>
          </a:prstGeom>
        </p:spPr>
        <p:txBody>
          <a:bodyPr/>
          <a:lstStyle/>
          <a:p>
            <a:r>
              <a:rPr lang="en-US"/>
              <a:t>SLB Technology. Private. Internal use only.</a:t>
            </a:r>
            <a:endParaRPr lang="en-GB"/>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hasCustomPrompt="1"/>
          </p:nvPr>
        </p:nvSpPr>
        <p:spPr>
          <a:xfrm>
            <a:off x="4572000" y="457199"/>
            <a:ext cx="3194050" cy="13716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4108450" y="2279650"/>
            <a:ext cx="8083550" cy="4578350"/>
          </a:xfrm>
        </p:spPr>
        <p:txBody>
          <a:bodyPr/>
          <a:lstStyle/>
          <a:p>
            <a:r>
              <a:rPr lang="en-US"/>
              <a:t>Click icon to add picture</a:t>
            </a:r>
            <a:endParaRPr lang="en-GB"/>
          </a:p>
        </p:txBody>
      </p:sp>
      <p:sp>
        <p:nvSpPr>
          <p:cNvPr id="11" name="Content Placeholder 2">
            <a:extLst>
              <a:ext uri="{FF2B5EF4-FFF2-40B4-BE49-F238E27FC236}">
                <a16:creationId xmlns:a16="http://schemas.microsoft.com/office/drawing/2014/main" id="{09ABDF0F-4BA7-B82C-7345-64CE6436A7E1}"/>
              </a:ext>
            </a:extLst>
          </p:cNvPr>
          <p:cNvSpPr>
            <a:spLocks noGrp="1"/>
          </p:cNvSpPr>
          <p:nvPr>
            <p:ph sz="half" idx="14" hasCustomPrompt="1"/>
          </p:nvPr>
        </p:nvSpPr>
        <p:spPr>
          <a:xfrm>
            <a:off x="8678863" y="457199"/>
            <a:ext cx="3194050" cy="13716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3E9F08A9-468B-A902-D68B-8E0B8D9536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71617184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Multi Layou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D70BFD0F-01A4-774A-DFA5-C9069D2CA6D4}"/>
              </a:ext>
            </a:extLst>
          </p:cNvPr>
          <p:cNvSpPr/>
          <p:nvPr userDrawn="1"/>
        </p:nvSpPr>
        <p:spPr>
          <a:xfrm>
            <a:off x="4108450" y="3194050"/>
            <a:ext cx="8083550" cy="3663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a:xfrm>
            <a:off x="1828435" y="6391587"/>
            <a:ext cx="9367616" cy="249859"/>
          </a:xfrm>
          <a:prstGeom prst="rect">
            <a:avLst/>
          </a:prstGeom>
        </p:spPr>
        <p:txBody>
          <a:bodyPr/>
          <a:lstStyle/>
          <a:p>
            <a:r>
              <a:rPr lang="en-US"/>
              <a:t>SLB Technology. Private. Internal use only.</a:t>
            </a:r>
            <a:endParaRPr lang="en-GB"/>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pic>
        <p:nvPicPr>
          <p:cNvPr id="7" name="Graphic 6">
            <a:extLst>
              <a:ext uri="{FF2B5EF4-FFF2-40B4-BE49-F238E27FC236}">
                <a16:creationId xmlns:a16="http://schemas.microsoft.com/office/drawing/2014/main" id="{7301E557-BFAD-DC7D-FAEB-CD9F2F26938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41479197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Multi Layout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a:xfrm>
            <a:off x="1828435" y="6391587"/>
            <a:ext cx="9367616" cy="249859"/>
          </a:xfrm>
          <a:prstGeom prst="rect">
            <a:avLst/>
          </a:prstGeom>
        </p:spPr>
        <p:txBody>
          <a:bodyPr/>
          <a:lstStyle/>
          <a:p>
            <a:r>
              <a:rPr lang="en-US"/>
              <a:t>SLB Technology. Private. Internal use only.</a:t>
            </a:r>
            <a:endParaRPr lang="en-GB"/>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dirty="0"/>
              <a:t>Master text styles</a:t>
            </a:r>
          </a:p>
          <a:p>
            <a:pPr lvl="1"/>
            <a:r>
              <a:rPr lang="en-US" dirty="0"/>
              <a:t>Second level</a:t>
            </a:r>
          </a:p>
          <a:p>
            <a:pPr lvl="2"/>
            <a:r>
              <a:rPr lang="en-US" dirty="0"/>
              <a:t>Third level</a:t>
            </a:r>
          </a:p>
          <a:p>
            <a:pPr lvl="3"/>
            <a:r>
              <a:rPr lang="en-US" dirty="0"/>
              <a:t>Fourth level</a:t>
            </a:r>
          </a:p>
        </p:txBody>
      </p:sp>
      <p:pic>
        <p:nvPicPr>
          <p:cNvPr id="5" name="Graphic 4">
            <a:extLst>
              <a:ext uri="{FF2B5EF4-FFF2-40B4-BE49-F238E27FC236}">
                <a16:creationId xmlns:a16="http://schemas.microsoft.com/office/drawing/2014/main" id="{7CC2D35B-A55A-CCD1-4EDA-D1E8C50801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74535834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745890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4659112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3654425"/>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4572000" y="3654425"/>
            <a:ext cx="7620000" cy="3197225"/>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760062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4108450" cy="6857999"/>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8680450" y="2743200"/>
            <a:ext cx="3511550" cy="4108451"/>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
        <p:nvSpPr>
          <p:cNvPr id="2" name="Picture Placeholder 7">
            <a:extLst>
              <a:ext uri="{FF2B5EF4-FFF2-40B4-BE49-F238E27FC236}">
                <a16:creationId xmlns:a16="http://schemas.microsoft.com/office/drawing/2014/main" id="{15843B81-9280-B787-925B-D94E5BB1E76C}"/>
              </a:ext>
            </a:extLst>
          </p:cNvPr>
          <p:cNvSpPr>
            <a:spLocks noGrp="1"/>
          </p:cNvSpPr>
          <p:nvPr>
            <p:ph type="pic" sz="quarter" idx="16"/>
          </p:nvPr>
        </p:nvSpPr>
        <p:spPr>
          <a:xfrm>
            <a:off x="8680450" y="1"/>
            <a:ext cx="3511550" cy="2743200"/>
          </a:xfrm>
        </p:spPr>
        <p:txBody>
          <a:bodyPr/>
          <a:lstStyle/>
          <a:p>
            <a:r>
              <a:rPr lang="en-US"/>
              <a:t>Click icon to add picture</a:t>
            </a:r>
            <a:endParaRPr lang="en-GB"/>
          </a:p>
        </p:txBody>
      </p:sp>
    </p:spTree>
    <p:extLst>
      <p:ext uri="{BB962C8B-B14F-4D97-AF65-F5344CB8AC3E}">
        <p14:creationId xmlns:p14="http://schemas.microsoft.com/office/powerpoint/2010/main" val="381737453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CB92480-F2BB-6E4D-0B48-BC5E95A858B5}"/>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7665744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CB92480-F2BB-6E4D-0B48-BC5E95A858B5}"/>
              </a:ext>
            </a:extLst>
          </p:cNvPr>
          <p:cNvSpPr>
            <a:spLocks noGrp="1"/>
          </p:cNvSpPr>
          <p:nvPr>
            <p:ph type="ftr" sz="quarter" idx="11"/>
          </p:nvPr>
        </p:nvSpPr>
        <p:spPr>
          <a:xfrm>
            <a:off x="1828435" y="6391587"/>
            <a:ext cx="9367616" cy="249859"/>
          </a:xfrm>
          <a:prstGeom prst="rect">
            <a:avLst/>
          </a:prstGeom>
        </p:spPr>
        <p:txBody>
          <a:bodyPr/>
          <a:lstStyle/>
          <a:p>
            <a:r>
              <a:rPr lang="en-US"/>
              <a:t>SLB Technology. Private. Internal use only.</a:t>
            </a:r>
            <a:endParaRPr lang="en-GB"/>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p:txBody>
          <a:bodyPr/>
          <a:lstStyle/>
          <a:p>
            <a:r>
              <a:rPr lang="en-US"/>
              <a:t>Click to edit Master title style</a:t>
            </a:r>
            <a:endParaRPr lang="en-GB"/>
          </a:p>
        </p:txBody>
      </p:sp>
      <p:sp>
        <p:nvSpPr>
          <p:cNvPr id="10" name="Rectangle 37">
            <a:extLst>
              <a:ext uri="{FF2B5EF4-FFF2-40B4-BE49-F238E27FC236}">
                <a16:creationId xmlns:a16="http://schemas.microsoft.com/office/drawing/2014/main" id="{58156ED4-C724-C4C8-F7EA-015300ACDCDA}"/>
              </a:ext>
            </a:extLst>
          </p:cNvPr>
          <p:cNvSpPr/>
          <p:nvPr userDrawn="1"/>
        </p:nvSpPr>
        <p:spPr>
          <a:xfrm>
            <a:off x="5331688" y="1325105"/>
            <a:ext cx="2661131" cy="162579"/>
          </a:xfrm>
          <a:custGeom>
            <a:avLst/>
            <a:gdLst>
              <a:gd name="connsiteX0" fmla="*/ 0 w 2953157"/>
              <a:gd name="connsiteY0" fmla="*/ 0 h 294968"/>
              <a:gd name="connsiteX1" fmla="*/ 2953157 w 2953157"/>
              <a:gd name="connsiteY1" fmla="*/ 0 h 294968"/>
              <a:gd name="connsiteX2" fmla="*/ 2953157 w 2953157"/>
              <a:gd name="connsiteY2" fmla="*/ 294968 h 294968"/>
              <a:gd name="connsiteX3" fmla="*/ 0 w 2953157"/>
              <a:gd name="connsiteY3" fmla="*/ 294968 h 294968"/>
              <a:gd name="connsiteX4" fmla="*/ 0 w 2953157"/>
              <a:gd name="connsiteY4" fmla="*/ 0 h 294968"/>
              <a:gd name="connsiteX0" fmla="*/ 2953157 w 3044597"/>
              <a:gd name="connsiteY0" fmla="*/ 294968 h 386408"/>
              <a:gd name="connsiteX1" fmla="*/ 0 w 3044597"/>
              <a:gd name="connsiteY1" fmla="*/ 294968 h 386408"/>
              <a:gd name="connsiteX2" fmla="*/ 0 w 3044597"/>
              <a:gd name="connsiteY2" fmla="*/ 0 h 386408"/>
              <a:gd name="connsiteX3" fmla="*/ 2953157 w 3044597"/>
              <a:gd name="connsiteY3" fmla="*/ 0 h 386408"/>
              <a:gd name="connsiteX4" fmla="*/ 3044597 w 3044597"/>
              <a:gd name="connsiteY4" fmla="*/ 386408 h 386408"/>
              <a:gd name="connsiteX0" fmla="*/ 2953157 w 2953157"/>
              <a:gd name="connsiteY0" fmla="*/ 294968 h 294968"/>
              <a:gd name="connsiteX1" fmla="*/ 0 w 2953157"/>
              <a:gd name="connsiteY1" fmla="*/ 294968 h 294968"/>
              <a:gd name="connsiteX2" fmla="*/ 0 w 2953157"/>
              <a:gd name="connsiteY2" fmla="*/ 0 h 294968"/>
              <a:gd name="connsiteX3" fmla="*/ 2953157 w 2953157"/>
              <a:gd name="connsiteY3" fmla="*/ 0 h 294968"/>
              <a:gd name="connsiteX0" fmla="*/ 0 w 2953157"/>
              <a:gd name="connsiteY0" fmla="*/ 294968 h 294968"/>
              <a:gd name="connsiteX1" fmla="*/ 0 w 2953157"/>
              <a:gd name="connsiteY1" fmla="*/ 0 h 294968"/>
              <a:gd name="connsiteX2" fmla="*/ 2953157 w 2953157"/>
              <a:gd name="connsiteY2" fmla="*/ 0 h 294968"/>
            </a:gdLst>
            <a:ahLst/>
            <a:cxnLst>
              <a:cxn ang="0">
                <a:pos x="connsiteX0" y="connsiteY0"/>
              </a:cxn>
              <a:cxn ang="0">
                <a:pos x="connsiteX1" y="connsiteY1"/>
              </a:cxn>
              <a:cxn ang="0">
                <a:pos x="connsiteX2" y="connsiteY2"/>
              </a:cxn>
            </a:cxnLst>
            <a:rect l="l" t="t" r="r" b="b"/>
            <a:pathLst>
              <a:path w="2953157" h="294968">
                <a:moveTo>
                  <a:pt x="0" y="294968"/>
                </a:moveTo>
                <a:lnTo>
                  <a:pt x="0" y="0"/>
                </a:lnTo>
                <a:lnTo>
                  <a:pt x="2953157" y="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37">
            <a:extLst>
              <a:ext uri="{FF2B5EF4-FFF2-40B4-BE49-F238E27FC236}">
                <a16:creationId xmlns:a16="http://schemas.microsoft.com/office/drawing/2014/main" id="{60DD4155-E681-8496-6042-73DF066ECF2B}"/>
              </a:ext>
            </a:extLst>
          </p:cNvPr>
          <p:cNvSpPr/>
          <p:nvPr userDrawn="1"/>
        </p:nvSpPr>
        <p:spPr>
          <a:xfrm flipH="1">
            <a:off x="7992819" y="1325105"/>
            <a:ext cx="2726843" cy="155370"/>
          </a:xfrm>
          <a:custGeom>
            <a:avLst/>
            <a:gdLst>
              <a:gd name="connsiteX0" fmla="*/ 0 w 2953157"/>
              <a:gd name="connsiteY0" fmla="*/ 0 h 294968"/>
              <a:gd name="connsiteX1" fmla="*/ 2953157 w 2953157"/>
              <a:gd name="connsiteY1" fmla="*/ 0 h 294968"/>
              <a:gd name="connsiteX2" fmla="*/ 2953157 w 2953157"/>
              <a:gd name="connsiteY2" fmla="*/ 294968 h 294968"/>
              <a:gd name="connsiteX3" fmla="*/ 0 w 2953157"/>
              <a:gd name="connsiteY3" fmla="*/ 294968 h 294968"/>
              <a:gd name="connsiteX4" fmla="*/ 0 w 2953157"/>
              <a:gd name="connsiteY4" fmla="*/ 0 h 294968"/>
              <a:gd name="connsiteX0" fmla="*/ 2953157 w 3044597"/>
              <a:gd name="connsiteY0" fmla="*/ 294968 h 386408"/>
              <a:gd name="connsiteX1" fmla="*/ 0 w 3044597"/>
              <a:gd name="connsiteY1" fmla="*/ 294968 h 386408"/>
              <a:gd name="connsiteX2" fmla="*/ 0 w 3044597"/>
              <a:gd name="connsiteY2" fmla="*/ 0 h 386408"/>
              <a:gd name="connsiteX3" fmla="*/ 2953157 w 3044597"/>
              <a:gd name="connsiteY3" fmla="*/ 0 h 386408"/>
              <a:gd name="connsiteX4" fmla="*/ 3044597 w 3044597"/>
              <a:gd name="connsiteY4" fmla="*/ 386408 h 386408"/>
              <a:gd name="connsiteX0" fmla="*/ 2953157 w 2953157"/>
              <a:gd name="connsiteY0" fmla="*/ 294968 h 294968"/>
              <a:gd name="connsiteX1" fmla="*/ 0 w 2953157"/>
              <a:gd name="connsiteY1" fmla="*/ 294968 h 294968"/>
              <a:gd name="connsiteX2" fmla="*/ 0 w 2953157"/>
              <a:gd name="connsiteY2" fmla="*/ 0 h 294968"/>
              <a:gd name="connsiteX3" fmla="*/ 2953157 w 2953157"/>
              <a:gd name="connsiteY3" fmla="*/ 0 h 294968"/>
              <a:gd name="connsiteX0" fmla="*/ 0 w 2953157"/>
              <a:gd name="connsiteY0" fmla="*/ 294968 h 294968"/>
              <a:gd name="connsiteX1" fmla="*/ 0 w 2953157"/>
              <a:gd name="connsiteY1" fmla="*/ 0 h 294968"/>
              <a:gd name="connsiteX2" fmla="*/ 2953157 w 2953157"/>
              <a:gd name="connsiteY2" fmla="*/ 0 h 294968"/>
            </a:gdLst>
            <a:ahLst/>
            <a:cxnLst>
              <a:cxn ang="0">
                <a:pos x="connsiteX0" y="connsiteY0"/>
              </a:cxn>
              <a:cxn ang="0">
                <a:pos x="connsiteX1" y="connsiteY1"/>
              </a:cxn>
              <a:cxn ang="0">
                <a:pos x="connsiteX2" y="connsiteY2"/>
              </a:cxn>
            </a:cxnLst>
            <a:rect l="l" t="t" r="r" b="b"/>
            <a:pathLst>
              <a:path w="2953157" h="294968">
                <a:moveTo>
                  <a:pt x="0" y="294968"/>
                </a:moveTo>
                <a:lnTo>
                  <a:pt x="0" y="0"/>
                </a:lnTo>
                <a:lnTo>
                  <a:pt x="2953157" y="0"/>
                </a:lnTo>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Placeholder 15">
            <a:extLst>
              <a:ext uri="{FF2B5EF4-FFF2-40B4-BE49-F238E27FC236}">
                <a16:creationId xmlns:a16="http://schemas.microsoft.com/office/drawing/2014/main" id="{48471442-A0FC-79B2-716A-AD491207FBA5}"/>
              </a:ext>
            </a:extLst>
          </p:cNvPr>
          <p:cNvSpPr>
            <a:spLocks noGrp="1"/>
          </p:cNvSpPr>
          <p:nvPr>
            <p:ph type="body" sz="quarter" idx="13" hasCustomPrompt="1"/>
          </p:nvPr>
        </p:nvSpPr>
        <p:spPr>
          <a:xfrm>
            <a:off x="10115327" y="1834645"/>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18" name="Picture Placeholder 17">
            <a:extLst>
              <a:ext uri="{FF2B5EF4-FFF2-40B4-BE49-F238E27FC236}">
                <a16:creationId xmlns:a16="http://schemas.microsoft.com/office/drawing/2014/main" id="{5B0AC40F-C188-4E7D-DFBC-5F174E04F056}"/>
              </a:ext>
            </a:extLst>
          </p:cNvPr>
          <p:cNvSpPr>
            <a:spLocks noGrp="1"/>
          </p:cNvSpPr>
          <p:nvPr>
            <p:ph type="pic" sz="quarter" idx="14"/>
          </p:nvPr>
        </p:nvSpPr>
        <p:spPr>
          <a:xfrm>
            <a:off x="9594850" y="1834643"/>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19" name="Text Placeholder 15">
            <a:extLst>
              <a:ext uri="{FF2B5EF4-FFF2-40B4-BE49-F238E27FC236}">
                <a16:creationId xmlns:a16="http://schemas.microsoft.com/office/drawing/2014/main" id="{F2064006-13BA-260D-5F72-A83698C54634}"/>
              </a:ext>
            </a:extLst>
          </p:cNvPr>
          <p:cNvSpPr>
            <a:spLocks noGrp="1"/>
          </p:cNvSpPr>
          <p:nvPr>
            <p:ph type="body" sz="quarter" idx="15" hasCustomPrompt="1"/>
          </p:nvPr>
        </p:nvSpPr>
        <p:spPr>
          <a:xfrm>
            <a:off x="10115327" y="2416512"/>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20" name="Picture Placeholder 17">
            <a:extLst>
              <a:ext uri="{FF2B5EF4-FFF2-40B4-BE49-F238E27FC236}">
                <a16:creationId xmlns:a16="http://schemas.microsoft.com/office/drawing/2014/main" id="{76190752-2E45-38CB-6EE2-5D7C40CA745C}"/>
              </a:ext>
            </a:extLst>
          </p:cNvPr>
          <p:cNvSpPr>
            <a:spLocks noGrp="1"/>
          </p:cNvSpPr>
          <p:nvPr>
            <p:ph type="pic" sz="quarter" idx="16"/>
          </p:nvPr>
        </p:nvSpPr>
        <p:spPr>
          <a:xfrm>
            <a:off x="9594850" y="2416511"/>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21" name="Text Placeholder 15">
            <a:extLst>
              <a:ext uri="{FF2B5EF4-FFF2-40B4-BE49-F238E27FC236}">
                <a16:creationId xmlns:a16="http://schemas.microsoft.com/office/drawing/2014/main" id="{8CE87DEB-010C-51A8-74B9-8E0B369B4D53}"/>
              </a:ext>
            </a:extLst>
          </p:cNvPr>
          <p:cNvSpPr>
            <a:spLocks noGrp="1"/>
          </p:cNvSpPr>
          <p:nvPr>
            <p:ph type="body" sz="quarter" idx="17" hasCustomPrompt="1"/>
          </p:nvPr>
        </p:nvSpPr>
        <p:spPr>
          <a:xfrm>
            <a:off x="10115327" y="2998379"/>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22" name="Picture Placeholder 17">
            <a:extLst>
              <a:ext uri="{FF2B5EF4-FFF2-40B4-BE49-F238E27FC236}">
                <a16:creationId xmlns:a16="http://schemas.microsoft.com/office/drawing/2014/main" id="{90A96AB5-2247-CADB-3668-0658D26DDD50}"/>
              </a:ext>
            </a:extLst>
          </p:cNvPr>
          <p:cNvSpPr>
            <a:spLocks noGrp="1"/>
          </p:cNvSpPr>
          <p:nvPr>
            <p:ph type="pic" sz="quarter" idx="18"/>
          </p:nvPr>
        </p:nvSpPr>
        <p:spPr>
          <a:xfrm>
            <a:off x="9594850" y="2998379"/>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23" name="Text Placeholder 15">
            <a:extLst>
              <a:ext uri="{FF2B5EF4-FFF2-40B4-BE49-F238E27FC236}">
                <a16:creationId xmlns:a16="http://schemas.microsoft.com/office/drawing/2014/main" id="{A7C344AD-2ABC-1A24-C992-F3E41BB28DFC}"/>
              </a:ext>
            </a:extLst>
          </p:cNvPr>
          <p:cNvSpPr>
            <a:spLocks noGrp="1"/>
          </p:cNvSpPr>
          <p:nvPr>
            <p:ph type="body" sz="quarter" idx="19" hasCustomPrompt="1"/>
          </p:nvPr>
        </p:nvSpPr>
        <p:spPr>
          <a:xfrm>
            <a:off x="10115327" y="3580246"/>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24" name="Picture Placeholder 17">
            <a:extLst>
              <a:ext uri="{FF2B5EF4-FFF2-40B4-BE49-F238E27FC236}">
                <a16:creationId xmlns:a16="http://schemas.microsoft.com/office/drawing/2014/main" id="{07C77B3D-99E3-43EE-125B-88CD3CFBE78D}"/>
              </a:ext>
            </a:extLst>
          </p:cNvPr>
          <p:cNvSpPr>
            <a:spLocks noGrp="1"/>
          </p:cNvSpPr>
          <p:nvPr>
            <p:ph type="pic" sz="quarter" idx="20"/>
          </p:nvPr>
        </p:nvSpPr>
        <p:spPr>
          <a:xfrm>
            <a:off x="9594850" y="3580247"/>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25" name="Text Placeholder 15">
            <a:extLst>
              <a:ext uri="{FF2B5EF4-FFF2-40B4-BE49-F238E27FC236}">
                <a16:creationId xmlns:a16="http://schemas.microsoft.com/office/drawing/2014/main" id="{346AA4C5-DD09-43AC-8CB1-E8EE5FCE7965}"/>
              </a:ext>
            </a:extLst>
          </p:cNvPr>
          <p:cNvSpPr>
            <a:spLocks noGrp="1"/>
          </p:cNvSpPr>
          <p:nvPr>
            <p:ph type="body" sz="quarter" idx="21" hasCustomPrompt="1"/>
          </p:nvPr>
        </p:nvSpPr>
        <p:spPr>
          <a:xfrm>
            <a:off x="10115327" y="4162113"/>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26" name="Picture Placeholder 17">
            <a:extLst>
              <a:ext uri="{FF2B5EF4-FFF2-40B4-BE49-F238E27FC236}">
                <a16:creationId xmlns:a16="http://schemas.microsoft.com/office/drawing/2014/main" id="{FBA9C083-88B5-12E1-7045-691ED16489B8}"/>
              </a:ext>
            </a:extLst>
          </p:cNvPr>
          <p:cNvSpPr>
            <a:spLocks noGrp="1"/>
          </p:cNvSpPr>
          <p:nvPr>
            <p:ph type="pic" sz="quarter" idx="22"/>
          </p:nvPr>
        </p:nvSpPr>
        <p:spPr>
          <a:xfrm>
            <a:off x="9594850" y="4162115"/>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27" name="Text Placeholder 15">
            <a:extLst>
              <a:ext uri="{FF2B5EF4-FFF2-40B4-BE49-F238E27FC236}">
                <a16:creationId xmlns:a16="http://schemas.microsoft.com/office/drawing/2014/main" id="{EA9F0863-C951-E320-C756-7996093E60AF}"/>
              </a:ext>
            </a:extLst>
          </p:cNvPr>
          <p:cNvSpPr>
            <a:spLocks noGrp="1"/>
          </p:cNvSpPr>
          <p:nvPr>
            <p:ph type="body" sz="quarter" idx="23" hasCustomPrompt="1"/>
          </p:nvPr>
        </p:nvSpPr>
        <p:spPr>
          <a:xfrm>
            <a:off x="10115327" y="4743980"/>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28" name="Picture Placeholder 17">
            <a:extLst>
              <a:ext uri="{FF2B5EF4-FFF2-40B4-BE49-F238E27FC236}">
                <a16:creationId xmlns:a16="http://schemas.microsoft.com/office/drawing/2014/main" id="{D8741A89-9153-5934-F2D4-D06DAA49CE5B}"/>
              </a:ext>
            </a:extLst>
          </p:cNvPr>
          <p:cNvSpPr>
            <a:spLocks noGrp="1"/>
          </p:cNvSpPr>
          <p:nvPr>
            <p:ph type="pic" sz="quarter" idx="24"/>
          </p:nvPr>
        </p:nvSpPr>
        <p:spPr>
          <a:xfrm>
            <a:off x="9594850" y="4743983"/>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29" name="Text Placeholder 15">
            <a:extLst>
              <a:ext uri="{FF2B5EF4-FFF2-40B4-BE49-F238E27FC236}">
                <a16:creationId xmlns:a16="http://schemas.microsoft.com/office/drawing/2014/main" id="{78F24352-6AB8-1A7D-E815-08B774AAFD93}"/>
              </a:ext>
            </a:extLst>
          </p:cNvPr>
          <p:cNvSpPr>
            <a:spLocks noGrp="1"/>
          </p:cNvSpPr>
          <p:nvPr>
            <p:ph type="body" sz="quarter" idx="25" hasCustomPrompt="1"/>
          </p:nvPr>
        </p:nvSpPr>
        <p:spPr>
          <a:xfrm>
            <a:off x="10115327" y="5325847"/>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30" name="Picture Placeholder 17">
            <a:extLst>
              <a:ext uri="{FF2B5EF4-FFF2-40B4-BE49-F238E27FC236}">
                <a16:creationId xmlns:a16="http://schemas.microsoft.com/office/drawing/2014/main" id="{94CCEA42-5EF9-8B60-DC72-564F6B26BE3E}"/>
              </a:ext>
            </a:extLst>
          </p:cNvPr>
          <p:cNvSpPr>
            <a:spLocks noGrp="1"/>
          </p:cNvSpPr>
          <p:nvPr>
            <p:ph type="pic" sz="quarter" idx="26"/>
          </p:nvPr>
        </p:nvSpPr>
        <p:spPr>
          <a:xfrm>
            <a:off x="9594850" y="5325851"/>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31" name="Text Placeholder 15">
            <a:extLst>
              <a:ext uri="{FF2B5EF4-FFF2-40B4-BE49-F238E27FC236}">
                <a16:creationId xmlns:a16="http://schemas.microsoft.com/office/drawing/2014/main" id="{BB7D72ED-9BE9-1A1B-E831-59065EA7B560}"/>
              </a:ext>
            </a:extLst>
          </p:cNvPr>
          <p:cNvSpPr>
            <a:spLocks noGrp="1"/>
          </p:cNvSpPr>
          <p:nvPr>
            <p:ph type="body" sz="quarter" idx="27" hasCustomPrompt="1"/>
          </p:nvPr>
        </p:nvSpPr>
        <p:spPr>
          <a:xfrm>
            <a:off x="10115327" y="5907717"/>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32" name="Picture Placeholder 17">
            <a:extLst>
              <a:ext uri="{FF2B5EF4-FFF2-40B4-BE49-F238E27FC236}">
                <a16:creationId xmlns:a16="http://schemas.microsoft.com/office/drawing/2014/main" id="{117A069B-05F2-A496-1C7B-058F7CDD5625}"/>
              </a:ext>
            </a:extLst>
          </p:cNvPr>
          <p:cNvSpPr>
            <a:spLocks noGrp="1"/>
          </p:cNvSpPr>
          <p:nvPr>
            <p:ph type="pic" sz="quarter" idx="28"/>
          </p:nvPr>
        </p:nvSpPr>
        <p:spPr>
          <a:xfrm>
            <a:off x="9594850" y="5907717"/>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33" name="Text Placeholder 15">
            <a:extLst>
              <a:ext uri="{FF2B5EF4-FFF2-40B4-BE49-F238E27FC236}">
                <a16:creationId xmlns:a16="http://schemas.microsoft.com/office/drawing/2014/main" id="{CF894B0F-C520-66A7-03AA-CF48D7330441}"/>
              </a:ext>
            </a:extLst>
          </p:cNvPr>
          <p:cNvSpPr>
            <a:spLocks noGrp="1"/>
          </p:cNvSpPr>
          <p:nvPr>
            <p:ph type="body" sz="quarter" idx="29" hasCustomPrompt="1"/>
          </p:nvPr>
        </p:nvSpPr>
        <p:spPr>
          <a:xfrm>
            <a:off x="7721304" y="1834645"/>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34" name="Picture Placeholder 17">
            <a:extLst>
              <a:ext uri="{FF2B5EF4-FFF2-40B4-BE49-F238E27FC236}">
                <a16:creationId xmlns:a16="http://schemas.microsoft.com/office/drawing/2014/main" id="{993BE976-BF6E-5824-7555-83FFBAB2A037}"/>
              </a:ext>
            </a:extLst>
          </p:cNvPr>
          <p:cNvSpPr>
            <a:spLocks noGrp="1"/>
          </p:cNvSpPr>
          <p:nvPr>
            <p:ph type="pic" sz="quarter" idx="30"/>
          </p:nvPr>
        </p:nvSpPr>
        <p:spPr>
          <a:xfrm>
            <a:off x="7200827" y="1834643"/>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35" name="Text Placeholder 15">
            <a:extLst>
              <a:ext uri="{FF2B5EF4-FFF2-40B4-BE49-F238E27FC236}">
                <a16:creationId xmlns:a16="http://schemas.microsoft.com/office/drawing/2014/main" id="{C76BF4DD-5BC9-E268-A769-049C14F24C98}"/>
              </a:ext>
            </a:extLst>
          </p:cNvPr>
          <p:cNvSpPr>
            <a:spLocks noGrp="1"/>
          </p:cNvSpPr>
          <p:nvPr>
            <p:ph type="body" sz="quarter" idx="31" hasCustomPrompt="1"/>
          </p:nvPr>
        </p:nvSpPr>
        <p:spPr>
          <a:xfrm>
            <a:off x="7721304" y="2416512"/>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36" name="Picture Placeholder 17">
            <a:extLst>
              <a:ext uri="{FF2B5EF4-FFF2-40B4-BE49-F238E27FC236}">
                <a16:creationId xmlns:a16="http://schemas.microsoft.com/office/drawing/2014/main" id="{68142240-E8B9-A97C-BF06-97134BB775B0}"/>
              </a:ext>
            </a:extLst>
          </p:cNvPr>
          <p:cNvSpPr>
            <a:spLocks noGrp="1"/>
          </p:cNvSpPr>
          <p:nvPr>
            <p:ph type="pic" sz="quarter" idx="32"/>
          </p:nvPr>
        </p:nvSpPr>
        <p:spPr>
          <a:xfrm>
            <a:off x="7200827" y="2416511"/>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37" name="Text Placeholder 15">
            <a:extLst>
              <a:ext uri="{FF2B5EF4-FFF2-40B4-BE49-F238E27FC236}">
                <a16:creationId xmlns:a16="http://schemas.microsoft.com/office/drawing/2014/main" id="{7EB23180-E1F0-0043-5D3A-5B455DE94AFB}"/>
              </a:ext>
            </a:extLst>
          </p:cNvPr>
          <p:cNvSpPr>
            <a:spLocks noGrp="1"/>
          </p:cNvSpPr>
          <p:nvPr>
            <p:ph type="body" sz="quarter" idx="33" hasCustomPrompt="1"/>
          </p:nvPr>
        </p:nvSpPr>
        <p:spPr>
          <a:xfrm>
            <a:off x="7721304" y="2998379"/>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38" name="Picture Placeholder 17">
            <a:extLst>
              <a:ext uri="{FF2B5EF4-FFF2-40B4-BE49-F238E27FC236}">
                <a16:creationId xmlns:a16="http://schemas.microsoft.com/office/drawing/2014/main" id="{CDFEA550-04E5-5217-1AAD-9FD4C35346C5}"/>
              </a:ext>
            </a:extLst>
          </p:cNvPr>
          <p:cNvSpPr>
            <a:spLocks noGrp="1"/>
          </p:cNvSpPr>
          <p:nvPr>
            <p:ph type="pic" sz="quarter" idx="34"/>
          </p:nvPr>
        </p:nvSpPr>
        <p:spPr>
          <a:xfrm>
            <a:off x="7200827" y="2998379"/>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39" name="Text Placeholder 15">
            <a:extLst>
              <a:ext uri="{FF2B5EF4-FFF2-40B4-BE49-F238E27FC236}">
                <a16:creationId xmlns:a16="http://schemas.microsoft.com/office/drawing/2014/main" id="{8753BB74-B228-CE2B-0E4F-56826923B7C2}"/>
              </a:ext>
            </a:extLst>
          </p:cNvPr>
          <p:cNvSpPr>
            <a:spLocks noGrp="1"/>
          </p:cNvSpPr>
          <p:nvPr>
            <p:ph type="body" sz="quarter" idx="35" hasCustomPrompt="1"/>
          </p:nvPr>
        </p:nvSpPr>
        <p:spPr>
          <a:xfrm>
            <a:off x="7721304" y="3580246"/>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40" name="Picture Placeholder 17">
            <a:extLst>
              <a:ext uri="{FF2B5EF4-FFF2-40B4-BE49-F238E27FC236}">
                <a16:creationId xmlns:a16="http://schemas.microsoft.com/office/drawing/2014/main" id="{719846A7-C329-A57A-6B6C-9061BAD0F9A6}"/>
              </a:ext>
            </a:extLst>
          </p:cNvPr>
          <p:cNvSpPr>
            <a:spLocks noGrp="1"/>
          </p:cNvSpPr>
          <p:nvPr>
            <p:ph type="pic" sz="quarter" idx="36"/>
          </p:nvPr>
        </p:nvSpPr>
        <p:spPr>
          <a:xfrm>
            <a:off x="7200827" y="3580247"/>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41" name="Text Placeholder 15">
            <a:extLst>
              <a:ext uri="{FF2B5EF4-FFF2-40B4-BE49-F238E27FC236}">
                <a16:creationId xmlns:a16="http://schemas.microsoft.com/office/drawing/2014/main" id="{71853714-BD35-5C25-022A-AFDB8B4242D0}"/>
              </a:ext>
            </a:extLst>
          </p:cNvPr>
          <p:cNvSpPr>
            <a:spLocks noGrp="1"/>
          </p:cNvSpPr>
          <p:nvPr>
            <p:ph type="body" sz="quarter" idx="37" hasCustomPrompt="1"/>
          </p:nvPr>
        </p:nvSpPr>
        <p:spPr>
          <a:xfrm>
            <a:off x="7721304" y="4162113"/>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42" name="Picture Placeholder 17">
            <a:extLst>
              <a:ext uri="{FF2B5EF4-FFF2-40B4-BE49-F238E27FC236}">
                <a16:creationId xmlns:a16="http://schemas.microsoft.com/office/drawing/2014/main" id="{FEED7496-C068-1760-F0B6-9A4BDD74A4B6}"/>
              </a:ext>
            </a:extLst>
          </p:cNvPr>
          <p:cNvSpPr>
            <a:spLocks noGrp="1"/>
          </p:cNvSpPr>
          <p:nvPr>
            <p:ph type="pic" sz="quarter" idx="38"/>
          </p:nvPr>
        </p:nvSpPr>
        <p:spPr>
          <a:xfrm>
            <a:off x="7200827" y="4162115"/>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43" name="Text Placeholder 15">
            <a:extLst>
              <a:ext uri="{FF2B5EF4-FFF2-40B4-BE49-F238E27FC236}">
                <a16:creationId xmlns:a16="http://schemas.microsoft.com/office/drawing/2014/main" id="{4D7A9AF9-2259-C373-742E-65562F5F91A0}"/>
              </a:ext>
            </a:extLst>
          </p:cNvPr>
          <p:cNvSpPr>
            <a:spLocks noGrp="1"/>
          </p:cNvSpPr>
          <p:nvPr>
            <p:ph type="body" sz="quarter" idx="39" hasCustomPrompt="1"/>
          </p:nvPr>
        </p:nvSpPr>
        <p:spPr>
          <a:xfrm>
            <a:off x="7721304" y="4743980"/>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44" name="Picture Placeholder 17">
            <a:extLst>
              <a:ext uri="{FF2B5EF4-FFF2-40B4-BE49-F238E27FC236}">
                <a16:creationId xmlns:a16="http://schemas.microsoft.com/office/drawing/2014/main" id="{86309E8D-D721-AAA9-E448-3BBCCA29A9B3}"/>
              </a:ext>
            </a:extLst>
          </p:cNvPr>
          <p:cNvSpPr>
            <a:spLocks noGrp="1"/>
          </p:cNvSpPr>
          <p:nvPr>
            <p:ph type="pic" sz="quarter" idx="40"/>
          </p:nvPr>
        </p:nvSpPr>
        <p:spPr>
          <a:xfrm>
            <a:off x="7200827" y="4743983"/>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45" name="Text Placeholder 15">
            <a:extLst>
              <a:ext uri="{FF2B5EF4-FFF2-40B4-BE49-F238E27FC236}">
                <a16:creationId xmlns:a16="http://schemas.microsoft.com/office/drawing/2014/main" id="{67D8D4E2-2847-B8EC-8209-3715297B6745}"/>
              </a:ext>
            </a:extLst>
          </p:cNvPr>
          <p:cNvSpPr>
            <a:spLocks noGrp="1"/>
          </p:cNvSpPr>
          <p:nvPr>
            <p:ph type="body" sz="quarter" idx="41" hasCustomPrompt="1"/>
          </p:nvPr>
        </p:nvSpPr>
        <p:spPr>
          <a:xfrm>
            <a:off x="7721304" y="5325847"/>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46" name="Picture Placeholder 17">
            <a:extLst>
              <a:ext uri="{FF2B5EF4-FFF2-40B4-BE49-F238E27FC236}">
                <a16:creationId xmlns:a16="http://schemas.microsoft.com/office/drawing/2014/main" id="{691250C0-1117-AC38-C450-EC202F7FAE81}"/>
              </a:ext>
            </a:extLst>
          </p:cNvPr>
          <p:cNvSpPr>
            <a:spLocks noGrp="1"/>
          </p:cNvSpPr>
          <p:nvPr>
            <p:ph type="pic" sz="quarter" idx="42"/>
          </p:nvPr>
        </p:nvSpPr>
        <p:spPr>
          <a:xfrm>
            <a:off x="7200827" y="5325851"/>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47" name="Text Placeholder 15">
            <a:extLst>
              <a:ext uri="{FF2B5EF4-FFF2-40B4-BE49-F238E27FC236}">
                <a16:creationId xmlns:a16="http://schemas.microsoft.com/office/drawing/2014/main" id="{6F5684D0-6773-B13C-B209-C26B23513E49}"/>
              </a:ext>
            </a:extLst>
          </p:cNvPr>
          <p:cNvSpPr>
            <a:spLocks noGrp="1"/>
          </p:cNvSpPr>
          <p:nvPr>
            <p:ph type="body" sz="quarter" idx="43" hasCustomPrompt="1"/>
          </p:nvPr>
        </p:nvSpPr>
        <p:spPr>
          <a:xfrm>
            <a:off x="7721304" y="5907717"/>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48" name="Picture Placeholder 17">
            <a:extLst>
              <a:ext uri="{FF2B5EF4-FFF2-40B4-BE49-F238E27FC236}">
                <a16:creationId xmlns:a16="http://schemas.microsoft.com/office/drawing/2014/main" id="{B05A7DE7-4A4B-F029-CEA1-147031B56991}"/>
              </a:ext>
            </a:extLst>
          </p:cNvPr>
          <p:cNvSpPr>
            <a:spLocks noGrp="1"/>
          </p:cNvSpPr>
          <p:nvPr>
            <p:ph type="pic" sz="quarter" idx="44"/>
          </p:nvPr>
        </p:nvSpPr>
        <p:spPr>
          <a:xfrm>
            <a:off x="7200827" y="5907717"/>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49" name="Text Placeholder 15">
            <a:extLst>
              <a:ext uri="{FF2B5EF4-FFF2-40B4-BE49-F238E27FC236}">
                <a16:creationId xmlns:a16="http://schemas.microsoft.com/office/drawing/2014/main" id="{F0B6B0E3-C41F-CF6D-FB39-9E5347803E49}"/>
              </a:ext>
            </a:extLst>
          </p:cNvPr>
          <p:cNvSpPr>
            <a:spLocks noGrp="1"/>
          </p:cNvSpPr>
          <p:nvPr>
            <p:ph type="body" sz="quarter" idx="45" hasCustomPrompt="1"/>
          </p:nvPr>
        </p:nvSpPr>
        <p:spPr>
          <a:xfrm>
            <a:off x="5327281" y="1834645"/>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50" name="Picture Placeholder 17">
            <a:extLst>
              <a:ext uri="{FF2B5EF4-FFF2-40B4-BE49-F238E27FC236}">
                <a16:creationId xmlns:a16="http://schemas.microsoft.com/office/drawing/2014/main" id="{FC9D60A6-FD0D-09FE-16A6-A7D485156B76}"/>
              </a:ext>
            </a:extLst>
          </p:cNvPr>
          <p:cNvSpPr>
            <a:spLocks noGrp="1"/>
          </p:cNvSpPr>
          <p:nvPr>
            <p:ph type="pic" sz="quarter" idx="46"/>
          </p:nvPr>
        </p:nvSpPr>
        <p:spPr>
          <a:xfrm>
            <a:off x="4806804" y="1834643"/>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51" name="Text Placeholder 15">
            <a:extLst>
              <a:ext uri="{FF2B5EF4-FFF2-40B4-BE49-F238E27FC236}">
                <a16:creationId xmlns:a16="http://schemas.microsoft.com/office/drawing/2014/main" id="{7FD918E2-5F1B-29BB-ED04-C973D2A8AF41}"/>
              </a:ext>
            </a:extLst>
          </p:cNvPr>
          <p:cNvSpPr>
            <a:spLocks noGrp="1"/>
          </p:cNvSpPr>
          <p:nvPr>
            <p:ph type="body" sz="quarter" idx="47" hasCustomPrompt="1"/>
          </p:nvPr>
        </p:nvSpPr>
        <p:spPr>
          <a:xfrm>
            <a:off x="5327281" y="2416512"/>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52" name="Picture Placeholder 17">
            <a:extLst>
              <a:ext uri="{FF2B5EF4-FFF2-40B4-BE49-F238E27FC236}">
                <a16:creationId xmlns:a16="http://schemas.microsoft.com/office/drawing/2014/main" id="{E5F9150E-C036-82E2-CCFF-54D5903B5819}"/>
              </a:ext>
            </a:extLst>
          </p:cNvPr>
          <p:cNvSpPr>
            <a:spLocks noGrp="1"/>
          </p:cNvSpPr>
          <p:nvPr>
            <p:ph type="pic" sz="quarter" idx="48"/>
          </p:nvPr>
        </p:nvSpPr>
        <p:spPr>
          <a:xfrm>
            <a:off x="4806804" y="2416511"/>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53" name="Text Placeholder 15">
            <a:extLst>
              <a:ext uri="{FF2B5EF4-FFF2-40B4-BE49-F238E27FC236}">
                <a16:creationId xmlns:a16="http://schemas.microsoft.com/office/drawing/2014/main" id="{75F9EE17-318C-F987-02CE-DEBB9E7231F8}"/>
              </a:ext>
            </a:extLst>
          </p:cNvPr>
          <p:cNvSpPr>
            <a:spLocks noGrp="1"/>
          </p:cNvSpPr>
          <p:nvPr>
            <p:ph type="body" sz="quarter" idx="49" hasCustomPrompt="1"/>
          </p:nvPr>
        </p:nvSpPr>
        <p:spPr>
          <a:xfrm>
            <a:off x="5327281" y="2998379"/>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54" name="Picture Placeholder 17">
            <a:extLst>
              <a:ext uri="{FF2B5EF4-FFF2-40B4-BE49-F238E27FC236}">
                <a16:creationId xmlns:a16="http://schemas.microsoft.com/office/drawing/2014/main" id="{10D5800D-A63F-94B9-F397-FA215D77E22C}"/>
              </a:ext>
            </a:extLst>
          </p:cNvPr>
          <p:cNvSpPr>
            <a:spLocks noGrp="1"/>
          </p:cNvSpPr>
          <p:nvPr>
            <p:ph type="pic" sz="quarter" idx="50"/>
          </p:nvPr>
        </p:nvSpPr>
        <p:spPr>
          <a:xfrm>
            <a:off x="4806804" y="2998379"/>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55" name="Text Placeholder 15">
            <a:extLst>
              <a:ext uri="{FF2B5EF4-FFF2-40B4-BE49-F238E27FC236}">
                <a16:creationId xmlns:a16="http://schemas.microsoft.com/office/drawing/2014/main" id="{CE92E0E4-0C3F-88A1-9E8C-D0DE514CE37C}"/>
              </a:ext>
            </a:extLst>
          </p:cNvPr>
          <p:cNvSpPr>
            <a:spLocks noGrp="1"/>
          </p:cNvSpPr>
          <p:nvPr>
            <p:ph type="body" sz="quarter" idx="51" hasCustomPrompt="1"/>
          </p:nvPr>
        </p:nvSpPr>
        <p:spPr>
          <a:xfrm>
            <a:off x="5327281" y="3580246"/>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56" name="Picture Placeholder 17">
            <a:extLst>
              <a:ext uri="{FF2B5EF4-FFF2-40B4-BE49-F238E27FC236}">
                <a16:creationId xmlns:a16="http://schemas.microsoft.com/office/drawing/2014/main" id="{69816FC4-7721-91F5-EC37-07D882D12AE9}"/>
              </a:ext>
            </a:extLst>
          </p:cNvPr>
          <p:cNvSpPr>
            <a:spLocks noGrp="1"/>
          </p:cNvSpPr>
          <p:nvPr>
            <p:ph type="pic" sz="quarter" idx="52"/>
          </p:nvPr>
        </p:nvSpPr>
        <p:spPr>
          <a:xfrm>
            <a:off x="4806804" y="3580247"/>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57" name="Text Placeholder 15">
            <a:extLst>
              <a:ext uri="{FF2B5EF4-FFF2-40B4-BE49-F238E27FC236}">
                <a16:creationId xmlns:a16="http://schemas.microsoft.com/office/drawing/2014/main" id="{247B4491-9D7D-A3EB-3E57-66DF72545769}"/>
              </a:ext>
            </a:extLst>
          </p:cNvPr>
          <p:cNvSpPr>
            <a:spLocks noGrp="1"/>
          </p:cNvSpPr>
          <p:nvPr>
            <p:ph type="body" sz="quarter" idx="53" hasCustomPrompt="1"/>
          </p:nvPr>
        </p:nvSpPr>
        <p:spPr>
          <a:xfrm>
            <a:off x="5327281" y="4162113"/>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58" name="Picture Placeholder 17">
            <a:extLst>
              <a:ext uri="{FF2B5EF4-FFF2-40B4-BE49-F238E27FC236}">
                <a16:creationId xmlns:a16="http://schemas.microsoft.com/office/drawing/2014/main" id="{0114C038-51B2-2830-2B21-B81F900BA75D}"/>
              </a:ext>
            </a:extLst>
          </p:cNvPr>
          <p:cNvSpPr>
            <a:spLocks noGrp="1"/>
          </p:cNvSpPr>
          <p:nvPr>
            <p:ph type="pic" sz="quarter" idx="54"/>
          </p:nvPr>
        </p:nvSpPr>
        <p:spPr>
          <a:xfrm>
            <a:off x="4806804" y="4162115"/>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59" name="Text Placeholder 15">
            <a:extLst>
              <a:ext uri="{FF2B5EF4-FFF2-40B4-BE49-F238E27FC236}">
                <a16:creationId xmlns:a16="http://schemas.microsoft.com/office/drawing/2014/main" id="{74D01E90-9044-8095-1ABD-88AFA1E7426D}"/>
              </a:ext>
            </a:extLst>
          </p:cNvPr>
          <p:cNvSpPr>
            <a:spLocks noGrp="1"/>
          </p:cNvSpPr>
          <p:nvPr>
            <p:ph type="body" sz="quarter" idx="55" hasCustomPrompt="1"/>
          </p:nvPr>
        </p:nvSpPr>
        <p:spPr>
          <a:xfrm>
            <a:off x="5327281" y="4743980"/>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60" name="Picture Placeholder 17">
            <a:extLst>
              <a:ext uri="{FF2B5EF4-FFF2-40B4-BE49-F238E27FC236}">
                <a16:creationId xmlns:a16="http://schemas.microsoft.com/office/drawing/2014/main" id="{65072126-5BB0-BB71-69D1-7019D918B3B3}"/>
              </a:ext>
            </a:extLst>
          </p:cNvPr>
          <p:cNvSpPr>
            <a:spLocks noGrp="1"/>
          </p:cNvSpPr>
          <p:nvPr>
            <p:ph type="pic" sz="quarter" idx="56"/>
          </p:nvPr>
        </p:nvSpPr>
        <p:spPr>
          <a:xfrm>
            <a:off x="4806804" y="4743983"/>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61" name="Text Placeholder 15">
            <a:extLst>
              <a:ext uri="{FF2B5EF4-FFF2-40B4-BE49-F238E27FC236}">
                <a16:creationId xmlns:a16="http://schemas.microsoft.com/office/drawing/2014/main" id="{0AE65C30-A0C4-28CD-EDA9-18FFD8F4245C}"/>
              </a:ext>
            </a:extLst>
          </p:cNvPr>
          <p:cNvSpPr>
            <a:spLocks noGrp="1"/>
          </p:cNvSpPr>
          <p:nvPr>
            <p:ph type="body" sz="quarter" idx="57" hasCustomPrompt="1"/>
          </p:nvPr>
        </p:nvSpPr>
        <p:spPr>
          <a:xfrm>
            <a:off x="5327281" y="5325847"/>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62" name="Picture Placeholder 17">
            <a:extLst>
              <a:ext uri="{FF2B5EF4-FFF2-40B4-BE49-F238E27FC236}">
                <a16:creationId xmlns:a16="http://schemas.microsoft.com/office/drawing/2014/main" id="{29E43FEC-AD36-6A07-6883-9877C04B7290}"/>
              </a:ext>
            </a:extLst>
          </p:cNvPr>
          <p:cNvSpPr>
            <a:spLocks noGrp="1"/>
          </p:cNvSpPr>
          <p:nvPr>
            <p:ph type="pic" sz="quarter" idx="58"/>
          </p:nvPr>
        </p:nvSpPr>
        <p:spPr>
          <a:xfrm>
            <a:off x="4806804" y="5325851"/>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63" name="Text Placeholder 15">
            <a:extLst>
              <a:ext uri="{FF2B5EF4-FFF2-40B4-BE49-F238E27FC236}">
                <a16:creationId xmlns:a16="http://schemas.microsoft.com/office/drawing/2014/main" id="{83FE1007-FD02-2CEF-3CDE-5CBA4DF3E4DF}"/>
              </a:ext>
            </a:extLst>
          </p:cNvPr>
          <p:cNvSpPr>
            <a:spLocks noGrp="1"/>
          </p:cNvSpPr>
          <p:nvPr>
            <p:ph type="body" sz="quarter" idx="59" hasCustomPrompt="1"/>
          </p:nvPr>
        </p:nvSpPr>
        <p:spPr>
          <a:xfrm>
            <a:off x="5327281" y="5907717"/>
            <a:ext cx="1757586" cy="486048"/>
          </a:xfrm>
          <a:solidFill>
            <a:schemeClr val="accent3"/>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64" name="Picture Placeholder 17">
            <a:extLst>
              <a:ext uri="{FF2B5EF4-FFF2-40B4-BE49-F238E27FC236}">
                <a16:creationId xmlns:a16="http://schemas.microsoft.com/office/drawing/2014/main" id="{7E0223E7-62AA-09EB-5009-78D5A9EC1183}"/>
              </a:ext>
            </a:extLst>
          </p:cNvPr>
          <p:cNvSpPr>
            <a:spLocks noGrp="1"/>
          </p:cNvSpPr>
          <p:nvPr>
            <p:ph type="pic" sz="quarter" idx="60"/>
          </p:nvPr>
        </p:nvSpPr>
        <p:spPr>
          <a:xfrm>
            <a:off x="4806804" y="5907717"/>
            <a:ext cx="520477" cy="486049"/>
          </a:xfrm>
          <a:solidFill>
            <a:schemeClr val="bg2"/>
          </a:solidFill>
        </p:spPr>
        <p:txBody>
          <a:bodyPr/>
          <a:lstStyle>
            <a:lvl1pPr>
              <a:lnSpc>
                <a:spcPct val="100000"/>
              </a:lnSpc>
              <a:spcBef>
                <a:spcPts val="0"/>
              </a:spcBef>
              <a:spcAft>
                <a:spcPts val="0"/>
              </a:spcAft>
              <a:defRPr sz="1050"/>
            </a:lvl1pPr>
          </a:lstStyle>
          <a:p>
            <a:r>
              <a:rPr lang="en-US"/>
              <a:t>Click icon to add picture</a:t>
            </a:r>
          </a:p>
        </p:txBody>
      </p:sp>
      <p:sp>
        <p:nvSpPr>
          <p:cNvPr id="66" name="Text Placeholder 65">
            <a:extLst>
              <a:ext uri="{FF2B5EF4-FFF2-40B4-BE49-F238E27FC236}">
                <a16:creationId xmlns:a16="http://schemas.microsoft.com/office/drawing/2014/main" id="{430BCD9F-EF16-1288-3617-AB89C92C3BDF}"/>
              </a:ext>
            </a:extLst>
          </p:cNvPr>
          <p:cNvSpPr>
            <a:spLocks noGrp="1"/>
          </p:cNvSpPr>
          <p:nvPr>
            <p:ph type="body" sz="quarter" idx="61" hasCustomPrompt="1"/>
          </p:nvPr>
        </p:nvSpPr>
        <p:spPr>
          <a:xfrm>
            <a:off x="9594850" y="1530579"/>
            <a:ext cx="2278063" cy="233910"/>
          </a:xfrm>
        </p:spPr>
        <p:txBody>
          <a:bodyPr>
            <a:spAutoFit/>
          </a:bodyPr>
          <a:lstStyle>
            <a:lvl1pPr>
              <a:defRPr sz="1600" b="0">
                <a:solidFill>
                  <a:schemeClr val="accent1"/>
                </a:solidFill>
                <a:latin typeface="+mn-lt"/>
              </a:defRPr>
            </a:lvl1pPr>
            <a:lvl2pPr>
              <a:defRPr sz="1200">
                <a:solidFill>
                  <a:schemeClr val="accent1"/>
                </a:solidFill>
                <a:latin typeface="+mn-lt"/>
              </a:defRPr>
            </a:lvl2pPr>
            <a:lvl3pPr>
              <a:defRPr sz="1200">
                <a:solidFill>
                  <a:schemeClr val="accent1"/>
                </a:solidFill>
                <a:latin typeface="+mn-lt"/>
              </a:defRPr>
            </a:lvl3pPr>
            <a:lvl4pPr>
              <a:defRPr sz="1200">
                <a:solidFill>
                  <a:schemeClr val="accent1"/>
                </a:solidFill>
                <a:latin typeface="+mn-lt"/>
              </a:defRPr>
            </a:lvl4pPr>
            <a:lvl5pPr>
              <a:defRPr sz="1200">
                <a:solidFill>
                  <a:schemeClr val="accent1"/>
                </a:solidFill>
                <a:latin typeface="+mn-lt"/>
              </a:defRPr>
            </a:lvl5pPr>
          </a:lstStyle>
          <a:p>
            <a:pPr lvl="0"/>
            <a:r>
              <a:rPr lang="en-GB" dirty="0"/>
              <a:t>Sector</a:t>
            </a:r>
            <a:endParaRPr lang="en-US" dirty="0"/>
          </a:p>
        </p:txBody>
      </p:sp>
      <p:sp>
        <p:nvSpPr>
          <p:cNvPr id="67" name="Text Placeholder 15">
            <a:extLst>
              <a:ext uri="{FF2B5EF4-FFF2-40B4-BE49-F238E27FC236}">
                <a16:creationId xmlns:a16="http://schemas.microsoft.com/office/drawing/2014/main" id="{F5A0159A-48C1-11B0-94D5-85BE1F1A8E57}"/>
              </a:ext>
            </a:extLst>
          </p:cNvPr>
          <p:cNvSpPr>
            <a:spLocks noGrp="1"/>
          </p:cNvSpPr>
          <p:nvPr>
            <p:ph type="body" sz="quarter" idx="62" hasCustomPrompt="1"/>
          </p:nvPr>
        </p:nvSpPr>
        <p:spPr>
          <a:xfrm>
            <a:off x="10115327" y="469308"/>
            <a:ext cx="1757586" cy="486048"/>
          </a:xfrm>
          <a:solidFill>
            <a:schemeClr val="accent1"/>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68" name="Picture Placeholder 17">
            <a:extLst>
              <a:ext uri="{FF2B5EF4-FFF2-40B4-BE49-F238E27FC236}">
                <a16:creationId xmlns:a16="http://schemas.microsoft.com/office/drawing/2014/main" id="{CA6F4CE9-A0D2-8BF5-AFEF-A56871FD09B1}"/>
              </a:ext>
            </a:extLst>
          </p:cNvPr>
          <p:cNvSpPr>
            <a:spLocks noGrp="1"/>
          </p:cNvSpPr>
          <p:nvPr>
            <p:ph type="pic" sz="quarter" idx="63"/>
          </p:nvPr>
        </p:nvSpPr>
        <p:spPr>
          <a:xfrm>
            <a:off x="9594850" y="469306"/>
            <a:ext cx="520477" cy="486049"/>
          </a:xfrm>
          <a:solidFill>
            <a:schemeClr val="bg2"/>
          </a:solidFill>
        </p:spPr>
        <p:txBody>
          <a:bodyPr/>
          <a:lstStyle>
            <a:lvl1pPr>
              <a:defRPr sz="1050"/>
            </a:lvl1pPr>
          </a:lstStyle>
          <a:p>
            <a:r>
              <a:rPr lang="en-US"/>
              <a:t>Click icon to add picture</a:t>
            </a:r>
          </a:p>
        </p:txBody>
      </p:sp>
      <p:sp>
        <p:nvSpPr>
          <p:cNvPr id="69" name="Text Placeholder 15">
            <a:extLst>
              <a:ext uri="{FF2B5EF4-FFF2-40B4-BE49-F238E27FC236}">
                <a16:creationId xmlns:a16="http://schemas.microsoft.com/office/drawing/2014/main" id="{574865F7-4B16-D1CB-686C-622E608BD802}"/>
              </a:ext>
            </a:extLst>
          </p:cNvPr>
          <p:cNvSpPr>
            <a:spLocks noGrp="1"/>
          </p:cNvSpPr>
          <p:nvPr>
            <p:ph type="body" sz="quarter" idx="64" hasCustomPrompt="1"/>
          </p:nvPr>
        </p:nvSpPr>
        <p:spPr>
          <a:xfrm>
            <a:off x="7721304" y="469308"/>
            <a:ext cx="1757586" cy="486048"/>
          </a:xfrm>
          <a:solidFill>
            <a:schemeClr val="accent1"/>
          </a:solidFill>
        </p:spPr>
        <p:txBody>
          <a:bodyPr lIns="72000" tIns="36000" rIns="72000" bIns="36000"/>
          <a:lstStyle>
            <a:lvl1pPr>
              <a:lnSpc>
                <a:spcPct val="100000"/>
              </a:lnSpc>
              <a:spcBef>
                <a:spcPts val="0"/>
              </a:spcBef>
              <a:spcAft>
                <a:spcPts val="0"/>
              </a:spcAft>
              <a:defRPr sz="1200" b="0">
                <a:solidFill>
                  <a:schemeClr val="bg1"/>
                </a:solidFill>
                <a:latin typeface="+mj-lt"/>
              </a:defRPr>
            </a:lvl1pPr>
            <a:lvl2pPr>
              <a:lnSpc>
                <a:spcPct val="100000"/>
              </a:lnSpc>
              <a:spcBef>
                <a:spcPts val="0"/>
              </a:spcBef>
              <a:spcAft>
                <a:spcPts val="0"/>
              </a:spcAft>
              <a:defRPr sz="600">
                <a:solidFill>
                  <a:schemeClr val="bg1"/>
                </a:solidFill>
                <a:latin typeface="+mj-lt"/>
              </a:defRPr>
            </a:lvl2pPr>
            <a:lvl3pPr>
              <a:defRPr sz="1000">
                <a:latin typeface="+mj-lt"/>
              </a:defRPr>
            </a:lvl3pPr>
            <a:lvl4pPr>
              <a:defRPr sz="1000">
                <a:latin typeface="+mj-lt"/>
              </a:defRPr>
            </a:lvl4pPr>
            <a:lvl5pPr>
              <a:defRPr sz="1000">
                <a:latin typeface="+mj-lt"/>
              </a:defRPr>
            </a:lvl5pPr>
          </a:lstStyle>
          <a:p>
            <a:pPr lvl="0"/>
            <a:r>
              <a:rPr lang="en-GB" dirty="0"/>
              <a:t>Name</a:t>
            </a:r>
          </a:p>
          <a:p>
            <a:pPr lvl="1"/>
            <a:r>
              <a:rPr lang="en-GB" dirty="0"/>
              <a:t>Role description</a:t>
            </a:r>
            <a:endParaRPr lang="en-US" dirty="0"/>
          </a:p>
        </p:txBody>
      </p:sp>
      <p:sp>
        <p:nvSpPr>
          <p:cNvPr id="70" name="Picture Placeholder 17">
            <a:extLst>
              <a:ext uri="{FF2B5EF4-FFF2-40B4-BE49-F238E27FC236}">
                <a16:creationId xmlns:a16="http://schemas.microsoft.com/office/drawing/2014/main" id="{1E792525-F892-64A3-B9B3-E4EF44CA94FC}"/>
              </a:ext>
            </a:extLst>
          </p:cNvPr>
          <p:cNvSpPr>
            <a:spLocks noGrp="1"/>
          </p:cNvSpPr>
          <p:nvPr>
            <p:ph type="pic" sz="quarter" idx="65"/>
          </p:nvPr>
        </p:nvSpPr>
        <p:spPr>
          <a:xfrm>
            <a:off x="7200827" y="469306"/>
            <a:ext cx="520477" cy="486049"/>
          </a:xfrm>
          <a:solidFill>
            <a:schemeClr val="bg2"/>
          </a:solidFill>
        </p:spPr>
        <p:txBody>
          <a:bodyPr/>
          <a:lstStyle>
            <a:lvl1pPr>
              <a:defRPr sz="1050"/>
            </a:lvl1pPr>
          </a:lstStyle>
          <a:p>
            <a:r>
              <a:rPr lang="en-US"/>
              <a:t>Click icon to add picture</a:t>
            </a:r>
          </a:p>
        </p:txBody>
      </p:sp>
      <p:sp>
        <p:nvSpPr>
          <p:cNvPr id="72" name="Text Placeholder 65">
            <a:extLst>
              <a:ext uri="{FF2B5EF4-FFF2-40B4-BE49-F238E27FC236}">
                <a16:creationId xmlns:a16="http://schemas.microsoft.com/office/drawing/2014/main" id="{DBF027CA-B0C2-419A-DAF8-ECCBDE96EFB4}"/>
              </a:ext>
            </a:extLst>
          </p:cNvPr>
          <p:cNvSpPr>
            <a:spLocks noGrp="1"/>
          </p:cNvSpPr>
          <p:nvPr>
            <p:ph type="body" sz="quarter" idx="66" hasCustomPrompt="1"/>
          </p:nvPr>
        </p:nvSpPr>
        <p:spPr>
          <a:xfrm>
            <a:off x="7202379" y="1530579"/>
            <a:ext cx="2278063" cy="233910"/>
          </a:xfrm>
        </p:spPr>
        <p:txBody>
          <a:bodyPr>
            <a:spAutoFit/>
          </a:bodyPr>
          <a:lstStyle>
            <a:lvl1pPr>
              <a:defRPr sz="1600" b="0">
                <a:solidFill>
                  <a:schemeClr val="accent1"/>
                </a:solidFill>
                <a:latin typeface="+mn-lt"/>
              </a:defRPr>
            </a:lvl1pPr>
            <a:lvl2pPr>
              <a:defRPr sz="1200">
                <a:solidFill>
                  <a:schemeClr val="accent1"/>
                </a:solidFill>
                <a:latin typeface="+mn-lt"/>
              </a:defRPr>
            </a:lvl2pPr>
            <a:lvl3pPr>
              <a:defRPr sz="1200">
                <a:solidFill>
                  <a:schemeClr val="accent1"/>
                </a:solidFill>
                <a:latin typeface="+mn-lt"/>
              </a:defRPr>
            </a:lvl3pPr>
            <a:lvl4pPr>
              <a:defRPr sz="1200">
                <a:solidFill>
                  <a:schemeClr val="accent1"/>
                </a:solidFill>
                <a:latin typeface="+mn-lt"/>
              </a:defRPr>
            </a:lvl4pPr>
            <a:lvl5pPr>
              <a:defRPr sz="1200">
                <a:solidFill>
                  <a:schemeClr val="accent1"/>
                </a:solidFill>
                <a:latin typeface="+mn-lt"/>
              </a:defRPr>
            </a:lvl5pPr>
          </a:lstStyle>
          <a:p>
            <a:pPr lvl="0"/>
            <a:r>
              <a:rPr lang="en-GB" dirty="0"/>
              <a:t>Sector</a:t>
            </a:r>
            <a:endParaRPr lang="en-US" dirty="0"/>
          </a:p>
        </p:txBody>
      </p:sp>
      <p:sp>
        <p:nvSpPr>
          <p:cNvPr id="73" name="Text Placeholder 65">
            <a:extLst>
              <a:ext uri="{FF2B5EF4-FFF2-40B4-BE49-F238E27FC236}">
                <a16:creationId xmlns:a16="http://schemas.microsoft.com/office/drawing/2014/main" id="{2F0FD107-669C-B260-FA7E-02BB020E45D5}"/>
              </a:ext>
            </a:extLst>
          </p:cNvPr>
          <p:cNvSpPr>
            <a:spLocks noGrp="1"/>
          </p:cNvSpPr>
          <p:nvPr>
            <p:ph type="body" sz="quarter" idx="67" hasCustomPrompt="1"/>
          </p:nvPr>
        </p:nvSpPr>
        <p:spPr>
          <a:xfrm>
            <a:off x="4806804" y="1530579"/>
            <a:ext cx="2278063" cy="233910"/>
          </a:xfrm>
        </p:spPr>
        <p:txBody>
          <a:bodyPr>
            <a:spAutoFit/>
          </a:bodyPr>
          <a:lstStyle>
            <a:lvl1pPr>
              <a:defRPr sz="1600" b="0">
                <a:solidFill>
                  <a:schemeClr val="accent1"/>
                </a:solidFill>
                <a:latin typeface="+mn-lt"/>
              </a:defRPr>
            </a:lvl1pPr>
            <a:lvl2pPr>
              <a:defRPr sz="1200">
                <a:solidFill>
                  <a:schemeClr val="accent1"/>
                </a:solidFill>
                <a:latin typeface="+mn-lt"/>
              </a:defRPr>
            </a:lvl2pPr>
            <a:lvl3pPr>
              <a:defRPr sz="1200">
                <a:solidFill>
                  <a:schemeClr val="accent1"/>
                </a:solidFill>
                <a:latin typeface="+mn-lt"/>
              </a:defRPr>
            </a:lvl3pPr>
            <a:lvl4pPr>
              <a:defRPr sz="1200">
                <a:solidFill>
                  <a:schemeClr val="accent1"/>
                </a:solidFill>
                <a:latin typeface="+mn-lt"/>
              </a:defRPr>
            </a:lvl4pPr>
            <a:lvl5pPr>
              <a:defRPr sz="1200">
                <a:solidFill>
                  <a:schemeClr val="accent1"/>
                </a:solidFill>
                <a:latin typeface="+mn-lt"/>
              </a:defRPr>
            </a:lvl5pPr>
          </a:lstStyle>
          <a:p>
            <a:pPr lvl="0"/>
            <a:r>
              <a:rPr lang="en-GB" dirty="0"/>
              <a:t>Sector</a:t>
            </a:r>
            <a:endParaRPr lang="en-US" dirty="0"/>
          </a:p>
        </p:txBody>
      </p:sp>
      <p:sp>
        <p:nvSpPr>
          <p:cNvPr id="74" name="Rectangle 6">
            <a:extLst>
              <a:ext uri="{FF2B5EF4-FFF2-40B4-BE49-F238E27FC236}">
                <a16:creationId xmlns:a16="http://schemas.microsoft.com/office/drawing/2014/main" id="{835A19E8-130B-392B-16A3-C595D3D5BF5C}"/>
              </a:ext>
            </a:extLst>
          </p:cNvPr>
          <p:cNvSpPr/>
          <p:nvPr userDrawn="1"/>
        </p:nvSpPr>
        <p:spPr>
          <a:xfrm>
            <a:off x="8296117" y="955350"/>
            <a:ext cx="2597465" cy="155370"/>
          </a:xfrm>
          <a:custGeom>
            <a:avLst/>
            <a:gdLst>
              <a:gd name="connsiteX0" fmla="*/ 0 w 3200400"/>
              <a:gd name="connsiteY0" fmla="*/ 0 h 444109"/>
              <a:gd name="connsiteX1" fmla="*/ 3200400 w 3200400"/>
              <a:gd name="connsiteY1" fmla="*/ 0 h 444109"/>
              <a:gd name="connsiteX2" fmla="*/ 3200400 w 3200400"/>
              <a:gd name="connsiteY2" fmla="*/ 444109 h 444109"/>
              <a:gd name="connsiteX3" fmla="*/ 0 w 3200400"/>
              <a:gd name="connsiteY3" fmla="*/ 444109 h 444109"/>
              <a:gd name="connsiteX4" fmla="*/ 0 w 3200400"/>
              <a:gd name="connsiteY4" fmla="*/ 0 h 444109"/>
              <a:gd name="connsiteX0" fmla="*/ 0 w 3200400"/>
              <a:gd name="connsiteY0" fmla="*/ 9525 h 453634"/>
              <a:gd name="connsiteX1" fmla="*/ 1657350 w 3200400"/>
              <a:gd name="connsiteY1" fmla="*/ 0 h 453634"/>
              <a:gd name="connsiteX2" fmla="*/ 3200400 w 3200400"/>
              <a:gd name="connsiteY2" fmla="*/ 9525 h 453634"/>
              <a:gd name="connsiteX3" fmla="*/ 3200400 w 3200400"/>
              <a:gd name="connsiteY3" fmla="*/ 453634 h 453634"/>
              <a:gd name="connsiteX4" fmla="*/ 0 w 3200400"/>
              <a:gd name="connsiteY4" fmla="*/ 453634 h 453634"/>
              <a:gd name="connsiteX5" fmla="*/ 0 w 3200400"/>
              <a:gd name="connsiteY5" fmla="*/ 9525 h 453634"/>
              <a:gd name="connsiteX0" fmla="*/ 1657350 w 3200400"/>
              <a:gd name="connsiteY0" fmla="*/ 0 h 453634"/>
              <a:gd name="connsiteX1" fmla="*/ 3200400 w 3200400"/>
              <a:gd name="connsiteY1" fmla="*/ 9525 h 453634"/>
              <a:gd name="connsiteX2" fmla="*/ 3200400 w 3200400"/>
              <a:gd name="connsiteY2" fmla="*/ 453634 h 453634"/>
              <a:gd name="connsiteX3" fmla="*/ 0 w 3200400"/>
              <a:gd name="connsiteY3" fmla="*/ 453634 h 453634"/>
              <a:gd name="connsiteX4" fmla="*/ 0 w 3200400"/>
              <a:gd name="connsiteY4" fmla="*/ 9525 h 453634"/>
              <a:gd name="connsiteX5" fmla="*/ 1748790 w 3200400"/>
              <a:gd name="connsiteY5" fmla="*/ 91440 h 453634"/>
              <a:gd name="connsiteX0" fmla="*/ 1657350 w 3200400"/>
              <a:gd name="connsiteY0" fmla="*/ 0 h 453634"/>
              <a:gd name="connsiteX1" fmla="*/ 3200400 w 3200400"/>
              <a:gd name="connsiteY1" fmla="*/ 9525 h 453634"/>
              <a:gd name="connsiteX2" fmla="*/ 3200400 w 3200400"/>
              <a:gd name="connsiteY2" fmla="*/ 453634 h 453634"/>
              <a:gd name="connsiteX3" fmla="*/ 0 w 3200400"/>
              <a:gd name="connsiteY3" fmla="*/ 453634 h 453634"/>
              <a:gd name="connsiteX4" fmla="*/ 0 w 3200400"/>
              <a:gd name="connsiteY4" fmla="*/ 9525 h 453634"/>
              <a:gd name="connsiteX0" fmla="*/ 3200400 w 3200400"/>
              <a:gd name="connsiteY0" fmla="*/ 0 h 444109"/>
              <a:gd name="connsiteX1" fmla="*/ 3200400 w 3200400"/>
              <a:gd name="connsiteY1" fmla="*/ 444109 h 444109"/>
              <a:gd name="connsiteX2" fmla="*/ 0 w 3200400"/>
              <a:gd name="connsiteY2" fmla="*/ 444109 h 444109"/>
              <a:gd name="connsiteX3" fmla="*/ 0 w 3200400"/>
              <a:gd name="connsiteY3" fmla="*/ 0 h 444109"/>
            </a:gdLst>
            <a:ahLst/>
            <a:cxnLst>
              <a:cxn ang="0">
                <a:pos x="connsiteX0" y="connsiteY0"/>
              </a:cxn>
              <a:cxn ang="0">
                <a:pos x="connsiteX1" y="connsiteY1"/>
              </a:cxn>
              <a:cxn ang="0">
                <a:pos x="connsiteX2" y="connsiteY2"/>
              </a:cxn>
              <a:cxn ang="0">
                <a:pos x="connsiteX3" y="connsiteY3"/>
              </a:cxn>
            </a:cxnLst>
            <a:rect l="l" t="t" r="r" b="b"/>
            <a:pathLst>
              <a:path w="3200400" h="444109">
                <a:moveTo>
                  <a:pt x="3200400" y="0"/>
                </a:moveTo>
                <a:lnTo>
                  <a:pt x="3200400" y="444109"/>
                </a:lnTo>
                <a:lnTo>
                  <a:pt x="0" y="444109"/>
                </a:lnTo>
                <a:lnTo>
                  <a:pt x="0" y="0"/>
                </a:lnTo>
              </a:path>
            </a:pathLst>
          </a:custGeom>
          <a:noFill/>
          <a:ln w="9525" cap="sq">
            <a:solidFill>
              <a:schemeClr val="accent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      </a:t>
            </a:r>
          </a:p>
        </p:txBody>
      </p:sp>
      <p:sp>
        <p:nvSpPr>
          <p:cNvPr id="75" name="Text Placeholder 65">
            <a:extLst>
              <a:ext uri="{FF2B5EF4-FFF2-40B4-BE49-F238E27FC236}">
                <a16:creationId xmlns:a16="http://schemas.microsoft.com/office/drawing/2014/main" id="{C11ABC07-B062-43C9-5120-B7A225863B53}"/>
              </a:ext>
            </a:extLst>
          </p:cNvPr>
          <p:cNvSpPr>
            <a:spLocks noGrp="1"/>
          </p:cNvSpPr>
          <p:nvPr>
            <p:ph type="body" sz="quarter" idx="68" hasCustomPrompt="1"/>
          </p:nvPr>
        </p:nvSpPr>
        <p:spPr>
          <a:xfrm>
            <a:off x="10958513" y="985667"/>
            <a:ext cx="449262" cy="160813"/>
          </a:xfrm>
        </p:spPr>
        <p:txBody>
          <a:bodyPr wrap="square">
            <a:spAutoFit/>
          </a:bodyPr>
          <a:lstStyle>
            <a:lvl1pPr>
              <a:defRPr sz="1100" b="0">
                <a:solidFill>
                  <a:schemeClr val="accent1"/>
                </a:solidFill>
                <a:latin typeface="+mn-lt"/>
              </a:defRPr>
            </a:lvl1pPr>
            <a:lvl2pPr>
              <a:defRPr sz="1200">
                <a:solidFill>
                  <a:schemeClr val="accent1"/>
                </a:solidFill>
                <a:latin typeface="+mn-lt"/>
              </a:defRPr>
            </a:lvl2pPr>
            <a:lvl3pPr>
              <a:defRPr sz="1200">
                <a:solidFill>
                  <a:schemeClr val="accent1"/>
                </a:solidFill>
                <a:latin typeface="+mn-lt"/>
              </a:defRPr>
            </a:lvl3pPr>
            <a:lvl4pPr>
              <a:defRPr sz="1200">
                <a:solidFill>
                  <a:schemeClr val="accent1"/>
                </a:solidFill>
                <a:latin typeface="+mn-lt"/>
              </a:defRPr>
            </a:lvl4pPr>
            <a:lvl5pPr>
              <a:defRPr sz="1200">
                <a:solidFill>
                  <a:schemeClr val="accent1"/>
                </a:solidFill>
                <a:latin typeface="+mn-lt"/>
              </a:defRPr>
            </a:lvl5pPr>
          </a:lstStyle>
          <a:p>
            <a:pPr lvl="0"/>
            <a:r>
              <a:rPr lang="en-GB" dirty="0"/>
              <a:t>Sector</a:t>
            </a:r>
            <a:endParaRPr lang="en-US" dirty="0"/>
          </a:p>
        </p:txBody>
      </p:sp>
      <p:cxnSp>
        <p:nvCxnSpPr>
          <p:cNvPr id="76" name="Straight Connector 75">
            <a:extLst>
              <a:ext uri="{FF2B5EF4-FFF2-40B4-BE49-F238E27FC236}">
                <a16:creationId xmlns:a16="http://schemas.microsoft.com/office/drawing/2014/main" id="{1991A43D-D9FC-0639-B455-EB6D993DD5C7}"/>
              </a:ext>
            </a:extLst>
          </p:cNvPr>
          <p:cNvCxnSpPr>
            <a:cxnSpLocks/>
          </p:cNvCxnSpPr>
          <p:nvPr userDrawn="1"/>
        </p:nvCxnSpPr>
        <p:spPr>
          <a:xfrm>
            <a:off x="7992824" y="892725"/>
            <a:ext cx="0" cy="587750"/>
          </a:xfrm>
          <a:prstGeom prst="line">
            <a:avLst/>
          </a:prstGeom>
          <a:ln w="9525" cap="rnd">
            <a:solidFill>
              <a:schemeClr val="accent1"/>
            </a:solidFill>
            <a:round/>
            <a:headEnd type="none" w="med" len="med"/>
            <a:tailEnd type="none"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533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9044486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D5D703-D8EA-9994-BA95-384890B498F7}"/>
              </a:ext>
            </a:extLst>
          </p:cNvPr>
          <p:cNvSpPr>
            <a:spLocks noGrp="1"/>
          </p:cNvSpPr>
          <p:nvPr>
            <p:ph type="ftr" sz="quarter" idx="11"/>
          </p:nvPr>
        </p:nvSpPr>
        <p:spPr>
          <a:xfrm>
            <a:off x="1828435" y="6605905"/>
            <a:ext cx="9367616" cy="249859"/>
          </a:xfrm>
          <a:prstGeom prst="rect">
            <a:avLst/>
          </a:prstGeom>
        </p:spPr>
        <p:txBody>
          <a:bodyPr/>
          <a:lstStyle/>
          <a:p>
            <a:r>
              <a:rPr lang="en-US"/>
              <a:t>SLB Technology. Private. Internal use only.</a:t>
            </a:r>
            <a:endParaRPr lang="en-GB"/>
          </a:p>
        </p:txBody>
      </p:sp>
      <p:sp>
        <p:nvSpPr>
          <p:cNvPr id="4" name="Slide Number Placeholder 3">
            <a:extLst>
              <a:ext uri="{FF2B5EF4-FFF2-40B4-BE49-F238E27FC236}">
                <a16:creationId xmlns:a16="http://schemas.microsoft.com/office/drawing/2014/main" id="{53DCE458-D9A3-4DEA-87B5-6B6AE0C5F74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423686898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2604" y="1394463"/>
            <a:ext cx="5613401" cy="4514215"/>
          </a:xfrm>
        </p:spPr>
        <p:txBody>
          <a:bodyPr>
            <a:normAutofit/>
          </a:bodyPr>
          <a:lstStyle>
            <a:lvl1pPr>
              <a:defRPr sz="2100"/>
            </a:lvl1pPr>
            <a:lvl2pPr>
              <a:defRPr sz="2100"/>
            </a:lvl2pPr>
            <a:lvl3pPr>
              <a:defRPr sz="1800"/>
            </a:lvl3pPr>
            <a:lvl4pPr>
              <a:defRPr sz="1500"/>
            </a:lvl4pPr>
            <a:lvl5pPr>
              <a:defRPr sz="1350"/>
            </a:lvl5pPr>
            <a:lvl6pPr>
              <a:defRPr sz="1650"/>
            </a:lvl6pPr>
            <a:lvl7pPr>
              <a:defRPr sz="1650"/>
            </a:lvl7pPr>
            <a:lvl8pPr>
              <a:defRPr sz="1650"/>
            </a:lvl8pPr>
            <a:lvl9pPr>
              <a:defRPr sz="16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6003" y="1394463"/>
            <a:ext cx="5484284" cy="4514215"/>
          </a:xfrm>
        </p:spPr>
        <p:txBody>
          <a:bodyPr>
            <a:normAutofit/>
          </a:bodyPr>
          <a:lstStyle>
            <a:lvl1pPr>
              <a:defRPr sz="2100"/>
            </a:lvl1pPr>
            <a:lvl2pPr>
              <a:defRPr sz="2100"/>
            </a:lvl2pPr>
            <a:lvl3pPr>
              <a:defRPr sz="1800"/>
            </a:lvl3pPr>
            <a:lvl4pPr>
              <a:defRPr sz="1500"/>
            </a:lvl4pPr>
            <a:lvl5pPr>
              <a:defRPr sz="1350"/>
            </a:lvl5pPr>
            <a:lvl6pPr>
              <a:defRPr sz="1650"/>
            </a:lvl6pPr>
            <a:lvl7pPr>
              <a:defRPr sz="1650"/>
            </a:lvl7pPr>
            <a:lvl8pPr>
              <a:defRPr sz="1650"/>
            </a:lvl8pPr>
            <a:lvl9pPr>
              <a:defRPr sz="16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0"/>
          </p:nvPr>
        </p:nvSpPr>
        <p:spPr/>
        <p:txBody>
          <a:bodyPr/>
          <a:lstStyle>
            <a:lvl1pPr>
              <a:defRPr/>
            </a:lvl1pPr>
          </a:lstStyle>
          <a:p>
            <a:endParaRPr lang="en-US" dirty="0"/>
          </a:p>
        </p:txBody>
      </p:sp>
      <p:sp>
        <p:nvSpPr>
          <p:cNvPr id="6" name="Title 5">
            <a:extLst>
              <a:ext uri="{FF2B5EF4-FFF2-40B4-BE49-F238E27FC236}">
                <a16:creationId xmlns:a16="http://schemas.microsoft.com/office/drawing/2014/main" id="{2F46CAB1-0777-42FE-B980-89E53BAF319F}"/>
              </a:ext>
            </a:extLst>
          </p:cNvPr>
          <p:cNvSpPr>
            <a:spLocks noGrp="1"/>
          </p:cNvSpPr>
          <p:nvPr>
            <p:ph type="title"/>
          </p:nvPr>
        </p:nvSpPr>
        <p:spPr/>
        <p:txBody>
          <a:bodyPr/>
          <a:lstStyle/>
          <a:p>
            <a:r>
              <a:rPr lang="en-US" dirty="0"/>
              <a:t>Click to edit Master title style</a:t>
            </a:r>
          </a:p>
        </p:txBody>
      </p:sp>
      <p:sp>
        <p:nvSpPr>
          <p:cNvPr id="7" name="Footer Placeholder 6">
            <a:extLst>
              <a:ext uri="{FF2B5EF4-FFF2-40B4-BE49-F238E27FC236}">
                <a16:creationId xmlns:a16="http://schemas.microsoft.com/office/drawing/2014/main" id="{3CF94047-A0CF-4F61-8865-95B4ED6654C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104094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8" name="Content Placeholder 7"/>
          <p:cNvSpPr>
            <a:spLocks noGrp="1"/>
          </p:cNvSpPr>
          <p:nvPr>
            <p:ph sz="quarter" idx="11"/>
          </p:nvPr>
        </p:nvSpPr>
        <p:spPr>
          <a:xfrm>
            <a:off x="517660"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2"/>
          </p:nvPr>
        </p:nvSpPr>
        <p:spPr>
          <a:xfrm>
            <a:off x="6282740"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4">
            <a:extLst>
              <a:ext uri="{FF2B5EF4-FFF2-40B4-BE49-F238E27FC236}">
                <a16:creationId xmlns:a16="http://schemas.microsoft.com/office/drawing/2014/main" id="{867C4573-607A-872C-AB4B-5D9EB64935E8}"/>
              </a:ext>
            </a:extLst>
          </p:cNvPr>
          <p:cNvSpPr>
            <a:spLocks noGrp="1"/>
          </p:cNvSpPr>
          <p:nvPr>
            <p:ph type="sldNum" sz="quarter" idx="10"/>
          </p:nvPr>
        </p:nvSpPr>
        <p:spPr>
          <a:xfrm>
            <a:off x="11188701" y="6411198"/>
            <a:ext cx="684212" cy="230248"/>
          </a:xfrm>
        </p:spPr>
        <p:txBody>
          <a:bodyPr/>
          <a:lstStyle>
            <a:lvl1pPr>
              <a:defRPr/>
            </a:lvl1pPr>
          </a:lstStyle>
          <a:p>
            <a:endParaRPr lang="en-US" dirty="0"/>
          </a:p>
        </p:txBody>
      </p:sp>
      <p:sp>
        <p:nvSpPr>
          <p:cNvPr id="3" name="Footer Placeholder 6">
            <a:extLst>
              <a:ext uri="{FF2B5EF4-FFF2-40B4-BE49-F238E27FC236}">
                <a16:creationId xmlns:a16="http://schemas.microsoft.com/office/drawing/2014/main" id="{967B1F96-7477-41BD-553C-8DC3EBBEBAB3}"/>
              </a:ext>
            </a:extLst>
          </p:cNvPr>
          <p:cNvSpPr>
            <a:spLocks noGrp="1"/>
          </p:cNvSpPr>
          <p:nvPr>
            <p:ph type="ftr" sz="quarter" idx="13"/>
          </p:nvPr>
        </p:nvSpPr>
        <p:spPr>
          <a:xfrm>
            <a:off x="1828435" y="6605900"/>
            <a:ext cx="9367616" cy="249859"/>
          </a:xfrm>
        </p:spPr>
        <p:txBody>
          <a:bodyPr/>
          <a:lstStyle/>
          <a:p>
            <a:endParaRPr lang="en-US"/>
          </a:p>
        </p:txBody>
      </p:sp>
      <p:sp>
        <p:nvSpPr>
          <p:cNvPr id="4" name="Title 3">
            <a:extLst>
              <a:ext uri="{FF2B5EF4-FFF2-40B4-BE49-F238E27FC236}">
                <a16:creationId xmlns:a16="http://schemas.microsoft.com/office/drawing/2014/main" id="{7CBD8CDC-4961-1B2F-7C9A-9D2517566E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36270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489EDA21-CA0F-429C-946D-E75E71914723}"/>
              </a:ext>
            </a:extLst>
          </p:cNvPr>
          <p:cNvSpPr txBox="1">
            <a:spLocks/>
          </p:cNvSpPr>
          <p:nvPr userDrawn="1"/>
        </p:nvSpPr>
        <p:spPr>
          <a:xfrm>
            <a:off x="77135" y="6443681"/>
            <a:ext cx="49436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lumMod val="85000"/>
                  </a:schemeClr>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FAA9811-4318-4AEB-BE51-5DD2B974373A}" type="slidenum">
              <a:rPr lang="en-US" sz="1400" b="1" smtClean="0">
                <a:solidFill>
                  <a:schemeClr val="bg1"/>
                </a:solidFill>
                <a:latin typeface="+mn-lt"/>
              </a:rPr>
              <a:pPr/>
              <a:t>‹#›</a:t>
            </a:fld>
            <a:endParaRPr lang="en-US" sz="1400" b="1" dirty="0">
              <a:solidFill>
                <a:schemeClr val="bg1"/>
              </a:solidFill>
              <a:latin typeface="+mn-lt"/>
            </a:endParaRPr>
          </a:p>
        </p:txBody>
      </p:sp>
      <p:sp>
        <p:nvSpPr>
          <p:cNvPr id="4" name="Slide Number Placeholder 4">
            <a:extLst>
              <a:ext uri="{FF2B5EF4-FFF2-40B4-BE49-F238E27FC236}">
                <a16:creationId xmlns:a16="http://schemas.microsoft.com/office/drawing/2014/main" id="{4C34D316-8F1E-B183-F131-85A6EACA8939}"/>
              </a:ext>
            </a:extLst>
          </p:cNvPr>
          <p:cNvSpPr>
            <a:spLocks noGrp="1"/>
          </p:cNvSpPr>
          <p:nvPr>
            <p:ph type="sldNum" sz="quarter" idx="10"/>
          </p:nvPr>
        </p:nvSpPr>
        <p:spPr>
          <a:xfrm>
            <a:off x="11188701" y="6411198"/>
            <a:ext cx="684212" cy="230248"/>
          </a:xfrm>
        </p:spPr>
        <p:txBody>
          <a:bodyPr/>
          <a:lstStyle>
            <a:lvl1pPr>
              <a:defRPr/>
            </a:lvl1pPr>
          </a:lstStyle>
          <a:p>
            <a:endParaRPr lang="en-US" dirty="0"/>
          </a:p>
        </p:txBody>
      </p:sp>
      <p:sp>
        <p:nvSpPr>
          <p:cNvPr id="5" name="Footer Placeholder 6">
            <a:extLst>
              <a:ext uri="{FF2B5EF4-FFF2-40B4-BE49-F238E27FC236}">
                <a16:creationId xmlns:a16="http://schemas.microsoft.com/office/drawing/2014/main" id="{D41F9AF3-4ABE-659A-6977-43F8D24AD8A4}"/>
              </a:ext>
            </a:extLst>
          </p:cNvPr>
          <p:cNvSpPr>
            <a:spLocks noGrp="1"/>
          </p:cNvSpPr>
          <p:nvPr>
            <p:ph type="ftr" sz="quarter" idx="11"/>
          </p:nvPr>
        </p:nvSpPr>
        <p:spPr>
          <a:xfrm>
            <a:off x="1828435" y="6605900"/>
            <a:ext cx="9367616" cy="249859"/>
          </a:xfrm>
        </p:spPr>
        <p:txBody>
          <a:bodyPr/>
          <a:lstStyle/>
          <a:p>
            <a:endParaRPr lang="en-US"/>
          </a:p>
        </p:txBody>
      </p:sp>
      <p:sp>
        <p:nvSpPr>
          <p:cNvPr id="7" name="Title 6">
            <a:extLst>
              <a:ext uri="{FF2B5EF4-FFF2-40B4-BE49-F238E27FC236}">
                <a16:creationId xmlns:a16="http://schemas.microsoft.com/office/drawing/2014/main" id="{994533B2-2526-9062-6BAD-0B59DB3E6D57}"/>
              </a:ext>
            </a:extLst>
          </p:cNvPr>
          <p:cNvSpPr>
            <a:spLocks noGrp="1"/>
          </p:cNvSpPr>
          <p:nvPr>
            <p:ph type="title"/>
          </p:nvPr>
        </p:nvSpPr>
        <p:spPr>
          <a:xfrm>
            <a:off x="457200" y="412363"/>
            <a:ext cx="10957034" cy="3696087"/>
          </a:xfrm>
        </p:spPr>
        <p:txBody>
          <a:bodyPr/>
          <a:lstStyle/>
          <a:p>
            <a:r>
              <a:rPr lang="en-US"/>
              <a:t>Click to edit Master title style</a:t>
            </a:r>
          </a:p>
        </p:txBody>
      </p:sp>
    </p:spTree>
    <p:extLst>
      <p:ext uri="{BB962C8B-B14F-4D97-AF65-F5344CB8AC3E}">
        <p14:creationId xmlns:p14="http://schemas.microsoft.com/office/powerpoint/2010/main" val="9020282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31ED342-3D5F-E744-5C02-ED60F13F3A32}"/>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p:nvPr>
        </p:nvSpPr>
        <p:spPr>
          <a:xfrm>
            <a:off x="457200" y="975334"/>
            <a:ext cx="9144000" cy="3439236"/>
          </a:xfrm>
        </p:spPr>
        <p:txBody>
          <a:bodyPr anchor="b">
            <a:noAutofit/>
          </a:bodyPr>
          <a:lstStyle>
            <a:lvl1pPr algn="l">
              <a:lnSpc>
                <a:spcPct val="80000"/>
              </a:lnSpc>
              <a:defRPr sz="88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US"/>
          </a:p>
        </p:txBody>
      </p:sp>
      <p:pic>
        <p:nvPicPr>
          <p:cNvPr id="5" name="Graphic 4">
            <a:extLst>
              <a:ext uri="{FF2B5EF4-FFF2-40B4-BE49-F238E27FC236}">
                <a16:creationId xmlns:a16="http://schemas.microsoft.com/office/drawing/2014/main" id="{AC1A5716-3608-4053-4CC8-84BF92B5D61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130906957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Title Slide for 1 Sent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0ADC76-D61C-14B2-73B6-03136E7AB583}"/>
              </a:ext>
            </a:extLst>
          </p:cNvPr>
          <p:cNvSpPr/>
          <p:nvPr/>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hasCustomPrompt="1"/>
          </p:nvPr>
        </p:nvSpPr>
        <p:spPr>
          <a:xfrm>
            <a:off x="457200" y="3049750"/>
            <a:ext cx="9144000" cy="1083374"/>
          </a:xfrm>
        </p:spPr>
        <p:txBody>
          <a:bodyPr anchor="b">
            <a:noAutofit/>
          </a:bodyPr>
          <a:lstStyle>
            <a:lvl1pPr algn="l">
              <a:lnSpc>
                <a:spcPct val="80000"/>
              </a:lnSpc>
              <a:defRPr sz="8800">
                <a:solidFill>
                  <a:schemeClr val="accent1"/>
                </a:solidFill>
              </a:defRPr>
            </a:lvl1pPr>
          </a:lstStyle>
          <a:p>
            <a:r>
              <a:rPr lang="en-US"/>
              <a:t>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US"/>
          </a:p>
        </p:txBody>
      </p:sp>
      <p:sp>
        <p:nvSpPr>
          <p:cNvPr id="6" name="Picture Placeholder 11">
            <a:extLst>
              <a:ext uri="{FF2B5EF4-FFF2-40B4-BE49-F238E27FC236}">
                <a16:creationId xmlns:a16="http://schemas.microsoft.com/office/drawing/2014/main" id="{577C862B-51AF-22E7-C1C8-B6AB08B70818}"/>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pic>
        <p:nvPicPr>
          <p:cNvPr id="5" name="Graphic 4">
            <a:extLst>
              <a:ext uri="{FF2B5EF4-FFF2-40B4-BE49-F238E27FC236}">
                <a16:creationId xmlns:a16="http://schemas.microsoft.com/office/drawing/2014/main" id="{7C47EC89-A6A9-22D1-1BE8-E0D34780BDC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130162264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9" name="Picture Placeholder 11">
            <a:extLst>
              <a:ext uri="{FF2B5EF4-FFF2-40B4-BE49-F238E27FC236}">
                <a16:creationId xmlns:a16="http://schemas.microsoft.com/office/drawing/2014/main" id="{01E87593-5AB1-A742-817D-C9CC722DF5EB}"/>
              </a:ext>
            </a:extLst>
          </p:cNvPr>
          <p:cNvSpPr>
            <a:spLocks noGrp="1"/>
          </p:cNvSpPr>
          <p:nvPr>
            <p:ph type="pic" sz="quarter" idx="13" hasCustomPrompt="1"/>
          </p:nvPr>
        </p:nvSpPr>
        <p:spPr>
          <a:xfrm>
            <a:off x="0" y="0"/>
            <a:ext cx="12192000" cy="685800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B4FC5297-363A-7DB8-E10F-5C447164ED3E}"/>
              </a:ext>
            </a:extLst>
          </p:cNvPr>
          <p:cNvSpPr>
            <a:spLocks noGrp="1"/>
          </p:cNvSpPr>
          <p:nvPr>
            <p:ph type="title"/>
          </p:nvPr>
        </p:nvSpPr>
        <p:spPr>
          <a:xfrm>
            <a:off x="457200" y="402608"/>
            <a:ext cx="9586913" cy="2852737"/>
          </a:xfrm>
        </p:spPr>
        <p:txBody>
          <a:bodyPr anchor="t"/>
          <a:lstStyle>
            <a:lvl1pPr>
              <a:defRPr sz="72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2B0A461-379B-6A19-B69E-A04AF5ECEBFA}"/>
              </a:ext>
            </a:extLst>
          </p:cNvPr>
          <p:cNvSpPr>
            <a:spLocks noGrp="1"/>
          </p:cNvSpPr>
          <p:nvPr>
            <p:ph type="body" idx="1"/>
          </p:nvPr>
        </p:nvSpPr>
        <p:spPr>
          <a:xfrm>
            <a:off x="457201" y="3654426"/>
            <a:ext cx="5937250" cy="914399"/>
          </a:xfr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27BFB576-48D2-B938-362D-C2CA0F65CC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44F17B-F1E6-D688-7E7E-CD7675D187CA}"/>
              </a:ext>
            </a:extLst>
          </p:cNvPr>
          <p:cNvSpPr>
            <a:spLocks noGrp="1"/>
          </p:cNvSpPr>
          <p:nvPr>
            <p:ph type="sldNum" sz="quarter" idx="12"/>
          </p:nvPr>
        </p:nvSpPr>
        <p:spPr/>
        <p:txBody>
          <a:bodyPr/>
          <a:lstStyle/>
          <a:p>
            <a:fld id="{F6B081E3-CA78-499C-A458-89489E0FA23E}" type="slidenum">
              <a:rPr lang="en-US" smtClean="0"/>
              <a:t>‹#›</a:t>
            </a:fld>
            <a:endParaRPr lang="en-US"/>
          </a:p>
        </p:txBody>
      </p:sp>
    </p:spTree>
    <p:extLst>
      <p:ext uri="{BB962C8B-B14F-4D97-AF65-F5344CB8AC3E}">
        <p14:creationId xmlns:p14="http://schemas.microsoft.com/office/powerpoint/2010/main" val="25688817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A26944-9883-9ACF-5400-2F702B82D504}"/>
              </a:ext>
            </a:extLst>
          </p:cNvPr>
          <p:cNvSpPr/>
          <p:nvPr/>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2ECD5EDD-F44D-E2A4-B31C-712D8B99E8B7}"/>
              </a:ext>
            </a:extLst>
          </p:cNvPr>
          <p:cNvSpPr>
            <a:spLocks noGrp="1"/>
          </p:cNvSpPr>
          <p:nvPr>
            <p:ph type="pic" sz="quarter" idx="14" hasCustomPrompt="1"/>
          </p:nvPr>
        </p:nvSpPr>
        <p:spPr>
          <a:xfrm>
            <a:off x="0" y="-19050"/>
            <a:ext cx="8223250" cy="687705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7E35D584-0EEB-DF18-6040-C306755CF2C6}"/>
              </a:ext>
            </a:extLst>
          </p:cNvPr>
          <p:cNvSpPr>
            <a:spLocks noGrp="1"/>
          </p:cNvSpPr>
          <p:nvPr>
            <p:ph type="title"/>
          </p:nvPr>
        </p:nvSpPr>
        <p:spPr>
          <a:xfrm>
            <a:off x="7769225" y="2047164"/>
            <a:ext cx="3651250" cy="2061286"/>
          </a:xfrm>
        </p:spPr>
        <p:txBody>
          <a:bodyPr>
            <a:normAutofit/>
          </a:bodyPr>
          <a:lstStyle>
            <a:lvl1pPr>
              <a:defRPr sz="4800"/>
            </a:lvl1pPr>
          </a:lstStyle>
          <a:p>
            <a:r>
              <a:rPr lang="en-US"/>
              <a:t>Click to edit Master title style</a:t>
            </a:r>
            <a:endParaRPr lang="en-GB"/>
          </a:p>
        </p:txBody>
      </p:sp>
      <p:sp>
        <p:nvSpPr>
          <p:cNvPr id="3" name="Footer Placeholder 2">
            <a:extLst>
              <a:ext uri="{FF2B5EF4-FFF2-40B4-BE49-F238E27FC236}">
                <a16:creationId xmlns:a16="http://schemas.microsoft.com/office/drawing/2014/main" id="{D5AE34A6-9330-09DC-1C21-168B521268CA}"/>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8BDBDCCB-998D-EBD0-8BD5-00E7B94ADC54}"/>
              </a:ext>
            </a:extLst>
          </p:cNvPr>
          <p:cNvSpPr>
            <a:spLocks noGrp="1"/>
          </p:cNvSpPr>
          <p:nvPr>
            <p:ph type="sldNum" sz="quarter" idx="11"/>
          </p:nvPr>
        </p:nvSpPr>
        <p:spPr/>
        <p:txBody>
          <a:bodyPr/>
          <a:lstStyle/>
          <a:p>
            <a:fld id="{F6B081E3-CA78-499C-A458-89489E0FA23E}" type="slidenum">
              <a:rPr lang="en-US" smtClean="0"/>
              <a:t>‹#›</a:t>
            </a:fld>
            <a:endParaRPr lang="en-US"/>
          </a:p>
        </p:txBody>
      </p:sp>
      <p:sp>
        <p:nvSpPr>
          <p:cNvPr id="11" name="Text Placeholder 9">
            <a:extLst>
              <a:ext uri="{FF2B5EF4-FFF2-40B4-BE49-F238E27FC236}">
                <a16:creationId xmlns:a16="http://schemas.microsoft.com/office/drawing/2014/main" id="{5DF72ABF-3158-3C09-4A36-943B3A21C0B9}"/>
              </a:ext>
            </a:extLst>
          </p:cNvPr>
          <p:cNvSpPr>
            <a:spLocks noGrp="1"/>
          </p:cNvSpPr>
          <p:nvPr>
            <p:ph type="body" sz="quarter" idx="13"/>
          </p:nvPr>
        </p:nvSpPr>
        <p:spPr>
          <a:xfrm>
            <a:off x="9129713" y="4339989"/>
            <a:ext cx="2743200" cy="1597261"/>
          </a:xfrm>
        </p:spPr>
        <p:txBody>
          <a:bodyPr>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357270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Key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accent1"/>
              </a:buClr>
              <a:buFont typeface="SLB Sans Light" panose="02000503040000020004" pitchFamily="2" charset="0"/>
              <a:buChar char="→"/>
              <a:defRPr sz="3600" b="0">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F6B081E3-CA78-499C-A458-89489E0FA23E}" type="slidenum">
              <a:rPr lang="en-US" smtClean="0"/>
              <a:t>‹#›</a:t>
            </a:fld>
            <a:endParaRPr lang="en-US"/>
          </a:p>
        </p:txBody>
      </p:sp>
    </p:spTree>
    <p:extLst>
      <p:ext uri="{BB962C8B-B14F-4D97-AF65-F5344CB8AC3E}">
        <p14:creationId xmlns:p14="http://schemas.microsoft.com/office/powerpoint/2010/main" val="109212788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Key Bullet Blue">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3C7488-E944-893A-2043-FE9944331A88}"/>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bg1"/>
              </a:buClr>
              <a:buFont typeface="SLB Sans Light" panose="02000503040000020004" pitchFamily="2" charset="0"/>
              <a:buChar char="→"/>
              <a:defRPr sz="3600" b="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F6B081E3-CA78-499C-A458-89489E0FA23E}" type="slidenum">
              <a:rPr lang="en-US" smtClean="0"/>
              <a:t>‹#›</a:t>
            </a:fld>
            <a:endParaRPr lang="en-US"/>
          </a:p>
        </p:txBody>
      </p:sp>
      <p:pic>
        <p:nvPicPr>
          <p:cNvPr id="4" name="Graphic 3">
            <a:extLst>
              <a:ext uri="{FF2B5EF4-FFF2-40B4-BE49-F238E27FC236}">
                <a16:creationId xmlns:a16="http://schemas.microsoft.com/office/drawing/2014/main" id="{F0650C58-ADB6-799E-D665-4F33A4818F8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422241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2 Im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5797550" cy="3197225"/>
          </a:xfrm>
        </p:spPr>
        <p:txBody>
          <a:bodyPr/>
          <a:lstStyle/>
          <a:p>
            <a:r>
              <a:rPr lang="en-US"/>
              <a:t>Click icon to add picture</a:t>
            </a:r>
            <a:endParaRPr lang="en-GB"/>
          </a:p>
        </p:txBody>
      </p:sp>
    </p:spTree>
    <p:extLst>
      <p:ext uri="{BB962C8B-B14F-4D97-AF65-F5344CB8AC3E}">
        <p14:creationId xmlns:p14="http://schemas.microsoft.com/office/powerpoint/2010/main" val="147324632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F6B081E3-CA78-499C-A458-89489E0FA23E}" type="slidenum">
              <a:rPr lang="en-US" smtClean="0"/>
              <a:t>‹#›</a:t>
            </a:fld>
            <a:endParaRPr lang="en-US"/>
          </a:p>
        </p:txBody>
      </p:sp>
    </p:spTree>
    <p:extLst>
      <p:ext uri="{BB962C8B-B14F-4D97-AF65-F5344CB8AC3E}">
        <p14:creationId xmlns:p14="http://schemas.microsoft.com/office/powerpoint/2010/main" val="86591463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Blue">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552FDF-29F0-FEA1-55F4-48C517205ACB}"/>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F6B081E3-CA78-499C-A458-89489E0FA23E}" type="slidenum">
              <a:rPr lang="en-US" smtClean="0"/>
              <a:t>‹#›</a:t>
            </a:fld>
            <a:endParaRPr lang="en-US"/>
          </a:p>
        </p:txBody>
      </p:sp>
      <p:pic>
        <p:nvPicPr>
          <p:cNvPr id="4" name="Graphic 3">
            <a:extLst>
              <a:ext uri="{FF2B5EF4-FFF2-40B4-BE49-F238E27FC236}">
                <a16:creationId xmlns:a16="http://schemas.microsoft.com/office/drawing/2014/main" id="{37BC1DE3-EE83-6842-B054-58DA3F6BFD3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24488435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Tree>
    <p:extLst>
      <p:ext uri="{BB962C8B-B14F-4D97-AF65-F5344CB8AC3E}">
        <p14:creationId xmlns:p14="http://schemas.microsoft.com/office/powerpoint/2010/main" val="286435200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Blu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50BD1E-00A9-4F45-5A21-3A16C0123F69}"/>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pic>
        <p:nvPicPr>
          <p:cNvPr id="5" name="Graphic 4">
            <a:extLst>
              <a:ext uri="{FF2B5EF4-FFF2-40B4-BE49-F238E27FC236}">
                <a16:creationId xmlns:a16="http://schemas.microsoft.com/office/drawing/2014/main" id="{DB5DA967-430E-FD94-6B0C-7C66CB6678D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2690383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Tree>
    <p:extLst>
      <p:ext uri="{BB962C8B-B14F-4D97-AF65-F5344CB8AC3E}">
        <p14:creationId xmlns:p14="http://schemas.microsoft.com/office/powerpoint/2010/main" val="32563773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ext and 2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41084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4108450"/>
            <a:ext cx="3968750" cy="2743200"/>
          </a:xfrm>
        </p:spPr>
        <p:txBody>
          <a:bodyPr/>
          <a:lstStyle/>
          <a:p>
            <a:r>
              <a:rPr lang="en-US"/>
              <a:t>Click icon to add picture</a:t>
            </a:r>
            <a:endParaRPr lang="en-GB"/>
          </a:p>
        </p:txBody>
      </p:sp>
    </p:spTree>
    <p:extLst>
      <p:ext uri="{BB962C8B-B14F-4D97-AF65-F5344CB8AC3E}">
        <p14:creationId xmlns:p14="http://schemas.microsoft.com/office/powerpoint/2010/main" val="39840443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ext and Chart">
    <p:bg>
      <p:bgPr>
        <a:solidFill>
          <a:schemeClr val="accent3"/>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F53DD-0966-0BFD-B778-F487FDD28A20}"/>
              </a:ext>
            </a:extLst>
          </p:cNvPr>
          <p:cNvSpPr/>
          <p:nvPr/>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9" name="Text Placeholder 8">
            <a:extLst>
              <a:ext uri="{FF2B5EF4-FFF2-40B4-BE49-F238E27FC236}">
                <a16:creationId xmlns:a16="http://schemas.microsoft.com/office/drawing/2014/main" id="{ECA6186D-802B-AA5D-226E-496C143AC661}"/>
              </a:ext>
            </a:extLst>
          </p:cNvPr>
          <p:cNvSpPr>
            <a:spLocks noGrp="1"/>
          </p:cNvSpPr>
          <p:nvPr>
            <p:ph type="body" sz="quarter" idx="13"/>
          </p:nvPr>
        </p:nvSpPr>
        <p:spPr>
          <a:xfrm>
            <a:off x="8223250" y="4568825"/>
            <a:ext cx="3968750" cy="2289175"/>
          </a:xfrm>
          <a:solidFill>
            <a:schemeClr val="bg2"/>
          </a:solidFill>
        </p:spPr>
        <p:txBody>
          <a:bodyPr lIns="468000" tIns="468000" rIns="360000">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141BAAD1-B2B6-51E6-5B60-1808F5AC81C2}"/>
              </a:ext>
            </a:extLst>
          </p:cNvPr>
          <p:cNvSpPr>
            <a:spLocks noGrp="1"/>
          </p:cNvSpPr>
          <p:nvPr>
            <p:ph type="chart" sz="quarter" idx="14"/>
          </p:nvPr>
        </p:nvSpPr>
        <p:spPr>
          <a:xfrm>
            <a:off x="8680450" y="457200"/>
            <a:ext cx="3192463" cy="3651250"/>
          </a:xfrm>
        </p:spPr>
        <p:txBody>
          <a:bodyPr/>
          <a:lstStyle/>
          <a:p>
            <a:r>
              <a:rPr lang="en-US"/>
              <a:t>Click icon to add chart</a:t>
            </a:r>
            <a:endParaRPr lang="en-GB"/>
          </a:p>
        </p:txBody>
      </p:sp>
      <p:pic>
        <p:nvPicPr>
          <p:cNvPr id="5" name="Graphic 4">
            <a:extLst>
              <a:ext uri="{FF2B5EF4-FFF2-40B4-BE49-F238E27FC236}">
                <a16:creationId xmlns:a16="http://schemas.microsoft.com/office/drawing/2014/main" id="{8DDAAA2D-F47B-6394-6A72-F074375588A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58555435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Text and Image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8080376"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pic>
        <p:nvPicPr>
          <p:cNvPr id="4" name="Graphic 3">
            <a:extLst>
              <a:ext uri="{FF2B5EF4-FFF2-40B4-BE49-F238E27FC236}">
                <a16:creationId xmlns:a16="http://schemas.microsoft.com/office/drawing/2014/main" id="{EDD43530-2003-7EDD-62EC-552AB7BE35C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91594694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Two Column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4" name="Content Placeholder 2">
            <a:extLst>
              <a:ext uri="{FF2B5EF4-FFF2-40B4-BE49-F238E27FC236}">
                <a16:creationId xmlns:a16="http://schemas.microsoft.com/office/drawing/2014/main" id="{7C38C3D6-67EC-0336-DD99-56DDA5E52710}"/>
              </a:ext>
            </a:extLst>
          </p:cNvPr>
          <p:cNvSpPr>
            <a:spLocks noGrp="1"/>
          </p:cNvSpPr>
          <p:nvPr>
            <p:ph sz="half" idx="13"/>
          </p:nvPr>
        </p:nvSpPr>
        <p:spPr>
          <a:xfrm>
            <a:off x="4572000" y="2279650"/>
            <a:ext cx="73009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Graphic 7">
            <a:extLst>
              <a:ext uri="{FF2B5EF4-FFF2-40B4-BE49-F238E27FC236}">
                <a16:creationId xmlns:a16="http://schemas.microsoft.com/office/drawing/2014/main" id="{77F3EFBD-B4F2-F929-4A06-6F13B5F7B0F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52985266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Text and 2 Image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4111625"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1828800"/>
            <a:ext cx="3968750" cy="5022850"/>
          </a:xfrm>
        </p:spPr>
        <p:txBody>
          <a:bodyPr/>
          <a:lstStyle/>
          <a:p>
            <a:r>
              <a:rPr lang="en-US"/>
              <a:t>Click icon to add picture</a:t>
            </a:r>
            <a:endParaRPr lang="en-GB"/>
          </a:p>
        </p:txBody>
      </p:sp>
      <p:pic>
        <p:nvPicPr>
          <p:cNvPr id="9" name="Graphic 8">
            <a:extLst>
              <a:ext uri="{FF2B5EF4-FFF2-40B4-BE49-F238E27FC236}">
                <a16:creationId xmlns:a16="http://schemas.microsoft.com/office/drawing/2014/main" id="{B45D086E-DF0D-EA77-42DA-30D06A62159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4124467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3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9594850" y="3654425"/>
            <a:ext cx="2597150" cy="3197225"/>
          </a:xfrm>
        </p:spPr>
        <p:txBody>
          <a:bodyPr/>
          <a:lstStyle/>
          <a:p>
            <a:r>
              <a:rPr lang="en-US"/>
              <a:t>Click icon to add picture</a:t>
            </a:r>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3200400" cy="3197225"/>
          </a:xfrm>
        </p:spPr>
        <p:txBody>
          <a:bodyPr/>
          <a:lstStyle/>
          <a:p>
            <a:r>
              <a:rPr lang="en-US"/>
              <a:t>Click icon to add picture</a:t>
            </a:r>
            <a:endParaRPr lang="en-GB"/>
          </a:p>
        </p:txBody>
      </p:sp>
    </p:spTree>
    <p:extLst>
      <p:ext uri="{BB962C8B-B14F-4D97-AF65-F5344CB8AC3E}">
        <p14:creationId xmlns:p14="http://schemas.microsoft.com/office/powerpoint/2010/main" val="112393682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and 1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Tree>
    <p:extLst>
      <p:ext uri="{BB962C8B-B14F-4D97-AF65-F5344CB8AC3E}">
        <p14:creationId xmlns:p14="http://schemas.microsoft.com/office/powerpoint/2010/main" val="415583745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and 2 Im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5797550" cy="3197225"/>
          </a:xfrm>
        </p:spPr>
        <p:txBody>
          <a:bodyPr/>
          <a:lstStyle/>
          <a:p>
            <a:r>
              <a:rPr lang="en-US"/>
              <a:t>Click icon to add picture</a:t>
            </a:r>
            <a:endParaRPr lang="en-GB"/>
          </a:p>
        </p:txBody>
      </p:sp>
    </p:spTree>
    <p:extLst>
      <p:ext uri="{BB962C8B-B14F-4D97-AF65-F5344CB8AC3E}">
        <p14:creationId xmlns:p14="http://schemas.microsoft.com/office/powerpoint/2010/main" val="320040234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and 3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9594850" y="3654425"/>
            <a:ext cx="2597150" cy="3197225"/>
          </a:xfrm>
        </p:spPr>
        <p:txBody>
          <a:bodyPr/>
          <a:lstStyle/>
          <a:p>
            <a:r>
              <a:rPr lang="en-US"/>
              <a:t>Click icon to add picture</a:t>
            </a:r>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3200400" cy="3197225"/>
          </a:xfrm>
        </p:spPr>
        <p:txBody>
          <a:bodyPr/>
          <a:lstStyle/>
          <a:p>
            <a:r>
              <a:rPr lang="en-US"/>
              <a:t>Click icon to add picture</a:t>
            </a:r>
            <a:endParaRPr lang="en-GB"/>
          </a:p>
        </p:txBody>
      </p:sp>
    </p:spTree>
    <p:extLst>
      <p:ext uri="{BB962C8B-B14F-4D97-AF65-F5344CB8AC3E}">
        <p14:creationId xmlns:p14="http://schemas.microsoft.com/office/powerpoint/2010/main" val="76469699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Key Number">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F6B081E3-CA78-499C-A458-89489E0FA23E}" type="slidenum">
              <a:rPr lang="en-US" smtClean="0"/>
              <a:t>‹#›</a:t>
            </a:fld>
            <a:endParaRPr lang="en-US"/>
          </a:p>
        </p:txBody>
      </p:sp>
      <p:sp>
        <p:nvSpPr>
          <p:cNvPr id="6" name="Rectangle 5">
            <a:extLst>
              <a:ext uri="{FF2B5EF4-FFF2-40B4-BE49-F238E27FC236}">
                <a16:creationId xmlns:a16="http://schemas.microsoft.com/office/drawing/2014/main" id="{DB0C50D2-043C-36A1-1B56-B01E9B752648}"/>
              </a:ext>
            </a:extLst>
          </p:cNvPr>
          <p:cNvSpPr/>
          <p:nvPr/>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F802C4B2-937C-CC88-1104-BE3049DA47FA}"/>
              </a:ext>
            </a:extLst>
          </p:cNvPr>
          <p:cNvSpPr>
            <a:spLocks noGrp="1"/>
          </p:cNvSpPr>
          <p:nvPr>
            <p:ph type="body" sz="quarter" idx="12" hasCustomPrompt="1"/>
          </p:nvPr>
        </p:nvSpPr>
        <p:spPr>
          <a:xfrm>
            <a:off x="8680450" y="457200"/>
            <a:ext cx="3192463" cy="1371600"/>
          </a:xfrm>
        </p:spPr>
        <p:txBody>
          <a:bodyPr>
            <a:noAutofit/>
          </a:bodyPr>
          <a:lstStyle>
            <a:lvl1pPr>
              <a:lnSpc>
                <a:spcPct val="80000"/>
              </a:lnSpc>
              <a:defRPr sz="14400" b="0">
                <a:solidFill>
                  <a:schemeClr val="accent1"/>
                </a:solidFill>
                <a:latin typeface="+mj-lt"/>
              </a:defRPr>
            </a:lvl1pPr>
          </a:lstStyle>
          <a:p>
            <a:pPr lvl="0"/>
            <a:r>
              <a:rPr lang="en-GB"/>
              <a:t>##</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8223250" y="2279650"/>
            <a:ext cx="3968750" cy="45783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pic>
        <p:nvPicPr>
          <p:cNvPr id="5" name="Graphic 4">
            <a:extLst>
              <a:ext uri="{FF2B5EF4-FFF2-40B4-BE49-F238E27FC236}">
                <a16:creationId xmlns:a16="http://schemas.microsoft.com/office/drawing/2014/main" id="{EA2442C3-F533-1B9F-09E7-AC1C88B25F5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0541290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Image on Blue">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F6B081E3-CA78-499C-A458-89489E0FA23E}" type="slidenum">
              <a:rPr lang="en-US" smtClean="0"/>
              <a:t>‹#›</a:t>
            </a:fld>
            <a:endParaRPr lang="en-US"/>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hasCustomPrompt="1"/>
          </p:nvPr>
        </p:nvSpPr>
        <p:spPr>
          <a:xfrm>
            <a:off x="4572000" y="457199"/>
            <a:ext cx="3194050" cy="13716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4108450" y="2279650"/>
            <a:ext cx="8083550" cy="4578350"/>
          </a:xfrm>
        </p:spPr>
        <p:txBody>
          <a:bodyPr/>
          <a:lstStyle/>
          <a:p>
            <a:r>
              <a:rPr lang="en-US"/>
              <a:t>Click icon to add picture</a:t>
            </a:r>
            <a:endParaRPr lang="en-GB"/>
          </a:p>
        </p:txBody>
      </p:sp>
      <p:sp>
        <p:nvSpPr>
          <p:cNvPr id="11" name="Content Placeholder 2">
            <a:extLst>
              <a:ext uri="{FF2B5EF4-FFF2-40B4-BE49-F238E27FC236}">
                <a16:creationId xmlns:a16="http://schemas.microsoft.com/office/drawing/2014/main" id="{09ABDF0F-4BA7-B82C-7345-64CE6436A7E1}"/>
              </a:ext>
            </a:extLst>
          </p:cNvPr>
          <p:cNvSpPr>
            <a:spLocks noGrp="1"/>
          </p:cNvSpPr>
          <p:nvPr>
            <p:ph sz="half" idx="14" hasCustomPrompt="1"/>
          </p:nvPr>
        </p:nvSpPr>
        <p:spPr>
          <a:xfrm>
            <a:off x="8678863" y="457199"/>
            <a:ext cx="3194050" cy="13716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164959C2-0EA4-1F84-9951-8993395941B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75474016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Multi Layout">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D70BFD0F-01A4-774A-DFA5-C9069D2CA6D4}"/>
              </a:ext>
            </a:extLst>
          </p:cNvPr>
          <p:cNvSpPr/>
          <p:nvPr/>
        </p:nvSpPr>
        <p:spPr>
          <a:xfrm>
            <a:off x="4108450" y="3194050"/>
            <a:ext cx="8083550" cy="3663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F6B081E3-CA78-499C-A458-89489E0FA23E}" type="slidenum">
              <a:rPr lang="en-US" smtClean="0"/>
              <a:t>‹#›</a:t>
            </a:fld>
            <a:endParaRPr lang="en-US"/>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42977A46-41C3-31B7-5F50-917CE87B9DD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2133479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Multi Layout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F6B081E3-CA78-499C-A458-89489E0FA23E}" type="slidenum">
              <a:rPr lang="en-US" smtClean="0"/>
              <a:t>‹#›</a:t>
            </a:fld>
            <a:endParaRPr lang="en-US"/>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E91FA772-0BFE-9951-6889-D200B7DA587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55200242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7109664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63092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wo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3654425"/>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4572000" y="3654425"/>
            <a:ext cx="7620000" cy="3197225"/>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737062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or 1 Sent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0ADC76-D61C-14B2-73B6-03136E7AB583}"/>
              </a:ext>
            </a:extLst>
          </p:cNvPr>
          <p:cNvSpPr/>
          <p:nvPr userDrawn="1"/>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hasCustomPrompt="1"/>
          </p:nvPr>
        </p:nvSpPr>
        <p:spPr>
          <a:xfrm>
            <a:off x="457200" y="3049750"/>
            <a:ext cx="9144000" cy="1083374"/>
          </a:xfrm>
        </p:spPr>
        <p:txBody>
          <a:bodyPr anchor="b">
            <a:noAutofit/>
          </a:bodyPr>
          <a:lstStyle>
            <a:lvl1pPr algn="l">
              <a:lnSpc>
                <a:spcPct val="80000"/>
              </a:lnSpc>
              <a:defRPr sz="8800">
                <a:solidFill>
                  <a:schemeClr val="accent1"/>
                </a:solidFill>
              </a:defRPr>
            </a:lvl1pPr>
          </a:lstStyle>
          <a:p>
            <a:r>
              <a:rPr lang="en-US"/>
              <a:t>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sp>
        <p:nvSpPr>
          <p:cNvPr id="6" name="Picture Placeholder 11">
            <a:extLst>
              <a:ext uri="{FF2B5EF4-FFF2-40B4-BE49-F238E27FC236}">
                <a16:creationId xmlns:a16="http://schemas.microsoft.com/office/drawing/2014/main" id="{577C862B-51AF-22E7-C1C8-B6AB08B70818}"/>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pic>
        <p:nvPicPr>
          <p:cNvPr id="5" name="Graphic 4">
            <a:extLst>
              <a:ext uri="{FF2B5EF4-FFF2-40B4-BE49-F238E27FC236}">
                <a16:creationId xmlns:a16="http://schemas.microsoft.com/office/drawing/2014/main" id="{7C47EC89-A6A9-22D1-1BE8-E0D34780BDC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32574960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Number">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6" name="Rectangle 5">
            <a:extLst>
              <a:ext uri="{FF2B5EF4-FFF2-40B4-BE49-F238E27FC236}">
                <a16:creationId xmlns:a16="http://schemas.microsoft.com/office/drawing/2014/main" id="{DB0C50D2-043C-36A1-1B56-B01E9B752648}"/>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F802C4B2-937C-CC88-1104-BE3049DA47FA}"/>
              </a:ext>
            </a:extLst>
          </p:cNvPr>
          <p:cNvSpPr>
            <a:spLocks noGrp="1"/>
          </p:cNvSpPr>
          <p:nvPr>
            <p:ph type="body" sz="quarter" idx="12" hasCustomPrompt="1"/>
          </p:nvPr>
        </p:nvSpPr>
        <p:spPr>
          <a:xfrm>
            <a:off x="8680450" y="457200"/>
            <a:ext cx="3192463" cy="1371600"/>
          </a:xfrm>
        </p:spPr>
        <p:txBody>
          <a:bodyPr>
            <a:noAutofit/>
          </a:bodyPr>
          <a:lstStyle>
            <a:lvl1pPr>
              <a:lnSpc>
                <a:spcPct val="80000"/>
              </a:lnSpc>
              <a:defRPr sz="14400" b="0">
                <a:solidFill>
                  <a:schemeClr val="accent1"/>
                </a:solidFill>
                <a:latin typeface="+mj-lt"/>
              </a:defRPr>
            </a:lvl1pPr>
          </a:lstStyle>
          <a:p>
            <a:pPr lvl="0"/>
            <a:r>
              <a:rPr lang="en-GB"/>
              <a:t>##</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8223250" y="2279650"/>
            <a:ext cx="3968750" cy="45783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pic>
        <p:nvPicPr>
          <p:cNvPr id="5" name="Graphic 4">
            <a:extLst>
              <a:ext uri="{FF2B5EF4-FFF2-40B4-BE49-F238E27FC236}">
                <a16:creationId xmlns:a16="http://schemas.microsoft.com/office/drawing/2014/main" id="{EA2442C3-F533-1B9F-09E7-AC1C88B25F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6220014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hree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4108450" cy="6857999"/>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8680450" y="2743200"/>
            <a:ext cx="3511550" cy="4108451"/>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
        <p:nvSpPr>
          <p:cNvPr id="2" name="Picture Placeholder 7">
            <a:extLst>
              <a:ext uri="{FF2B5EF4-FFF2-40B4-BE49-F238E27FC236}">
                <a16:creationId xmlns:a16="http://schemas.microsoft.com/office/drawing/2014/main" id="{15843B81-9280-B787-925B-D94E5BB1E76C}"/>
              </a:ext>
            </a:extLst>
          </p:cNvPr>
          <p:cNvSpPr>
            <a:spLocks noGrp="1"/>
          </p:cNvSpPr>
          <p:nvPr>
            <p:ph type="pic" sz="quarter" idx="16"/>
          </p:nvPr>
        </p:nvSpPr>
        <p:spPr>
          <a:xfrm>
            <a:off x="8680450" y="1"/>
            <a:ext cx="3511550" cy="2743200"/>
          </a:xfrm>
        </p:spPr>
        <p:txBody>
          <a:bodyPr/>
          <a:lstStyle/>
          <a:p>
            <a:r>
              <a:rPr lang="en-US"/>
              <a:t>Click icon to add picture</a:t>
            </a:r>
            <a:endParaRPr lang="en-GB"/>
          </a:p>
        </p:txBody>
      </p:sp>
    </p:spTree>
    <p:extLst>
      <p:ext uri="{BB962C8B-B14F-4D97-AF65-F5344CB8AC3E}">
        <p14:creationId xmlns:p14="http://schemas.microsoft.com/office/powerpoint/2010/main" val="19655413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BD813FA-E1E9-6CE5-DA3B-3550F5132A9A}"/>
              </a:ext>
            </a:extLst>
          </p:cNvPr>
          <p:cNvSpPr>
            <a:spLocks noGrp="1"/>
          </p:cNvSpPr>
          <p:nvPr>
            <p:ph type="dt" sz="half" idx="10"/>
          </p:nvPr>
        </p:nvSpPr>
        <p:spPr>
          <a:xfrm>
            <a:off x="838200" y="6391588"/>
            <a:ext cx="2743200" cy="230248"/>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0CB92480-F2BB-6E4D-0B48-BC5E95A858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F6B081E3-CA78-499C-A458-89489E0FA23E}" type="slidenum">
              <a:rPr lang="en-US" smtClean="0"/>
              <a:t>‹#›</a:t>
            </a:fld>
            <a:endParaRPr lang="en-US"/>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9526296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D5D703-D8EA-9994-BA95-384890B498F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3DCE458-D9A3-4DEA-87B5-6B6AE0C5F74D}"/>
              </a:ext>
            </a:extLst>
          </p:cNvPr>
          <p:cNvSpPr>
            <a:spLocks noGrp="1"/>
          </p:cNvSpPr>
          <p:nvPr>
            <p:ph type="sldNum" sz="quarter" idx="12"/>
          </p:nvPr>
        </p:nvSpPr>
        <p:spPr/>
        <p:txBody>
          <a:bodyPr/>
          <a:lstStyle/>
          <a:p>
            <a:fld id="{F6B081E3-CA78-499C-A458-89489E0FA23E}" type="slidenum">
              <a:rPr lang="en-US" smtClean="0"/>
              <a:t>‹#›</a:t>
            </a:fld>
            <a:endParaRPr lang="en-US"/>
          </a:p>
        </p:txBody>
      </p:sp>
    </p:spTree>
    <p:extLst>
      <p:ext uri="{BB962C8B-B14F-4D97-AF65-F5344CB8AC3E}">
        <p14:creationId xmlns:p14="http://schemas.microsoft.com/office/powerpoint/2010/main" val="89777183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FC72C-44FA-6337-9FC2-F6BFBD43EED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0A3AB-65F7-B309-DF52-4E35C1489B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AC8DB0E-050B-FCCB-B62D-66D6CBF568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5971E6F-558A-6124-5DE6-A0F425F02A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CC04EE-BBEE-191A-9D4B-C0CDAD82AFFD}"/>
              </a:ext>
            </a:extLst>
          </p:cNvPr>
          <p:cNvSpPr>
            <a:spLocks noGrp="1"/>
          </p:cNvSpPr>
          <p:nvPr>
            <p:ph type="sldNum" sz="quarter" idx="12"/>
          </p:nvPr>
        </p:nvSpPr>
        <p:spPr/>
        <p:txBody>
          <a:bodyPr/>
          <a:lstStyle/>
          <a:p>
            <a:fld id="{F6B081E3-CA78-499C-A458-89489E0FA23E}" type="slidenum">
              <a:rPr lang="en-US" smtClean="0"/>
              <a:t>‹#›</a:t>
            </a:fld>
            <a:endParaRPr lang="en-US"/>
          </a:p>
        </p:txBody>
      </p:sp>
    </p:spTree>
    <p:extLst>
      <p:ext uri="{BB962C8B-B14F-4D97-AF65-F5344CB8AC3E}">
        <p14:creationId xmlns:p14="http://schemas.microsoft.com/office/powerpoint/2010/main" val="179785786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Background + foo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03206" y="6243782"/>
            <a:ext cx="1645882" cy="369602"/>
          </a:xfrm>
          <a:prstGeom prst="rect">
            <a:avLst/>
          </a:prstGeom>
        </p:spPr>
      </p:pic>
      <p:sp>
        <p:nvSpPr>
          <p:cNvPr id="6" name="Title 1">
            <a:extLst>
              <a:ext uri="{FF2B5EF4-FFF2-40B4-BE49-F238E27FC236}">
                <a16:creationId xmlns:a16="http://schemas.microsoft.com/office/drawing/2014/main" id="{716181E4-4A7F-4F3A-821A-FABBDB96FAEA}"/>
              </a:ext>
            </a:extLst>
          </p:cNvPr>
          <p:cNvSpPr>
            <a:spLocks noGrp="1"/>
          </p:cNvSpPr>
          <p:nvPr>
            <p:ph type="title"/>
          </p:nvPr>
        </p:nvSpPr>
        <p:spPr>
          <a:xfrm>
            <a:off x="451702" y="241301"/>
            <a:ext cx="11288600" cy="942040"/>
          </a:xfrm>
        </p:spPr>
        <p:txBody>
          <a:bodyPr/>
          <a:lstStyle>
            <a:lvl1pPr>
              <a:defRPr sz="3200">
                <a:solidFill>
                  <a:srgbClr val="003366"/>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9EFC1D3D-C20F-4B4F-B5EF-A1E350536934}"/>
              </a:ext>
            </a:extLst>
          </p:cNvPr>
          <p:cNvSpPr>
            <a:spLocks noGrp="1"/>
          </p:cNvSpPr>
          <p:nvPr>
            <p:ph idx="1" hasCustomPrompt="1"/>
          </p:nvPr>
        </p:nvSpPr>
        <p:spPr>
          <a:xfrm>
            <a:off x="453600" y="1371600"/>
            <a:ext cx="11289600" cy="4755600"/>
          </a:xfrm>
          <a:prstGeom prst="rect">
            <a:avLst/>
          </a:prstGeom>
        </p:spPr>
        <p:txBody>
          <a:bodyPr/>
          <a:lstStyle>
            <a:lvl1pPr>
              <a:buClr>
                <a:srgbClr val="336699"/>
              </a:buClr>
              <a:buFont typeface="Wingdings" pitchFamily="2" charset="2"/>
              <a:buChar char="§"/>
              <a:defRPr sz="2800"/>
            </a:lvl1pPr>
            <a:lvl2pPr>
              <a:buClr>
                <a:srgbClr val="336699"/>
              </a:buClr>
              <a:buSzPct val="100000"/>
              <a:buFont typeface="Tahoma" pitchFamily="34" charset="0"/>
              <a:buChar char="–"/>
              <a:defRPr sz="2400"/>
            </a:lvl2pPr>
            <a:lvl3pPr>
              <a:buClr>
                <a:srgbClr val="336699"/>
              </a:buClr>
              <a:buSzPct val="100000"/>
              <a:buFont typeface="Wingdings" pitchFamily="2" charset="2"/>
              <a:buChar char="§"/>
              <a:defRPr sz="2000"/>
            </a:lvl3pPr>
            <a:lvl4pPr>
              <a:buClr>
                <a:srgbClr val="336699"/>
              </a:buClr>
              <a:buSzPct val="100000"/>
              <a:buFont typeface="Arial Narrow" pitchFamily="34" charset="0"/>
              <a:buChar char="–"/>
              <a:defRPr sz="1800"/>
            </a:lvl4pPr>
            <a:lvl5pPr>
              <a:buClr>
                <a:srgbClr val="336699"/>
              </a:buClr>
              <a:buSzPct val="100000"/>
              <a:defRPr sz="1600"/>
            </a:lvl5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11" name="RightsWATCH-Watermark-Text-1234567890">
            <a:extLst>
              <a:ext uri="{FF2B5EF4-FFF2-40B4-BE49-F238E27FC236}">
                <a16:creationId xmlns:a16="http://schemas.microsoft.com/office/drawing/2014/main" id="{6411FD69-3FBB-41F3-938B-EA9DD53BD4B7}"/>
              </a:ext>
            </a:extLst>
          </p:cNvPr>
          <p:cNvSpPr txBox="1"/>
          <p:nvPr userDrawn="1"/>
        </p:nvSpPr>
        <p:spPr>
          <a:xfrm>
            <a:off x="797934" y="6313567"/>
            <a:ext cx="2731943" cy="184666"/>
          </a:xfrm>
          <a:prstGeom prst="rect">
            <a:avLst/>
          </a:prstGeom>
          <a:noFill/>
        </p:spPr>
        <p:txBody>
          <a:bodyPr vert="horz" wrap="square" lIns="0" tIns="0" rIns="0" bIns="0" rtlCol="0" anchor="ctr" anchorCtr="0">
            <a:spAutoFit/>
          </a:bodyPr>
          <a:lstStyle/>
          <a:p>
            <a:pPr algn="l"/>
            <a:r>
              <a:rPr lang="en-US" sz="1200">
                <a:solidFill>
                  <a:srgbClr val="BDBDBD"/>
                </a:solidFill>
                <a:latin typeface="Arial Narrow" panose="020B0606020202030204" pitchFamily="34" charset="0"/>
              </a:rPr>
              <a:t>Schlumberger Technology</a:t>
            </a:r>
          </a:p>
        </p:txBody>
      </p:sp>
      <p:sp>
        <p:nvSpPr>
          <p:cNvPr id="2" name="TextBox 1">
            <a:extLst>
              <a:ext uri="{FF2B5EF4-FFF2-40B4-BE49-F238E27FC236}">
                <a16:creationId xmlns:a16="http://schemas.microsoft.com/office/drawing/2014/main" id="{4D1CC7EF-E84D-41BA-926C-BBB74CE36633}"/>
              </a:ext>
            </a:extLst>
          </p:cNvPr>
          <p:cNvSpPr txBox="1"/>
          <p:nvPr userDrawn="1"/>
        </p:nvSpPr>
        <p:spPr>
          <a:xfrm>
            <a:off x="93600" y="6238800"/>
            <a:ext cx="500400" cy="338400"/>
          </a:xfrm>
          <a:prstGeom prst="rect">
            <a:avLst/>
          </a:prstGeom>
          <a:noFill/>
        </p:spPr>
        <p:txBody>
          <a:bodyPr wrap="square" lIns="45720" tIns="45720" rIns="45720" bIns="45720" rtlCol="0" anchor="ctr">
            <a:noAutofit/>
          </a:bodyPr>
          <a:lstStyle/>
          <a:p>
            <a:pPr marL="112713" indent="-112713" algn="r">
              <a:spcBef>
                <a:spcPts val="300"/>
              </a:spcBef>
              <a:buClr>
                <a:schemeClr val="tx2"/>
              </a:buClr>
            </a:pPr>
            <a:fld id="{AA680861-3BBC-4944-9362-6C35D211876D}" type="slidenum">
              <a:rPr lang="en-US" sz="1200" b="0" smtClean="0">
                <a:solidFill>
                  <a:srgbClr val="BDBDBD"/>
                </a:solidFill>
                <a:latin typeface="Arial Narrow" panose="020B0606020202030204" pitchFamily="34" charset="0"/>
              </a:rPr>
              <a:pPr marL="112713" indent="-112713" algn="r">
                <a:spcBef>
                  <a:spcPts val="300"/>
                </a:spcBef>
                <a:buClr>
                  <a:schemeClr val="tx2"/>
                </a:buClr>
              </a:pPr>
              <a:t>‹#›</a:t>
            </a:fld>
            <a:endParaRPr lang="en-US" sz="1200" b="0">
              <a:solidFill>
                <a:srgbClr val="BDBDBD"/>
              </a:solidFill>
              <a:latin typeface="Arial Narrow" panose="020B0606020202030204" pitchFamily="34" charset="0"/>
            </a:endParaRPr>
          </a:p>
        </p:txBody>
      </p:sp>
    </p:spTree>
    <p:extLst>
      <p:ext uri="{BB962C8B-B14F-4D97-AF65-F5344CB8AC3E}">
        <p14:creationId xmlns:p14="http://schemas.microsoft.com/office/powerpoint/2010/main" val="564263100"/>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31ED342-3D5F-E744-5C02-ED60F13F3A32}"/>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p:nvPr>
        </p:nvSpPr>
        <p:spPr>
          <a:xfrm>
            <a:off x="457200" y="975334"/>
            <a:ext cx="9144000" cy="3439236"/>
          </a:xfrm>
        </p:spPr>
        <p:txBody>
          <a:bodyPr anchor="b">
            <a:noAutofit/>
          </a:bodyPr>
          <a:lstStyle>
            <a:lvl1pPr algn="l">
              <a:lnSpc>
                <a:spcPct val="80000"/>
              </a:lnSpc>
              <a:defRPr sz="88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pic>
        <p:nvPicPr>
          <p:cNvPr id="5" name="Graphic 4">
            <a:extLst>
              <a:ext uri="{FF2B5EF4-FFF2-40B4-BE49-F238E27FC236}">
                <a16:creationId xmlns:a16="http://schemas.microsoft.com/office/drawing/2014/main" id="{AC1A5716-3608-4053-4CC8-84BF92B5D6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11954215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Slide for 1 Sent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0ADC76-D61C-14B2-73B6-03136E7AB583}"/>
              </a:ext>
            </a:extLst>
          </p:cNvPr>
          <p:cNvSpPr/>
          <p:nvPr userDrawn="1"/>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hasCustomPrompt="1"/>
          </p:nvPr>
        </p:nvSpPr>
        <p:spPr>
          <a:xfrm>
            <a:off x="457200" y="3049750"/>
            <a:ext cx="9144000" cy="1083374"/>
          </a:xfrm>
        </p:spPr>
        <p:txBody>
          <a:bodyPr anchor="b">
            <a:noAutofit/>
          </a:bodyPr>
          <a:lstStyle>
            <a:lvl1pPr algn="l">
              <a:lnSpc>
                <a:spcPct val="80000"/>
              </a:lnSpc>
              <a:defRPr sz="8800">
                <a:solidFill>
                  <a:schemeClr val="accent1"/>
                </a:solidFill>
              </a:defRPr>
            </a:lvl1pPr>
          </a:lstStyle>
          <a:p>
            <a:r>
              <a:rPr lang="en-US"/>
              <a:t>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sp>
        <p:nvSpPr>
          <p:cNvPr id="6" name="Picture Placeholder 11">
            <a:extLst>
              <a:ext uri="{FF2B5EF4-FFF2-40B4-BE49-F238E27FC236}">
                <a16:creationId xmlns:a16="http://schemas.microsoft.com/office/drawing/2014/main" id="{577C862B-51AF-22E7-C1C8-B6AB08B70818}"/>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pic>
        <p:nvPicPr>
          <p:cNvPr id="5" name="Graphic 4">
            <a:extLst>
              <a:ext uri="{FF2B5EF4-FFF2-40B4-BE49-F238E27FC236}">
                <a16:creationId xmlns:a16="http://schemas.microsoft.com/office/drawing/2014/main" id="{7C47EC89-A6A9-22D1-1BE8-E0D34780BDC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384557076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9" name="Picture Placeholder 11">
            <a:extLst>
              <a:ext uri="{FF2B5EF4-FFF2-40B4-BE49-F238E27FC236}">
                <a16:creationId xmlns:a16="http://schemas.microsoft.com/office/drawing/2014/main" id="{01E87593-5AB1-A742-817D-C9CC722DF5EB}"/>
              </a:ext>
            </a:extLst>
          </p:cNvPr>
          <p:cNvSpPr>
            <a:spLocks noGrp="1"/>
          </p:cNvSpPr>
          <p:nvPr>
            <p:ph type="pic" sz="quarter" idx="13" hasCustomPrompt="1"/>
          </p:nvPr>
        </p:nvSpPr>
        <p:spPr>
          <a:xfrm>
            <a:off x="0" y="0"/>
            <a:ext cx="12192000" cy="685800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B4FC5297-363A-7DB8-E10F-5C447164ED3E}"/>
              </a:ext>
            </a:extLst>
          </p:cNvPr>
          <p:cNvSpPr>
            <a:spLocks noGrp="1"/>
          </p:cNvSpPr>
          <p:nvPr>
            <p:ph type="title"/>
          </p:nvPr>
        </p:nvSpPr>
        <p:spPr>
          <a:xfrm>
            <a:off x="457200" y="402608"/>
            <a:ext cx="9586913" cy="2852737"/>
          </a:xfrm>
        </p:spPr>
        <p:txBody>
          <a:bodyPr anchor="t"/>
          <a:lstStyle>
            <a:lvl1pPr>
              <a:defRPr sz="72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2B0A461-379B-6A19-B69E-A04AF5ECEBFA}"/>
              </a:ext>
            </a:extLst>
          </p:cNvPr>
          <p:cNvSpPr>
            <a:spLocks noGrp="1"/>
          </p:cNvSpPr>
          <p:nvPr>
            <p:ph type="body" idx="1"/>
          </p:nvPr>
        </p:nvSpPr>
        <p:spPr>
          <a:xfrm>
            <a:off x="457201" y="3654426"/>
            <a:ext cx="5937250" cy="914399"/>
          </a:xfr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27BFB576-48D2-B938-362D-C2CA0F65CCCF}"/>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9744F17B-F1E6-D688-7E7E-CD7675D187CA}"/>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24051584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A26944-9883-9ACF-5400-2F702B82D504}"/>
              </a:ext>
            </a:extLst>
          </p:cNvPr>
          <p:cNvSpPr/>
          <p:nvPr userDrawn="1"/>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2ECD5EDD-F44D-E2A4-B31C-712D8B99E8B7}"/>
              </a:ext>
            </a:extLst>
          </p:cNvPr>
          <p:cNvSpPr>
            <a:spLocks noGrp="1"/>
          </p:cNvSpPr>
          <p:nvPr>
            <p:ph type="pic" sz="quarter" idx="14" hasCustomPrompt="1"/>
          </p:nvPr>
        </p:nvSpPr>
        <p:spPr>
          <a:xfrm>
            <a:off x="0" y="-19050"/>
            <a:ext cx="8223250" cy="687705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7E35D584-0EEB-DF18-6040-C306755CF2C6}"/>
              </a:ext>
            </a:extLst>
          </p:cNvPr>
          <p:cNvSpPr>
            <a:spLocks noGrp="1"/>
          </p:cNvSpPr>
          <p:nvPr>
            <p:ph type="title"/>
          </p:nvPr>
        </p:nvSpPr>
        <p:spPr>
          <a:xfrm>
            <a:off x="7769225" y="2047164"/>
            <a:ext cx="3651250" cy="2061286"/>
          </a:xfrm>
        </p:spPr>
        <p:txBody>
          <a:bodyPr>
            <a:normAutofit/>
          </a:bodyPr>
          <a:lstStyle>
            <a:lvl1pPr>
              <a:defRPr sz="4800"/>
            </a:lvl1pPr>
          </a:lstStyle>
          <a:p>
            <a:r>
              <a:rPr lang="en-US"/>
              <a:t>Click to edit Master title style</a:t>
            </a:r>
            <a:endParaRPr lang="en-GB"/>
          </a:p>
        </p:txBody>
      </p:sp>
      <p:sp>
        <p:nvSpPr>
          <p:cNvPr id="3" name="Footer Placeholder 2">
            <a:extLst>
              <a:ext uri="{FF2B5EF4-FFF2-40B4-BE49-F238E27FC236}">
                <a16:creationId xmlns:a16="http://schemas.microsoft.com/office/drawing/2014/main" id="{D5AE34A6-9330-09DC-1C21-168B521268CA}"/>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8BDBDCCB-998D-EBD0-8BD5-00E7B94ADC54}"/>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11" name="Text Placeholder 9">
            <a:extLst>
              <a:ext uri="{FF2B5EF4-FFF2-40B4-BE49-F238E27FC236}">
                <a16:creationId xmlns:a16="http://schemas.microsoft.com/office/drawing/2014/main" id="{5DF72ABF-3158-3C09-4A36-943B3A21C0B9}"/>
              </a:ext>
            </a:extLst>
          </p:cNvPr>
          <p:cNvSpPr>
            <a:spLocks noGrp="1"/>
          </p:cNvSpPr>
          <p:nvPr>
            <p:ph type="body" sz="quarter" idx="13"/>
          </p:nvPr>
        </p:nvSpPr>
        <p:spPr>
          <a:xfrm>
            <a:off x="9129713" y="4339989"/>
            <a:ext cx="2743200" cy="1597261"/>
          </a:xfrm>
        </p:spPr>
        <p:txBody>
          <a:bodyPr>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422207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Key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accent1"/>
              </a:buClr>
              <a:buFont typeface="SLB Sans Light" panose="02000503040000020004" pitchFamily="2" charset="0"/>
              <a:buChar char="→"/>
              <a:defRPr sz="3600" b="0">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725344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on Blue">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hasCustomPrompt="1"/>
          </p:nvPr>
        </p:nvSpPr>
        <p:spPr>
          <a:xfrm>
            <a:off x="4572000" y="457199"/>
            <a:ext cx="3194050" cy="13716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4108450" y="2279650"/>
            <a:ext cx="8083550" cy="4578350"/>
          </a:xfrm>
        </p:spPr>
        <p:txBody>
          <a:bodyPr/>
          <a:lstStyle/>
          <a:p>
            <a:r>
              <a:rPr lang="en-US"/>
              <a:t>Click icon to add picture</a:t>
            </a:r>
            <a:endParaRPr lang="en-GB"/>
          </a:p>
        </p:txBody>
      </p:sp>
      <p:sp>
        <p:nvSpPr>
          <p:cNvPr id="11" name="Content Placeholder 2">
            <a:extLst>
              <a:ext uri="{FF2B5EF4-FFF2-40B4-BE49-F238E27FC236}">
                <a16:creationId xmlns:a16="http://schemas.microsoft.com/office/drawing/2014/main" id="{09ABDF0F-4BA7-B82C-7345-64CE6436A7E1}"/>
              </a:ext>
            </a:extLst>
          </p:cNvPr>
          <p:cNvSpPr>
            <a:spLocks noGrp="1"/>
          </p:cNvSpPr>
          <p:nvPr>
            <p:ph sz="half" idx="14" hasCustomPrompt="1"/>
          </p:nvPr>
        </p:nvSpPr>
        <p:spPr>
          <a:xfrm>
            <a:off x="8678863" y="457199"/>
            <a:ext cx="3194050" cy="13716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164959C2-0EA4-1F84-9951-8993395941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14346502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Key Bullet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bg1"/>
              </a:buClr>
              <a:buFont typeface="SLB Sans Light" panose="02000503040000020004" pitchFamily="2" charset="0"/>
              <a:buChar char="→"/>
              <a:defRPr sz="3600" b="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F0650C58-ADB6-799E-D665-4F33A4818F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01475787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14499674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37BC1DE3-EE83-6842-B054-58DA3F6BFD3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01367311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98770421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Two Content Blu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50BD1E-00A9-4F45-5A21-3A16C0123F69}"/>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5" name="Graphic 4">
            <a:extLst>
              <a:ext uri="{FF2B5EF4-FFF2-40B4-BE49-F238E27FC236}">
                <a16:creationId xmlns:a16="http://schemas.microsoft.com/office/drawing/2014/main" id="{DB5DA967-430E-FD94-6B0C-7C66CB6678D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00391612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80186108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 and 2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41084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4108450"/>
            <a:ext cx="3968750" cy="2743200"/>
          </a:xfrm>
        </p:spPr>
        <p:txBody>
          <a:bodyPr/>
          <a:lstStyle/>
          <a:p>
            <a:r>
              <a:rPr lang="en-US"/>
              <a:t>Click icon to add picture</a:t>
            </a:r>
            <a:endParaRPr lang="en-GB"/>
          </a:p>
        </p:txBody>
      </p:sp>
    </p:spTree>
    <p:extLst>
      <p:ext uri="{BB962C8B-B14F-4D97-AF65-F5344CB8AC3E}">
        <p14:creationId xmlns:p14="http://schemas.microsoft.com/office/powerpoint/2010/main" val="419406748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accent3"/>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F53DD-0966-0BFD-B778-F487FDD28A20}"/>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Text Placeholder 8">
            <a:extLst>
              <a:ext uri="{FF2B5EF4-FFF2-40B4-BE49-F238E27FC236}">
                <a16:creationId xmlns:a16="http://schemas.microsoft.com/office/drawing/2014/main" id="{ECA6186D-802B-AA5D-226E-496C143AC661}"/>
              </a:ext>
            </a:extLst>
          </p:cNvPr>
          <p:cNvSpPr>
            <a:spLocks noGrp="1"/>
          </p:cNvSpPr>
          <p:nvPr>
            <p:ph type="body" sz="quarter" idx="13"/>
          </p:nvPr>
        </p:nvSpPr>
        <p:spPr>
          <a:xfrm>
            <a:off x="8223250" y="4568825"/>
            <a:ext cx="3968750" cy="2289175"/>
          </a:xfrm>
          <a:solidFill>
            <a:schemeClr val="bg2"/>
          </a:solidFill>
        </p:spPr>
        <p:txBody>
          <a:bodyPr lIns="468000" tIns="468000" rIns="360000">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141BAAD1-B2B6-51E6-5B60-1808F5AC81C2}"/>
              </a:ext>
            </a:extLst>
          </p:cNvPr>
          <p:cNvSpPr>
            <a:spLocks noGrp="1"/>
          </p:cNvSpPr>
          <p:nvPr>
            <p:ph type="chart" sz="quarter" idx="14"/>
          </p:nvPr>
        </p:nvSpPr>
        <p:spPr>
          <a:xfrm>
            <a:off x="8680450" y="457200"/>
            <a:ext cx="3192463" cy="3651250"/>
          </a:xfrm>
        </p:spPr>
        <p:txBody>
          <a:bodyPr/>
          <a:lstStyle/>
          <a:p>
            <a:r>
              <a:rPr lang="en-US"/>
              <a:t>Click icon to add chart</a:t>
            </a:r>
            <a:endParaRPr lang="en-GB"/>
          </a:p>
        </p:txBody>
      </p:sp>
      <p:pic>
        <p:nvPicPr>
          <p:cNvPr id="5" name="Graphic 4">
            <a:extLst>
              <a:ext uri="{FF2B5EF4-FFF2-40B4-BE49-F238E27FC236}">
                <a16:creationId xmlns:a16="http://schemas.microsoft.com/office/drawing/2014/main" id="{8DDAAA2D-F47B-6394-6A72-F074375588A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5499458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ext and Image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8080376"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EDD43530-2003-7EDD-62EC-552AB7BE35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87434592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wo Column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Content Placeholder 2">
            <a:extLst>
              <a:ext uri="{FF2B5EF4-FFF2-40B4-BE49-F238E27FC236}">
                <a16:creationId xmlns:a16="http://schemas.microsoft.com/office/drawing/2014/main" id="{7C38C3D6-67EC-0336-DD99-56DDA5E52710}"/>
              </a:ext>
            </a:extLst>
          </p:cNvPr>
          <p:cNvSpPr>
            <a:spLocks noGrp="1"/>
          </p:cNvSpPr>
          <p:nvPr>
            <p:ph sz="half" idx="13"/>
          </p:nvPr>
        </p:nvSpPr>
        <p:spPr>
          <a:xfrm>
            <a:off x="4572000" y="2279650"/>
            <a:ext cx="73009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Graphic 7">
            <a:extLst>
              <a:ext uri="{FF2B5EF4-FFF2-40B4-BE49-F238E27FC236}">
                <a16:creationId xmlns:a16="http://schemas.microsoft.com/office/drawing/2014/main" id="{77F3EFBD-B4F2-F929-4A06-6F13B5F7B0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2196823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ulti Layout">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D70BFD0F-01A4-774A-DFA5-C9069D2CA6D4}"/>
              </a:ext>
            </a:extLst>
          </p:cNvPr>
          <p:cNvSpPr/>
          <p:nvPr userDrawn="1"/>
        </p:nvSpPr>
        <p:spPr>
          <a:xfrm>
            <a:off x="4108450" y="3194050"/>
            <a:ext cx="8083550" cy="3663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42977A46-41C3-31B7-5F50-917CE87B9DD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69199696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ext and 2 Image Grey Background">
    <p:bg>
      <p:bgPr>
        <a:solidFill>
          <a:schemeClr val="accent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4111625"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1828800"/>
            <a:ext cx="3968750" cy="5022850"/>
          </a:xfrm>
        </p:spPr>
        <p:txBody>
          <a:bodyPr/>
          <a:lstStyle/>
          <a:p>
            <a:r>
              <a:rPr lang="en-US"/>
              <a:t>Click icon to add picture</a:t>
            </a:r>
            <a:endParaRPr lang="en-GB"/>
          </a:p>
        </p:txBody>
      </p:sp>
      <p:pic>
        <p:nvPicPr>
          <p:cNvPr id="9" name="Graphic 8">
            <a:extLst>
              <a:ext uri="{FF2B5EF4-FFF2-40B4-BE49-F238E27FC236}">
                <a16:creationId xmlns:a16="http://schemas.microsoft.com/office/drawing/2014/main" id="{B45D086E-DF0D-EA77-42DA-30D06A62159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02269566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10104577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and 2 Im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5797550" cy="3197225"/>
          </a:xfrm>
        </p:spPr>
        <p:txBody>
          <a:bodyPr/>
          <a:lstStyle/>
          <a:p>
            <a:r>
              <a:rPr lang="en-US"/>
              <a:t>Click icon to add picture</a:t>
            </a:r>
            <a:endParaRPr lang="en-GB"/>
          </a:p>
        </p:txBody>
      </p:sp>
    </p:spTree>
    <p:extLst>
      <p:ext uri="{BB962C8B-B14F-4D97-AF65-F5344CB8AC3E}">
        <p14:creationId xmlns:p14="http://schemas.microsoft.com/office/powerpoint/2010/main" val="157662569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ext and 3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9594850" y="3654425"/>
            <a:ext cx="2597150" cy="3197225"/>
          </a:xfrm>
        </p:spPr>
        <p:txBody>
          <a:bodyPr/>
          <a:lstStyle/>
          <a:p>
            <a:r>
              <a:rPr lang="en-US"/>
              <a:t>Click icon to add picture</a:t>
            </a:r>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3200400" cy="3197225"/>
          </a:xfrm>
        </p:spPr>
        <p:txBody>
          <a:bodyPr/>
          <a:lstStyle/>
          <a:p>
            <a:r>
              <a:rPr lang="en-US"/>
              <a:t>Click icon to add picture</a:t>
            </a:r>
            <a:endParaRPr lang="en-GB"/>
          </a:p>
        </p:txBody>
      </p:sp>
    </p:spTree>
    <p:extLst>
      <p:ext uri="{BB962C8B-B14F-4D97-AF65-F5344CB8AC3E}">
        <p14:creationId xmlns:p14="http://schemas.microsoft.com/office/powerpoint/2010/main" val="88843461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Key Number">
    <p:bg>
      <p:bgPr>
        <a:solidFill>
          <a:schemeClr val="accent3"/>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6" name="Rectangle 5">
            <a:extLst>
              <a:ext uri="{FF2B5EF4-FFF2-40B4-BE49-F238E27FC236}">
                <a16:creationId xmlns:a16="http://schemas.microsoft.com/office/drawing/2014/main" id="{DB0C50D2-043C-36A1-1B56-B01E9B752648}"/>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F802C4B2-937C-CC88-1104-BE3049DA47FA}"/>
              </a:ext>
            </a:extLst>
          </p:cNvPr>
          <p:cNvSpPr>
            <a:spLocks noGrp="1"/>
          </p:cNvSpPr>
          <p:nvPr>
            <p:ph type="body" sz="quarter" idx="12" hasCustomPrompt="1"/>
          </p:nvPr>
        </p:nvSpPr>
        <p:spPr>
          <a:xfrm>
            <a:off x="8680450" y="457200"/>
            <a:ext cx="3192463" cy="1371600"/>
          </a:xfrm>
        </p:spPr>
        <p:txBody>
          <a:bodyPr>
            <a:noAutofit/>
          </a:bodyPr>
          <a:lstStyle>
            <a:lvl1pPr>
              <a:lnSpc>
                <a:spcPct val="80000"/>
              </a:lnSpc>
              <a:defRPr sz="14400" b="0">
                <a:solidFill>
                  <a:schemeClr val="accent1"/>
                </a:solidFill>
                <a:latin typeface="+mj-lt"/>
              </a:defRPr>
            </a:lvl1pPr>
          </a:lstStyle>
          <a:p>
            <a:pPr lvl="0"/>
            <a:r>
              <a:rPr lang="en-GB"/>
              <a:t>##</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8223250" y="2279650"/>
            <a:ext cx="3968750" cy="45783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pic>
        <p:nvPicPr>
          <p:cNvPr id="5" name="Graphic 4">
            <a:extLst>
              <a:ext uri="{FF2B5EF4-FFF2-40B4-BE49-F238E27FC236}">
                <a16:creationId xmlns:a16="http://schemas.microsoft.com/office/drawing/2014/main" id="{EA2442C3-F533-1B9F-09E7-AC1C88B25F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96180711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mage on Blue">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hasCustomPrompt="1"/>
          </p:nvPr>
        </p:nvSpPr>
        <p:spPr>
          <a:xfrm>
            <a:off x="4572000" y="457199"/>
            <a:ext cx="3194050" cy="13716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4108450" y="2279650"/>
            <a:ext cx="8083550" cy="4578350"/>
          </a:xfrm>
        </p:spPr>
        <p:txBody>
          <a:bodyPr/>
          <a:lstStyle/>
          <a:p>
            <a:r>
              <a:rPr lang="en-US"/>
              <a:t>Click icon to add picture</a:t>
            </a:r>
            <a:endParaRPr lang="en-GB"/>
          </a:p>
        </p:txBody>
      </p:sp>
      <p:sp>
        <p:nvSpPr>
          <p:cNvPr id="11" name="Content Placeholder 2">
            <a:extLst>
              <a:ext uri="{FF2B5EF4-FFF2-40B4-BE49-F238E27FC236}">
                <a16:creationId xmlns:a16="http://schemas.microsoft.com/office/drawing/2014/main" id="{09ABDF0F-4BA7-B82C-7345-64CE6436A7E1}"/>
              </a:ext>
            </a:extLst>
          </p:cNvPr>
          <p:cNvSpPr>
            <a:spLocks noGrp="1"/>
          </p:cNvSpPr>
          <p:nvPr>
            <p:ph sz="half" idx="14" hasCustomPrompt="1"/>
          </p:nvPr>
        </p:nvSpPr>
        <p:spPr>
          <a:xfrm>
            <a:off x="8678863" y="457199"/>
            <a:ext cx="3194050" cy="13716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164959C2-0EA4-1F84-9951-8993395941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8884873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ulti Layout">
    <p:bg>
      <p:bgPr>
        <a:solidFill>
          <a:schemeClr val="accent3"/>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D70BFD0F-01A4-774A-DFA5-C9069D2CA6D4}"/>
              </a:ext>
            </a:extLst>
          </p:cNvPr>
          <p:cNvSpPr/>
          <p:nvPr userDrawn="1"/>
        </p:nvSpPr>
        <p:spPr>
          <a:xfrm>
            <a:off x="4108450" y="3194050"/>
            <a:ext cx="8083550" cy="3663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42977A46-41C3-31B7-5F50-917CE87B9DD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92089005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ulti Layout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E91FA772-0BFE-9951-6889-D200B7DA587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61118153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394355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68345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ulti Layout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E91FA772-0BFE-9951-6889-D200B7DA587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22370539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3654425"/>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4572000" y="3654425"/>
            <a:ext cx="7620000" cy="3197225"/>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8884375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ree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4108450" cy="6857999"/>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8680450" y="2743200"/>
            <a:ext cx="3511550" cy="4108451"/>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
        <p:nvSpPr>
          <p:cNvPr id="2" name="Picture Placeholder 7">
            <a:extLst>
              <a:ext uri="{FF2B5EF4-FFF2-40B4-BE49-F238E27FC236}">
                <a16:creationId xmlns:a16="http://schemas.microsoft.com/office/drawing/2014/main" id="{15843B81-9280-B787-925B-D94E5BB1E76C}"/>
              </a:ext>
            </a:extLst>
          </p:cNvPr>
          <p:cNvSpPr>
            <a:spLocks noGrp="1"/>
          </p:cNvSpPr>
          <p:nvPr>
            <p:ph type="pic" sz="quarter" idx="16"/>
          </p:nvPr>
        </p:nvSpPr>
        <p:spPr>
          <a:xfrm>
            <a:off x="8680450" y="1"/>
            <a:ext cx="3511550" cy="2743200"/>
          </a:xfrm>
        </p:spPr>
        <p:txBody>
          <a:bodyPr/>
          <a:lstStyle/>
          <a:p>
            <a:r>
              <a:rPr lang="en-US"/>
              <a:t>Click icon to add picture</a:t>
            </a:r>
            <a:endParaRPr lang="en-GB"/>
          </a:p>
        </p:txBody>
      </p:sp>
    </p:spTree>
    <p:extLst>
      <p:ext uri="{BB962C8B-B14F-4D97-AF65-F5344CB8AC3E}">
        <p14:creationId xmlns:p14="http://schemas.microsoft.com/office/powerpoint/2010/main" val="296972633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BD813FA-E1E9-6CE5-DA3B-3550F5132A9A}"/>
              </a:ext>
            </a:extLst>
          </p:cNvPr>
          <p:cNvSpPr>
            <a:spLocks noGrp="1"/>
          </p:cNvSpPr>
          <p:nvPr>
            <p:ph type="dt" sz="half" idx="10"/>
          </p:nvPr>
        </p:nvSpPr>
        <p:spPr>
          <a:xfrm>
            <a:off x="838200" y="6391588"/>
            <a:ext cx="2743200" cy="230248"/>
          </a:xfrm>
          <a:prstGeom prst="rect">
            <a:avLst/>
          </a:prstGeom>
        </p:spPr>
        <p:txBody>
          <a:bodyPr/>
          <a:lstStyle/>
          <a:p>
            <a:endParaRPr lang="en-GB"/>
          </a:p>
        </p:txBody>
      </p:sp>
      <p:sp>
        <p:nvSpPr>
          <p:cNvPr id="4" name="Footer Placeholder 3">
            <a:extLst>
              <a:ext uri="{FF2B5EF4-FFF2-40B4-BE49-F238E27FC236}">
                <a16:creationId xmlns:a16="http://schemas.microsoft.com/office/drawing/2014/main" id="{0CB92480-F2BB-6E4D-0B48-BC5E95A858B5}"/>
              </a:ext>
            </a:extLst>
          </p:cNvPr>
          <p:cNvSpPr>
            <a:spLocks noGrp="1"/>
          </p:cNvSpPr>
          <p:nvPr>
            <p:ph type="ftr" sz="quarter" idx="11"/>
          </p:nvPr>
        </p:nvSpPr>
        <p:spPr/>
        <p:txBody>
          <a:bodyPr/>
          <a:lstStyle/>
          <a:p>
            <a:r>
              <a:rPr lang="en-GB"/>
              <a:t>Private. In/External use only.</a:t>
            </a:r>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531728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D5D703-D8EA-9994-BA95-384890B498F7}"/>
              </a:ext>
            </a:extLst>
          </p:cNvPr>
          <p:cNvSpPr>
            <a:spLocks noGrp="1"/>
          </p:cNvSpPr>
          <p:nvPr>
            <p:ph type="ftr" sz="quarter" idx="11"/>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53DCE458-D9A3-4DEA-87B5-6B6AE0C5F74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6078937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Basin Map">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3B0B03C-65C1-B39F-F4CF-D3F9200D5416}"/>
              </a:ext>
            </a:extLst>
          </p:cNvPr>
          <p:cNvSpPr/>
          <p:nvPr userDrawn="1"/>
        </p:nvSpPr>
        <p:spPr>
          <a:xfrm>
            <a:off x="238539" y="1078788"/>
            <a:ext cx="9117495" cy="55626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8EF50B7-28CC-1AAA-7DAB-B4A38148BF8A}"/>
              </a:ext>
            </a:extLst>
          </p:cNvPr>
          <p:cNvSpPr/>
          <p:nvPr userDrawn="1"/>
        </p:nvSpPr>
        <p:spPr>
          <a:xfrm>
            <a:off x="238540" y="261709"/>
            <a:ext cx="9117494" cy="734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a:xfrm>
            <a:off x="457200" y="457201"/>
            <a:ext cx="8672513" cy="332399"/>
          </a:xfrm>
        </p:spPr>
        <p:txBody>
          <a:bodyPr wrap="square">
            <a:spAutoFit/>
          </a:bodyPr>
          <a:lstStyle>
            <a:lvl1pPr>
              <a:defRPr sz="2400"/>
            </a:lvl1pPr>
          </a:lstStyle>
          <a:p>
            <a:r>
              <a:rPr lang="en-US"/>
              <a:t>Click to edit Master title style</a:t>
            </a:r>
            <a:endParaRPr lang="en-GB"/>
          </a:p>
        </p:txBody>
      </p:sp>
      <p:pic>
        <p:nvPicPr>
          <p:cNvPr id="8" name="Graphic 7">
            <a:extLst>
              <a:ext uri="{FF2B5EF4-FFF2-40B4-BE49-F238E27FC236}">
                <a16:creationId xmlns:a16="http://schemas.microsoft.com/office/drawing/2014/main" id="{358762FB-9D63-2349-6E8F-D2CFE4E431E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9" name="Rectangle 8">
            <a:extLst>
              <a:ext uri="{FF2B5EF4-FFF2-40B4-BE49-F238E27FC236}">
                <a16:creationId xmlns:a16="http://schemas.microsoft.com/office/drawing/2014/main" id="{45A8EDF0-4DAB-ACF1-7FD5-891321DB014E}"/>
              </a:ext>
            </a:extLst>
          </p:cNvPr>
          <p:cNvSpPr/>
          <p:nvPr userDrawn="1"/>
        </p:nvSpPr>
        <p:spPr>
          <a:xfrm>
            <a:off x="238540" y="189708"/>
            <a:ext cx="9117494"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35678054-26F6-BE3B-EE69-C659B73A4C9D}"/>
              </a:ext>
            </a:extLst>
          </p:cNvPr>
          <p:cNvSpPr>
            <a:spLocks noGrp="1"/>
          </p:cNvSpPr>
          <p:nvPr>
            <p:ph type="body" sz="quarter" idx="13"/>
          </p:nvPr>
        </p:nvSpPr>
        <p:spPr>
          <a:xfrm>
            <a:off x="9594850" y="1376362"/>
            <a:ext cx="2278063" cy="4560887"/>
          </a:xfrm>
        </p:spPr>
        <p:txBody>
          <a:bodyPr/>
          <a:lstStyle>
            <a:lvl1pPr>
              <a:defRPr sz="1600"/>
            </a:lvl1pPr>
            <a:lvl2pPr>
              <a:defRPr sz="1600"/>
            </a:lvl2pPr>
            <a:lvl3pPr>
              <a:defRPr sz="16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804731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Background + foo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16181E4-4A7F-4F3A-821A-FABBDB96FAEA}"/>
              </a:ext>
            </a:extLst>
          </p:cNvPr>
          <p:cNvSpPr>
            <a:spLocks noGrp="1"/>
          </p:cNvSpPr>
          <p:nvPr>
            <p:ph type="title"/>
          </p:nvPr>
        </p:nvSpPr>
        <p:spPr>
          <a:xfrm>
            <a:off x="451702" y="241301"/>
            <a:ext cx="11288600" cy="942040"/>
          </a:xfrm>
        </p:spPr>
        <p:txBody>
          <a:bodyPr/>
          <a:lstStyle>
            <a:lvl1pPr>
              <a:defRPr sz="3200">
                <a:solidFill>
                  <a:srgbClr val="003366"/>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9EFC1D3D-C20F-4B4F-B5EF-A1E350536934}"/>
              </a:ext>
            </a:extLst>
          </p:cNvPr>
          <p:cNvSpPr>
            <a:spLocks noGrp="1"/>
          </p:cNvSpPr>
          <p:nvPr>
            <p:ph idx="1" hasCustomPrompt="1"/>
          </p:nvPr>
        </p:nvSpPr>
        <p:spPr>
          <a:xfrm>
            <a:off x="453600" y="1371600"/>
            <a:ext cx="5501927" cy="4755600"/>
          </a:xfrm>
          <a:prstGeom prst="rect">
            <a:avLst/>
          </a:prstGeom>
        </p:spPr>
        <p:txBody>
          <a:bodyPr/>
          <a:lstStyle>
            <a:lvl1pPr>
              <a:buClr>
                <a:srgbClr val="336699"/>
              </a:buClr>
              <a:buFont typeface="Wingdings" pitchFamily="2" charset="2"/>
              <a:buChar char="§"/>
              <a:defRPr sz="2800"/>
            </a:lvl1pPr>
            <a:lvl2pPr>
              <a:buClr>
                <a:srgbClr val="336699"/>
              </a:buClr>
              <a:buSzPct val="100000"/>
              <a:buFont typeface="Tahoma" pitchFamily="34" charset="0"/>
              <a:buChar char="–"/>
              <a:defRPr sz="2400"/>
            </a:lvl2pPr>
            <a:lvl3pPr>
              <a:buClr>
                <a:srgbClr val="336699"/>
              </a:buClr>
              <a:buSzPct val="100000"/>
              <a:buFont typeface="Wingdings" pitchFamily="2" charset="2"/>
              <a:buChar char="§"/>
              <a:defRPr sz="2000"/>
            </a:lvl3pPr>
            <a:lvl4pPr>
              <a:buClr>
                <a:srgbClr val="336699"/>
              </a:buClr>
              <a:buSzPct val="100000"/>
              <a:buFont typeface="Arial Narrow" pitchFamily="34" charset="0"/>
              <a:buChar char="–"/>
              <a:defRPr sz="1800"/>
            </a:lvl4pPr>
            <a:lvl5pPr>
              <a:buClr>
                <a:srgbClr val="336699"/>
              </a:buClr>
              <a:buSzPct val="100000"/>
              <a:defRPr sz="1600"/>
            </a:lvl5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
        <p:nvSpPr>
          <p:cNvPr id="11" name="RightsWATCH-Watermark-Text-1234567890">
            <a:extLst>
              <a:ext uri="{FF2B5EF4-FFF2-40B4-BE49-F238E27FC236}">
                <a16:creationId xmlns:a16="http://schemas.microsoft.com/office/drawing/2014/main" id="{6411FD69-3FBB-41F3-938B-EA9DD53BD4B7}"/>
              </a:ext>
            </a:extLst>
          </p:cNvPr>
          <p:cNvSpPr txBox="1"/>
          <p:nvPr userDrawn="1"/>
        </p:nvSpPr>
        <p:spPr>
          <a:xfrm>
            <a:off x="797934" y="6313567"/>
            <a:ext cx="2731943" cy="184666"/>
          </a:xfrm>
          <a:prstGeom prst="rect">
            <a:avLst/>
          </a:prstGeom>
          <a:noFill/>
        </p:spPr>
        <p:txBody>
          <a:bodyPr vert="horz" wrap="square" lIns="0" tIns="0" rIns="0" bIns="0" rtlCol="0" anchor="ctr" anchorCtr="0">
            <a:spAutoFit/>
          </a:bodyPr>
          <a:lstStyle/>
          <a:p>
            <a:pPr algn="l"/>
            <a:r>
              <a:rPr lang="en-US" sz="1200">
                <a:solidFill>
                  <a:srgbClr val="BDBDBD"/>
                </a:solidFill>
                <a:latin typeface="Arial Narrow" panose="020B0606020202030204" pitchFamily="34" charset="0"/>
              </a:rPr>
              <a:t>Schlumberger Technology</a:t>
            </a:r>
          </a:p>
        </p:txBody>
      </p:sp>
      <p:sp>
        <p:nvSpPr>
          <p:cNvPr id="2" name="TextBox 1">
            <a:extLst>
              <a:ext uri="{FF2B5EF4-FFF2-40B4-BE49-F238E27FC236}">
                <a16:creationId xmlns:a16="http://schemas.microsoft.com/office/drawing/2014/main" id="{4D1CC7EF-E84D-41BA-926C-BBB74CE36633}"/>
              </a:ext>
            </a:extLst>
          </p:cNvPr>
          <p:cNvSpPr txBox="1"/>
          <p:nvPr userDrawn="1"/>
        </p:nvSpPr>
        <p:spPr>
          <a:xfrm>
            <a:off x="93600" y="6238800"/>
            <a:ext cx="500400" cy="338400"/>
          </a:xfrm>
          <a:prstGeom prst="rect">
            <a:avLst/>
          </a:prstGeom>
          <a:noFill/>
        </p:spPr>
        <p:txBody>
          <a:bodyPr wrap="square" lIns="45720" tIns="45720" rIns="45720" bIns="45720" rtlCol="0" anchor="ctr">
            <a:noAutofit/>
          </a:bodyPr>
          <a:lstStyle/>
          <a:p>
            <a:pPr marL="112713" indent="-112713" algn="r">
              <a:spcBef>
                <a:spcPts val="300"/>
              </a:spcBef>
              <a:buClr>
                <a:schemeClr val="tx2"/>
              </a:buClr>
            </a:pPr>
            <a:fld id="{AA680861-3BBC-4944-9362-6C35D211876D}" type="slidenum">
              <a:rPr lang="en-US" sz="1200" b="0" smtClean="0">
                <a:solidFill>
                  <a:srgbClr val="BDBDBD"/>
                </a:solidFill>
                <a:latin typeface="Arial Narrow" panose="020B0606020202030204" pitchFamily="34" charset="0"/>
              </a:rPr>
              <a:pPr marL="112713" indent="-112713" algn="r">
                <a:spcBef>
                  <a:spcPts val="300"/>
                </a:spcBef>
                <a:buClr>
                  <a:schemeClr val="tx2"/>
                </a:buClr>
              </a:pPr>
              <a:t>‹#›</a:t>
            </a:fld>
            <a:endParaRPr lang="en-US" sz="1200" b="0" err="1">
              <a:solidFill>
                <a:srgbClr val="BDBDBD"/>
              </a:solidFill>
              <a:latin typeface="Arial Narrow" panose="020B0606020202030204" pitchFamily="34" charset="0"/>
            </a:endParaRPr>
          </a:p>
        </p:txBody>
      </p:sp>
      <p:sp>
        <p:nvSpPr>
          <p:cNvPr id="9" name="Content Placeholder 2">
            <a:extLst>
              <a:ext uri="{FF2B5EF4-FFF2-40B4-BE49-F238E27FC236}">
                <a16:creationId xmlns:a16="http://schemas.microsoft.com/office/drawing/2014/main" id="{C6903D7A-5BFD-4970-9EAE-D0CD8EC556B3}"/>
              </a:ext>
            </a:extLst>
          </p:cNvPr>
          <p:cNvSpPr>
            <a:spLocks noGrp="1"/>
          </p:cNvSpPr>
          <p:nvPr>
            <p:ph idx="10" hasCustomPrompt="1"/>
          </p:nvPr>
        </p:nvSpPr>
        <p:spPr>
          <a:xfrm>
            <a:off x="6236473" y="1371600"/>
            <a:ext cx="5501927" cy="4755600"/>
          </a:xfrm>
          <a:prstGeom prst="rect">
            <a:avLst/>
          </a:prstGeom>
        </p:spPr>
        <p:txBody>
          <a:bodyPr/>
          <a:lstStyle>
            <a:lvl1pPr>
              <a:buClr>
                <a:srgbClr val="336699"/>
              </a:buClr>
              <a:buFont typeface="Wingdings" pitchFamily="2" charset="2"/>
              <a:buChar char="§"/>
              <a:defRPr sz="2800"/>
            </a:lvl1pPr>
            <a:lvl2pPr>
              <a:buClr>
                <a:srgbClr val="336699"/>
              </a:buClr>
              <a:buSzPct val="100000"/>
              <a:buFont typeface="Tahoma" pitchFamily="34" charset="0"/>
              <a:buChar char="–"/>
              <a:defRPr sz="2400"/>
            </a:lvl2pPr>
            <a:lvl3pPr>
              <a:buClr>
                <a:srgbClr val="336699"/>
              </a:buClr>
              <a:buSzPct val="100000"/>
              <a:buFont typeface="Wingdings" pitchFamily="2" charset="2"/>
              <a:buChar char="§"/>
              <a:defRPr sz="2000"/>
            </a:lvl3pPr>
            <a:lvl4pPr>
              <a:buClr>
                <a:srgbClr val="336699"/>
              </a:buClr>
              <a:buSzPct val="100000"/>
              <a:buFont typeface="Arial Narrow" pitchFamily="34" charset="0"/>
              <a:buChar char="–"/>
              <a:defRPr sz="1800"/>
            </a:lvl4pPr>
            <a:lvl5pPr>
              <a:buClr>
                <a:srgbClr val="336699"/>
              </a:buClr>
              <a:buSzPct val="100000"/>
              <a:defRPr sz="1600"/>
            </a:lvl5pPr>
          </a:lstStyle>
          <a:p>
            <a:pPr lvl="0"/>
            <a:r>
              <a:rPr lang="en-US"/>
              <a:t> 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4255852"/>
      </p:ext>
    </p:extLst>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2913" y="441324"/>
            <a:ext cx="11306175" cy="473075"/>
          </a:xfrm>
        </p:spPr>
        <p:txBody>
          <a:bodyPr>
            <a:noAutofit/>
          </a:bodyPr>
          <a:lstStyle>
            <a:lvl1pPr>
              <a:defRPr sz="3200" b="0">
                <a:solidFill>
                  <a:srgbClr val="1F4E79"/>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3C62D6A2-85F4-3A48-BAEA-1025E8AF4DA2}"/>
              </a:ext>
            </a:extLst>
          </p:cNvPr>
          <p:cNvSpPr>
            <a:spLocks noGrp="1"/>
          </p:cNvSpPr>
          <p:nvPr>
            <p:ph type="sldNum" sz="quarter" idx="4"/>
          </p:nvPr>
        </p:nvSpPr>
        <p:spPr>
          <a:xfrm>
            <a:off x="92697" y="6316896"/>
            <a:ext cx="501317" cy="337032"/>
          </a:xfrm>
          <a:prstGeom prst="rect">
            <a:avLst/>
          </a:prstGeom>
        </p:spPr>
        <p:txBody>
          <a:bodyPr vert="horz" lIns="0" tIns="0" rIns="0" bIns="0" rtlCol="0" anchor="ctr" anchorCtr="0"/>
          <a:lstStyle>
            <a:lvl1pPr algn="r">
              <a:defRPr sz="1000">
                <a:solidFill>
                  <a:schemeClr val="tx1">
                    <a:lumMod val="40000"/>
                    <a:lumOff val="60000"/>
                  </a:schemeClr>
                </a:solidFill>
                <a:latin typeface="Arial Narrow" charset="0"/>
                <a:ea typeface="Arial Narrow" charset="0"/>
                <a:cs typeface="Arial Narrow" charset="0"/>
              </a:defRPr>
            </a:lvl1pPr>
          </a:lstStyle>
          <a:p>
            <a:fld id="{2EE68C56-851D-0E49-A58C-F30516365F79}" type="slidenum">
              <a:rPr lang="en-US" smtClean="0"/>
              <a:pPr/>
              <a:t>‹#›</a:t>
            </a:fld>
            <a:endParaRPr lang="en-US"/>
          </a:p>
        </p:txBody>
      </p:sp>
    </p:spTree>
    <p:extLst>
      <p:ext uri="{BB962C8B-B14F-4D97-AF65-F5344CB8AC3E}">
        <p14:creationId xmlns:p14="http://schemas.microsoft.com/office/powerpoint/2010/main" val="355572560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332550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088246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3654425"/>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4572000" y="3654425"/>
            <a:ext cx="7620000" cy="3197225"/>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009159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4108450" cy="6857999"/>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8680450" y="2743200"/>
            <a:ext cx="3511550" cy="4108451"/>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
        <p:nvSpPr>
          <p:cNvPr id="2" name="Picture Placeholder 7">
            <a:extLst>
              <a:ext uri="{FF2B5EF4-FFF2-40B4-BE49-F238E27FC236}">
                <a16:creationId xmlns:a16="http://schemas.microsoft.com/office/drawing/2014/main" id="{15843B81-9280-B787-925B-D94E5BB1E76C}"/>
              </a:ext>
            </a:extLst>
          </p:cNvPr>
          <p:cNvSpPr>
            <a:spLocks noGrp="1"/>
          </p:cNvSpPr>
          <p:nvPr>
            <p:ph type="pic" sz="quarter" idx="16"/>
          </p:nvPr>
        </p:nvSpPr>
        <p:spPr>
          <a:xfrm>
            <a:off x="8680450" y="1"/>
            <a:ext cx="3511550" cy="2743200"/>
          </a:xfrm>
        </p:spPr>
        <p:txBody>
          <a:bodyPr/>
          <a:lstStyle/>
          <a:p>
            <a:r>
              <a:rPr lang="en-US"/>
              <a:t>Click icon to add picture</a:t>
            </a:r>
            <a:endParaRPr lang="en-GB"/>
          </a:p>
        </p:txBody>
      </p:sp>
    </p:spTree>
    <p:extLst>
      <p:ext uri="{BB962C8B-B14F-4D97-AF65-F5344CB8AC3E}">
        <p14:creationId xmlns:p14="http://schemas.microsoft.com/office/powerpoint/2010/main" val="6002868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BD813FA-E1E9-6CE5-DA3B-3550F5132A9A}"/>
              </a:ext>
            </a:extLst>
          </p:cNvPr>
          <p:cNvSpPr>
            <a:spLocks noGrp="1"/>
          </p:cNvSpPr>
          <p:nvPr>
            <p:ph type="dt" sz="half" idx="10"/>
          </p:nvPr>
        </p:nvSpPr>
        <p:spPr>
          <a:xfrm>
            <a:off x="838200" y="6391588"/>
            <a:ext cx="2743200" cy="230248"/>
          </a:xfrm>
          <a:prstGeom prst="rect">
            <a:avLst/>
          </a:prstGeom>
        </p:spPr>
        <p:txBody>
          <a:bodyPr/>
          <a:lstStyle/>
          <a:p>
            <a:endParaRPr lang="en-GB"/>
          </a:p>
        </p:txBody>
      </p:sp>
      <p:sp>
        <p:nvSpPr>
          <p:cNvPr id="4" name="Footer Placeholder 3">
            <a:extLst>
              <a:ext uri="{FF2B5EF4-FFF2-40B4-BE49-F238E27FC236}">
                <a16:creationId xmlns:a16="http://schemas.microsoft.com/office/drawing/2014/main" id="{0CB92480-F2BB-6E4D-0B48-BC5E95A858B5}"/>
              </a:ext>
            </a:extLst>
          </p:cNvPr>
          <p:cNvSpPr>
            <a:spLocks noGrp="1"/>
          </p:cNvSpPr>
          <p:nvPr>
            <p:ph type="ftr" sz="quarter" idx="11"/>
          </p:nvPr>
        </p:nvSpPr>
        <p:spPr/>
        <p:txBody>
          <a:bodyPr/>
          <a:lstStyle/>
          <a:p>
            <a:r>
              <a:rPr lang="en-GB"/>
              <a:t>Private. In/External use only.</a:t>
            </a:r>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834913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D5D703-D8EA-9994-BA95-384890B498F7}"/>
              </a:ext>
            </a:extLst>
          </p:cNvPr>
          <p:cNvSpPr>
            <a:spLocks noGrp="1"/>
          </p:cNvSpPr>
          <p:nvPr>
            <p:ph type="ftr" sz="quarter" idx="11"/>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53DCE458-D9A3-4DEA-87B5-6B6AE0C5F74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8866806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9" name="Picture Placeholder 11">
            <a:extLst>
              <a:ext uri="{FF2B5EF4-FFF2-40B4-BE49-F238E27FC236}">
                <a16:creationId xmlns:a16="http://schemas.microsoft.com/office/drawing/2014/main" id="{01E87593-5AB1-A742-817D-C9CC722DF5EB}"/>
              </a:ext>
            </a:extLst>
          </p:cNvPr>
          <p:cNvSpPr>
            <a:spLocks noGrp="1"/>
          </p:cNvSpPr>
          <p:nvPr>
            <p:ph type="pic" sz="quarter" idx="13" hasCustomPrompt="1"/>
          </p:nvPr>
        </p:nvSpPr>
        <p:spPr>
          <a:xfrm>
            <a:off x="0" y="0"/>
            <a:ext cx="12192000" cy="685800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B4FC5297-363A-7DB8-E10F-5C447164ED3E}"/>
              </a:ext>
            </a:extLst>
          </p:cNvPr>
          <p:cNvSpPr>
            <a:spLocks noGrp="1"/>
          </p:cNvSpPr>
          <p:nvPr>
            <p:ph type="title"/>
          </p:nvPr>
        </p:nvSpPr>
        <p:spPr>
          <a:xfrm>
            <a:off x="457200" y="402608"/>
            <a:ext cx="9586913" cy="2852737"/>
          </a:xfrm>
        </p:spPr>
        <p:txBody>
          <a:bodyPr anchor="t"/>
          <a:lstStyle>
            <a:lvl1pPr>
              <a:defRPr sz="72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2B0A461-379B-6A19-B69E-A04AF5ECEBFA}"/>
              </a:ext>
            </a:extLst>
          </p:cNvPr>
          <p:cNvSpPr>
            <a:spLocks noGrp="1"/>
          </p:cNvSpPr>
          <p:nvPr>
            <p:ph type="body" idx="1"/>
          </p:nvPr>
        </p:nvSpPr>
        <p:spPr>
          <a:xfrm>
            <a:off x="457201" y="3654426"/>
            <a:ext cx="5937250" cy="914399"/>
          </a:xfr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27BFB576-48D2-B938-362D-C2CA0F65CCCF}"/>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9744F17B-F1E6-D688-7E7E-CD7675D187CA}"/>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8942633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31ED342-3D5F-E744-5C02-ED60F13F3A32}"/>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p:nvPr>
        </p:nvSpPr>
        <p:spPr>
          <a:xfrm>
            <a:off x="457200" y="975334"/>
            <a:ext cx="9144000" cy="3439236"/>
          </a:xfrm>
        </p:spPr>
        <p:txBody>
          <a:bodyPr anchor="b">
            <a:noAutofit/>
          </a:bodyPr>
          <a:lstStyle>
            <a:lvl1pPr algn="l">
              <a:lnSpc>
                <a:spcPct val="80000"/>
              </a:lnSpc>
              <a:defRPr sz="88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pic>
        <p:nvPicPr>
          <p:cNvPr id="5" name="Graphic 4">
            <a:extLst>
              <a:ext uri="{FF2B5EF4-FFF2-40B4-BE49-F238E27FC236}">
                <a16:creationId xmlns:a16="http://schemas.microsoft.com/office/drawing/2014/main" id="{9F166A59-25A3-3A00-7289-60767DE59A8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pic>
        <p:nvPicPr>
          <p:cNvPr id="6" name="Graphic 5">
            <a:extLst>
              <a:ext uri="{FF2B5EF4-FFF2-40B4-BE49-F238E27FC236}">
                <a16:creationId xmlns:a16="http://schemas.microsoft.com/office/drawing/2014/main" id="{EF606224-609E-1514-85E4-1EDDCBA1334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2373123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for 1 Sent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0ADC76-D61C-14B2-73B6-03136E7AB583}"/>
              </a:ext>
            </a:extLst>
          </p:cNvPr>
          <p:cNvSpPr/>
          <p:nvPr/>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hasCustomPrompt="1"/>
          </p:nvPr>
        </p:nvSpPr>
        <p:spPr>
          <a:xfrm>
            <a:off x="457200" y="3049750"/>
            <a:ext cx="9144000" cy="1083374"/>
          </a:xfrm>
        </p:spPr>
        <p:txBody>
          <a:bodyPr anchor="b">
            <a:noAutofit/>
          </a:bodyPr>
          <a:lstStyle>
            <a:lvl1pPr algn="l">
              <a:lnSpc>
                <a:spcPct val="80000"/>
              </a:lnSpc>
              <a:defRPr sz="8800">
                <a:solidFill>
                  <a:schemeClr val="accent1"/>
                </a:solidFill>
              </a:defRPr>
            </a:lvl1pPr>
          </a:lstStyle>
          <a:p>
            <a:r>
              <a:rPr lang="en-US"/>
              <a:t>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sp>
        <p:nvSpPr>
          <p:cNvPr id="6" name="Picture Placeholder 11">
            <a:extLst>
              <a:ext uri="{FF2B5EF4-FFF2-40B4-BE49-F238E27FC236}">
                <a16:creationId xmlns:a16="http://schemas.microsoft.com/office/drawing/2014/main" id="{577C862B-51AF-22E7-C1C8-B6AB08B70818}"/>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pic>
        <p:nvPicPr>
          <p:cNvPr id="5" name="Graphic 4">
            <a:extLst>
              <a:ext uri="{FF2B5EF4-FFF2-40B4-BE49-F238E27FC236}">
                <a16:creationId xmlns:a16="http://schemas.microsoft.com/office/drawing/2014/main" id="{B6991778-B436-9629-6EC4-E96EA59B0C8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
        <p:nvSpPr>
          <p:cNvPr id="7" name="Rectangle 6">
            <a:extLst>
              <a:ext uri="{FF2B5EF4-FFF2-40B4-BE49-F238E27FC236}">
                <a16:creationId xmlns:a16="http://schemas.microsoft.com/office/drawing/2014/main" id="{39821F08-8312-52D3-EEFC-AD10CDF91AC2}"/>
              </a:ext>
            </a:extLst>
          </p:cNvPr>
          <p:cNvSpPr/>
          <p:nvPr userDrawn="1"/>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pic>
        <p:nvPicPr>
          <p:cNvPr id="9" name="Graphic 8">
            <a:extLst>
              <a:ext uri="{FF2B5EF4-FFF2-40B4-BE49-F238E27FC236}">
                <a16:creationId xmlns:a16="http://schemas.microsoft.com/office/drawing/2014/main" id="{A38FF041-E9CE-D716-CB24-F3D486CAA9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41877395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9" name="Picture Placeholder 11">
            <a:extLst>
              <a:ext uri="{FF2B5EF4-FFF2-40B4-BE49-F238E27FC236}">
                <a16:creationId xmlns:a16="http://schemas.microsoft.com/office/drawing/2014/main" id="{01E87593-5AB1-A742-817D-C9CC722DF5EB}"/>
              </a:ext>
            </a:extLst>
          </p:cNvPr>
          <p:cNvSpPr>
            <a:spLocks noGrp="1"/>
          </p:cNvSpPr>
          <p:nvPr>
            <p:ph type="pic" sz="quarter" idx="13" hasCustomPrompt="1"/>
          </p:nvPr>
        </p:nvSpPr>
        <p:spPr>
          <a:xfrm>
            <a:off x="0" y="0"/>
            <a:ext cx="12192000" cy="685800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B4FC5297-363A-7DB8-E10F-5C447164ED3E}"/>
              </a:ext>
            </a:extLst>
          </p:cNvPr>
          <p:cNvSpPr>
            <a:spLocks noGrp="1"/>
          </p:cNvSpPr>
          <p:nvPr>
            <p:ph type="title"/>
          </p:nvPr>
        </p:nvSpPr>
        <p:spPr>
          <a:xfrm>
            <a:off x="457200" y="402608"/>
            <a:ext cx="9586913" cy="2852737"/>
          </a:xfrm>
        </p:spPr>
        <p:txBody>
          <a:bodyPr anchor="t"/>
          <a:lstStyle>
            <a:lvl1pPr>
              <a:defRPr sz="72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2B0A461-379B-6A19-B69E-A04AF5ECEBFA}"/>
              </a:ext>
            </a:extLst>
          </p:cNvPr>
          <p:cNvSpPr>
            <a:spLocks noGrp="1"/>
          </p:cNvSpPr>
          <p:nvPr>
            <p:ph type="body" idx="1"/>
          </p:nvPr>
        </p:nvSpPr>
        <p:spPr>
          <a:xfrm>
            <a:off x="457201" y="3654426"/>
            <a:ext cx="5937250" cy="914399"/>
          </a:xfr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27BFB576-48D2-B938-362D-C2CA0F65CCCF}"/>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9744F17B-F1E6-D688-7E7E-CD7675D187CA}"/>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7F1A0222-B118-DD79-00E6-0881AAA2BE5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9036287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A26944-9883-9ACF-5400-2F702B82D504}"/>
              </a:ext>
            </a:extLst>
          </p:cNvPr>
          <p:cNvSpPr/>
          <p:nvPr/>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2ECD5EDD-F44D-E2A4-B31C-712D8B99E8B7}"/>
              </a:ext>
            </a:extLst>
          </p:cNvPr>
          <p:cNvSpPr>
            <a:spLocks noGrp="1"/>
          </p:cNvSpPr>
          <p:nvPr>
            <p:ph type="pic" sz="quarter" idx="14" hasCustomPrompt="1"/>
          </p:nvPr>
        </p:nvSpPr>
        <p:spPr>
          <a:xfrm>
            <a:off x="0" y="-19050"/>
            <a:ext cx="8223250" cy="687705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7E35D584-0EEB-DF18-6040-C306755CF2C6}"/>
              </a:ext>
            </a:extLst>
          </p:cNvPr>
          <p:cNvSpPr>
            <a:spLocks noGrp="1"/>
          </p:cNvSpPr>
          <p:nvPr>
            <p:ph type="title"/>
          </p:nvPr>
        </p:nvSpPr>
        <p:spPr>
          <a:xfrm>
            <a:off x="7769225" y="2047164"/>
            <a:ext cx="3651250" cy="2061286"/>
          </a:xfrm>
        </p:spPr>
        <p:txBody>
          <a:bodyPr>
            <a:normAutofit/>
          </a:bodyPr>
          <a:lstStyle>
            <a:lvl1pPr>
              <a:defRPr sz="4800"/>
            </a:lvl1pPr>
          </a:lstStyle>
          <a:p>
            <a:r>
              <a:rPr lang="en-US"/>
              <a:t>Click to edit Master title style</a:t>
            </a:r>
            <a:endParaRPr lang="en-GB"/>
          </a:p>
        </p:txBody>
      </p:sp>
      <p:sp>
        <p:nvSpPr>
          <p:cNvPr id="3" name="Footer Placeholder 2">
            <a:extLst>
              <a:ext uri="{FF2B5EF4-FFF2-40B4-BE49-F238E27FC236}">
                <a16:creationId xmlns:a16="http://schemas.microsoft.com/office/drawing/2014/main" id="{D5AE34A6-9330-09DC-1C21-168B521268CA}"/>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8BDBDCCB-998D-EBD0-8BD5-00E7B94ADC54}"/>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11" name="Text Placeholder 9">
            <a:extLst>
              <a:ext uri="{FF2B5EF4-FFF2-40B4-BE49-F238E27FC236}">
                <a16:creationId xmlns:a16="http://schemas.microsoft.com/office/drawing/2014/main" id="{5DF72ABF-3158-3C09-4A36-943B3A21C0B9}"/>
              </a:ext>
            </a:extLst>
          </p:cNvPr>
          <p:cNvSpPr>
            <a:spLocks noGrp="1"/>
          </p:cNvSpPr>
          <p:nvPr>
            <p:ph type="body" sz="quarter" idx="13"/>
          </p:nvPr>
        </p:nvSpPr>
        <p:spPr>
          <a:xfrm>
            <a:off x="9129713" y="4339989"/>
            <a:ext cx="2743200" cy="1597261"/>
          </a:xfrm>
        </p:spPr>
        <p:txBody>
          <a:bodyPr>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a:extLst>
              <a:ext uri="{FF2B5EF4-FFF2-40B4-BE49-F238E27FC236}">
                <a16:creationId xmlns:a16="http://schemas.microsoft.com/office/drawing/2014/main" id="{43CDD550-E53A-B5DF-B61C-1C2487C049B6}"/>
              </a:ext>
            </a:extLst>
          </p:cNvPr>
          <p:cNvSpPr/>
          <p:nvPr userDrawn="1"/>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671416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Key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accent1"/>
              </a:buClr>
              <a:buFont typeface="SLB Sans Light" panose="02000503040000020004" pitchFamily="2" charset="0"/>
              <a:buChar char="→"/>
              <a:defRPr sz="3600" b="0">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5518654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Key Bullet Blue">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3C7488-E944-893A-2043-FE9944331A88}"/>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Tx/>
              <a:buFont typeface="SLB Sans Light" panose="02000503040000020004" pitchFamily="2" charset="0"/>
              <a:buChar char="→"/>
              <a:defRPr sz="3600" b="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3A8ADEEA-C976-6343-E015-561A8666011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8" name="Rectangle 7">
            <a:extLst>
              <a:ext uri="{FF2B5EF4-FFF2-40B4-BE49-F238E27FC236}">
                <a16:creationId xmlns:a16="http://schemas.microsoft.com/office/drawing/2014/main" id="{13904AD0-7345-850D-F9C9-72FEC4308CFF}"/>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375A6CFE-6063-3AD5-F920-DB1DF62C916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119149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0956228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Blue">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552FDF-29F0-FEA1-55F4-48C517205ACB}"/>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FB57FFDA-D27B-2D1D-703B-FAC972FA970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7" name="Rectangle 6">
            <a:extLst>
              <a:ext uri="{FF2B5EF4-FFF2-40B4-BE49-F238E27FC236}">
                <a16:creationId xmlns:a16="http://schemas.microsoft.com/office/drawing/2014/main" id="{A988495E-5440-CA01-9B9E-56E09510A8DA}"/>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15784B97-D9DE-981E-063F-AD5004F1660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2612337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8987949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Blu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50BD1E-00A9-4F45-5A21-3A16C0123F69}"/>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5" name="Graphic 4">
            <a:extLst>
              <a:ext uri="{FF2B5EF4-FFF2-40B4-BE49-F238E27FC236}">
                <a16:creationId xmlns:a16="http://schemas.microsoft.com/office/drawing/2014/main" id="{90EA85E6-F1EF-96E4-5D58-38735E3A98D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8" name="Rectangle 7">
            <a:extLst>
              <a:ext uri="{FF2B5EF4-FFF2-40B4-BE49-F238E27FC236}">
                <a16:creationId xmlns:a16="http://schemas.microsoft.com/office/drawing/2014/main" id="{9AAF1571-EEE6-8110-8258-DD85115B9384}"/>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phic 9">
            <a:extLst>
              <a:ext uri="{FF2B5EF4-FFF2-40B4-BE49-F238E27FC236}">
                <a16:creationId xmlns:a16="http://schemas.microsoft.com/office/drawing/2014/main" id="{5B71E4F3-D051-4241-A8C4-413915E57D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588398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A26944-9883-9ACF-5400-2F702B82D504}"/>
              </a:ext>
            </a:extLst>
          </p:cNvPr>
          <p:cNvSpPr/>
          <p:nvPr userDrawn="1"/>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2ECD5EDD-F44D-E2A4-B31C-712D8B99E8B7}"/>
              </a:ext>
            </a:extLst>
          </p:cNvPr>
          <p:cNvSpPr>
            <a:spLocks noGrp="1"/>
          </p:cNvSpPr>
          <p:nvPr>
            <p:ph type="pic" sz="quarter" idx="14" hasCustomPrompt="1"/>
          </p:nvPr>
        </p:nvSpPr>
        <p:spPr>
          <a:xfrm>
            <a:off x="0" y="-19050"/>
            <a:ext cx="8223250" cy="687705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7E35D584-0EEB-DF18-6040-C306755CF2C6}"/>
              </a:ext>
            </a:extLst>
          </p:cNvPr>
          <p:cNvSpPr>
            <a:spLocks noGrp="1"/>
          </p:cNvSpPr>
          <p:nvPr>
            <p:ph type="title"/>
          </p:nvPr>
        </p:nvSpPr>
        <p:spPr>
          <a:xfrm>
            <a:off x="7769225" y="2047164"/>
            <a:ext cx="3651250" cy="2061286"/>
          </a:xfrm>
        </p:spPr>
        <p:txBody>
          <a:bodyPr>
            <a:normAutofit/>
          </a:bodyPr>
          <a:lstStyle>
            <a:lvl1pPr>
              <a:defRPr sz="4800"/>
            </a:lvl1pPr>
          </a:lstStyle>
          <a:p>
            <a:r>
              <a:rPr lang="en-US"/>
              <a:t>Click to edit Master title style</a:t>
            </a:r>
            <a:endParaRPr lang="en-GB"/>
          </a:p>
        </p:txBody>
      </p:sp>
      <p:sp>
        <p:nvSpPr>
          <p:cNvPr id="3" name="Footer Placeholder 2">
            <a:extLst>
              <a:ext uri="{FF2B5EF4-FFF2-40B4-BE49-F238E27FC236}">
                <a16:creationId xmlns:a16="http://schemas.microsoft.com/office/drawing/2014/main" id="{D5AE34A6-9330-09DC-1C21-168B521268CA}"/>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8BDBDCCB-998D-EBD0-8BD5-00E7B94ADC54}"/>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11" name="Text Placeholder 9">
            <a:extLst>
              <a:ext uri="{FF2B5EF4-FFF2-40B4-BE49-F238E27FC236}">
                <a16:creationId xmlns:a16="http://schemas.microsoft.com/office/drawing/2014/main" id="{5DF72ABF-3158-3C09-4A36-943B3A21C0B9}"/>
              </a:ext>
            </a:extLst>
          </p:cNvPr>
          <p:cNvSpPr>
            <a:spLocks noGrp="1"/>
          </p:cNvSpPr>
          <p:nvPr>
            <p:ph type="body" sz="quarter" idx="13"/>
          </p:nvPr>
        </p:nvSpPr>
        <p:spPr>
          <a:xfrm>
            <a:off x="9129713" y="4339989"/>
            <a:ext cx="2743200" cy="1597261"/>
          </a:xfrm>
        </p:spPr>
        <p:txBody>
          <a:bodyPr>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605393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1860648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and 2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41084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4108450"/>
            <a:ext cx="3968750" cy="2743200"/>
          </a:xfrm>
        </p:spPr>
        <p:txBody>
          <a:bodyPr/>
          <a:lstStyle/>
          <a:p>
            <a:r>
              <a:rPr lang="en-US"/>
              <a:t>Click icon to add picture</a:t>
            </a:r>
            <a:endParaRPr lang="en-GB"/>
          </a:p>
        </p:txBody>
      </p:sp>
    </p:spTree>
    <p:extLst>
      <p:ext uri="{BB962C8B-B14F-4D97-AF65-F5344CB8AC3E}">
        <p14:creationId xmlns:p14="http://schemas.microsoft.com/office/powerpoint/2010/main" val="38150430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Chart">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F53DD-0966-0BFD-B778-F487FDD28A20}"/>
              </a:ext>
            </a:extLst>
          </p:cNvPr>
          <p:cNvSpPr/>
          <p:nvPr/>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Text Placeholder 8">
            <a:extLst>
              <a:ext uri="{FF2B5EF4-FFF2-40B4-BE49-F238E27FC236}">
                <a16:creationId xmlns:a16="http://schemas.microsoft.com/office/drawing/2014/main" id="{ECA6186D-802B-AA5D-226E-496C143AC661}"/>
              </a:ext>
            </a:extLst>
          </p:cNvPr>
          <p:cNvSpPr>
            <a:spLocks noGrp="1"/>
          </p:cNvSpPr>
          <p:nvPr>
            <p:ph type="body" sz="quarter" idx="13"/>
          </p:nvPr>
        </p:nvSpPr>
        <p:spPr>
          <a:xfrm>
            <a:off x="8223250" y="4568825"/>
            <a:ext cx="3968750" cy="2289175"/>
          </a:xfrm>
          <a:solidFill>
            <a:schemeClr val="bg2"/>
          </a:solidFill>
        </p:spPr>
        <p:txBody>
          <a:bodyPr lIns="468000" tIns="468000" rIns="36000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141BAAD1-B2B6-51E6-5B60-1808F5AC81C2}"/>
              </a:ext>
            </a:extLst>
          </p:cNvPr>
          <p:cNvSpPr>
            <a:spLocks noGrp="1"/>
          </p:cNvSpPr>
          <p:nvPr>
            <p:ph type="chart" sz="quarter" idx="14"/>
          </p:nvPr>
        </p:nvSpPr>
        <p:spPr>
          <a:xfrm>
            <a:off x="8680450" y="457200"/>
            <a:ext cx="3192463" cy="3651250"/>
          </a:xfrm>
        </p:spPr>
        <p:txBody>
          <a:bodyPr/>
          <a:lstStyle/>
          <a:p>
            <a:r>
              <a:rPr lang="en-US"/>
              <a:t>Click icon to add chart</a:t>
            </a:r>
            <a:endParaRPr lang="en-GB"/>
          </a:p>
        </p:txBody>
      </p:sp>
      <p:pic>
        <p:nvPicPr>
          <p:cNvPr id="5" name="Graphic 4">
            <a:extLst>
              <a:ext uri="{FF2B5EF4-FFF2-40B4-BE49-F238E27FC236}">
                <a16:creationId xmlns:a16="http://schemas.microsoft.com/office/drawing/2014/main" id="{BCBC916D-681F-B16B-82E0-C83AEC5C631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8" name="Rectangle 7">
            <a:extLst>
              <a:ext uri="{FF2B5EF4-FFF2-40B4-BE49-F238E27FC236}">
                <a16:creationId xmlns:a16="http://schemas.microsoft.com/office/drawing/2014/main" id="{5ED3361E-F033-075A-3C8A-78411CC5DC52}"/>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phic 9">
            <a:extLst>
              <a:ext uri="{FF2B5EF4-FFF2-40B4-BE49-F238E27FC236}">
                <a16:creationId xmlns:a16="http://schemas.microsoft.com/office/drawing/2014/main" id="{0B4E69B3-0CFF-1949-F89A-B74CA60858C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2154581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ext and Image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8080376"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Rectangle 3">
            <a:extLst>
              <a:ext uri="{FF2B5EF4-FFF2-40B4-BE49-F238E27FC236}">
                <a16:creationId xmlns:a16="http://schemas.microsoft.com/office/drawing/2014/main" id="{5FE5AE61-F210-8EEF-224B-3035585235B7}"/>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285A1F18-CBA6-3C75-A48B-9647A3CF28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4947556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Content Placeholder 2">
            <a:extLst>
              <a:ext uri="{FF2B5EF4-FFF2-40B4-BE49-F238E27FC236}">
                <a16:creationId xmlns:a16="http://schemas.microsoft.com/office/drawing/2014/main" id="{7C38C3D6-67EC-0336-DD99-56DDA5E52710}"/>
              </a:ext>
            </a:extLst>
          </p:cNvPr>
          <p:cNvSpPr>
            <a:spLocks noGrp="1"/>
          </p:cNvSpPr>
          <p:nvPr>
            <p:ph sz="half" idx="13"/>
          </p:nvPr>
        </p:nvSpPr>
        <p:spPr>
          <a:xfrm>
            <a:off x="4572000" y="2279650"/>
            <a:ext cx="73009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7">
            <a:extLst>
              <a:ext uri="{FF2B5EF4-FFF2-40B4-BE49-F238E27FC236}">
                <a16:creationId xmlns:a16="http://schemas.microsoft.com/office/drawing/2014/main" id="{C592422C-8178-F0D7-B77C-361059986B9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59C4AEEA-2E36-D541-6937-8B5AB7B62E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0807872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xt and 2 Image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4111625"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1828800"/>
            <a:ext cx="3968750" cy="5022850"/>
          </a:xfrm>
        </p:spPr>
        <p:txBody>
          <a:bodyPr/>
          <a:lstStyle/>
          <a:p>
            <a:r>
              <a:rPr lang="en-US"/>
              <a:t>Click icon to add picture</a:t>
            </a:r>
            <a:endParaRPr lang="en-GB"/>
          </a:p>
        </p:txBody>
      </p:sp>
      <p:sp>
        <p:nvSpPr>
          <p:cNvPr id="9" name="Rectangle 8">
            <a:extLst>
              <a:ext uri="{FF2B5EF4-FFF2-40B4-BE49-F238E27FC236}">
                <a16:creationId xmlns:a16="http://schemas.microsoft.com/office/drawing/2014/main" id="{BC878F0A-5958-3E24-1747-CAD0AB04603C}"/>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phic 9">
            <a:extLst>
              <a:ext uri="{FF2B5EF4-FFF2-40B4-BE49-F238E27FC236}">
                <a16:creationId xmlns:a16="http://schemas.microsoft.com/office/drawing/2014/main" id="{E522F28E-D245-40F3-FC2F-CFF135361B4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0992148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 and 1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4084918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xt and 2 Im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5797550" cy="3197225"/>
          </a:xfrm>
        </p:spPr>
        <p:txBody>
          <a:bodyPr/>
          <a:lstStyle/>
          <a:p>
            <a:r>
              <a:rPr lang="en-US"/>
              <a:t>Click icon to add picture</a:t>
            </a:r>
            <a:endParaRPr lang="en-GB"/>
          </a:p>
        </p:txBody>
      </p:sp>
    </p:spTree>
    <p:extLst>
      <p:ext uri="{BB962C8B-B14F-4D97-AF65-F5344CB8AC3E}">
        <p14:creationId xmlns:p14="http://schemas.microsoft.com/office/powerpoint/2010/main" val="26635806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and 3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9594850" y="3654425"/>
            <a:ext cx="2597150" cy="3197225"/>
          </a:xfrm>
        </p:spPr>
        <p:txBody>
          <a:bodyPr/>
          <a:lstStyle/>
          <a:p>
            <a:r>
              <a:rPr lang="en-US"/>
              <a:t>Click icon to add picture</a:t>
            </a:r>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3200400" cy="3197225"/>
          </a:xfrm>
        </p:spPr>
        <p:txBody>
          <a:bodyPr/>
          <a:lstStyle/>
          <a:p>
            <a:r>
              <a:rPr lang="en-US"/>
              <a:t>Click icon to add picture</a:t>
            </a:r>
            <a:endParaRPr lang="en-GB"/>
          </a:p>
        </p:txBody>
      </p:sp>
    </p:spTree>
    <p:extLst>
      <p:ext uri="{BB962C8B-B14F-4D97-AF65-F5344CB8AC3E}">
        <p14:creationId xmlns:p14="http://schemas.microsoft.com/office/powerpoint/2010/main" val="2255896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ey Number">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6" name="Rectangle 5">
            <a:extLst>
              <a:ext uri="{FF2B5EF4-FFF2-40B4-BE49-F238E27FC236}">
                <a16:creationId xmlns:a16="http://schemas.microsoft.com/office/drawing/2014/main" id="{DB0C50D2-043C-36A1-1B56-B01E9B752648}"/>
              </a:ext>
            </a:extLst>
          </p:cNvPr>
          <p:cNvSpPr/>
          <p:nvPr/>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F802C4B2-937C-CC88-1104-BE3049DA47FA}"/>
              </a:ext>
            </a:extLst>
          </p:cNvPr>
          <p:cNvSpPr>
            <a:spLocks noGrp="1"/>
          </p:cNvSpPr>
          <p:nvPr>
            <p:ph type="body" sz="quarter" idx="12" hasCustomPrompt="1"/>
          </p:nvPr>
        </p:nvSpPr>
        <p:spPr>
          <a:xfrm>
            <a:off x="8680450" y="457200"/>
            <a:ext cx="3192463" cy="1371600"/>
          </a:xfrm>
        </p:spPr>
        <p:txBody>
          <a:bodyPr>
            <a:noAutofit/>
          </a:bodyPr>
          <a:lstStyle>
            <a:lvl1pPr>
              <a:lnSpc>
                <a:spcPct val="80000"/>
              </a:lnSpc>
              <a:defRPr sz="14400" b="0">
                <a:solidFill>
                  <a:schemeClr val="bg1"/>
                </a:solidFill>
                <a:latin typeface="+mj-lt"/>
              </a:defRPr>
            </a:lvl1pPr>
          </a:lstStyle>
          <a:p>
            <a:pPr lvl="0"/>
            <a:r>
              <a:rPr lang="en-GB"/>
              <a:t>##</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8223250" y="2279650"/>
            <a:ext cx="3968750" cy="45783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pic>
        <p:nvPicPr>
          <p:cNvPr id="5" name="Graphic 4">
            <a:extLst>
              <a:ext uri="{FF2B5EF4-FFF2-40B4-BE49-F238E27FC236}">
                <a16:creationId xmlns:a16="http://schemas.microsoft.com/office/drawing/2014/main" id="{C2A43E3D-583C-C3D3-EB91-4B474E93AA7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7" name="Rectangle 6">
            <a:extLst>
              <a:ext uri="{FF2B5EF4-FFF2-40B4-BE49-F238E27FC236}">
                <a16:creationId xmlns:a16="http://schemas.microsoft.com/office/drawing/2014/main" id="{170B133F-E403-A235-2B45-DB1EF855B16D}"/>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07C20914-EDAE-51D1-C0C4-BB6826FB27B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2100849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Key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accent1"/>
              </a:buClr>
              <a:buFont typeface="SLB Sans Light" panose="02000503040000020004" pitchFamily="2" charset="0"/>
              <a:buChar char="→"/>
              <a:defRPr sz="3600" b="0">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3703503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mage on Blue">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hasCustomPrompt="1"/>
          </p:nvPr>
        </p:nvSpPr>
        <p:spPr>
          <a:xfrm>
            <a:off x="4572000" y="457199"/>
            <a:ext cx="3194050" cy="13716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4108450" y="2279650"/>
            <a:ext cx="8083550" cy="4578350"/>
          </a:xfrm>
        </p:spPr>
        <p:txBody>
          <a:bodyPr/>
          <a:lstStyle/>
          <a:p>
            <a:r>
              <a:rPr lang="en-US"/>
              <a:t>Click icon to add picture</a:t>
            </a:r>
            <a:endParaRPr lang="en-GB"/>
          </a:p>
        </p:txBody>
      </p:sp>
      <p:sp>
        <p:nvSpPr>
          <p:cNvPr id="11" name="Content Placeholder 2">
            <a:extLst>
              <a:ext uri="{FF2B5EF4-FFF2-40B4-BE49-F238E27FC236}">
                <a16:creationId xmlns:a16="http://schemas.microsoft.com/office/drawing/2014/main" id="{09ABDF0F-4BA7-B82C-7345-64CE6436A7E1}"/>
              </a:ext>
            </a:extLst>
          </p:cNvPr>
          <p:cNvSpPr>
            <a:spLocks noGrp="1"/>
          </p:cNvSpPr>
          <p:nvPr>
            <p:ph sz="half" idx="14" hasCustomPrompt="1"/>
          </p:nvPr>
        </p:nvSpPr>
        <p:spPr>
          <a:xfrm>
            <a:off x="8678863" y="457199"/>
            <a:ext cx="3194050" cy="13716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3E9F08A9-468B-A902-D68B-8E0B8D95361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7" name="Rectangle 6">
            <a:extLst>
              <a:ext uri="{FF2B5EF4-FFF2-40B4-BE49-F238E27FC236}">
                <a16:creationId xmlns:a16="http://schemas.microsoft.com/office/drawing/2014/main" id="{8FF6D5B4-D868-AD60-CCAC-82E00FD83F29}"/>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3C34FD8E-F8D9-5FCA-A075-7DED219E79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379316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Multi Layou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D70BFD0F-01A4-774A-DFA5-C9069D2CA6D4}"/>
              </a:ext>
            </a:extLst>
          </p:cNvPr>
          <p:cNvSpPr/>
          <p:nvPr/>
        </p:nvSpPr>
        <p:spPr>
          <a:xfrm>
            <a:off x="4108450" y="3194050"/>
            <a:ext cx="8083550" cy="3663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7301E557-BFAD-DC7D-FAEB-CD9F2F26938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8" name="Rectangle 7">
            <a:extLst>
              <a:ext uri="{FF2B5EF4-FFF2-40B4-BE49-F238E27FC236}">
                <a16:creationId xmlns:a16="http://schemas.microsoft.com/office/drawing/2014/main" id="{85791F4B-DB6D-2071-5602-265D1BA44923}"/>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54EC2EEC-E6C9-6194-BA01-2FA7316507A9}"/>
              </a:ext>
            </a:extLst>
          </p:cNvPr>
          <p:cNvSpPr/>
          <p:nvPr userDrawn="1"/>
        </p:nvSpPr>
        <p:spPr>
          <a:xfrm>
            <a:off x="4108450" y="3194050"/>
            <a:ext cx="8083550" cy="3663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49579DE7-9D33-6650-7442-CB50D1E1BE7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5307738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Multi Layout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7CC2D35B-A55A-CCD1-4EDA-D1E8C50801B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
        <p:nvSpPr>
          <p:cNvPr id="7" name="Rectangle 6">
            <a:extLst>
              <a:ext uri="{FF2B5EF4-FFF2-40B4-BE49-F238E27FC236}">
                <a16:creationId xmlns:a16="http://schemas.microsoft.com/office/drawing/2014/main" id="{BE15EF59-00B8-A66F-7057-3FD2C3E1AB37}"/>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Graphic 7">
            <a:extLst>
              <a:ext uri="{FF2B5EF4-FFF2-40B4-BE49-F238E27FC236}">
                <a16:creationId xmlns:a16="http://schemas.microsoft.com/office/drawing/2014/main" id="{6D2B8C7C-3C45-E971-002E-9772BEF734D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0602448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028782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475493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3654425"/>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4572000" y="3654425"/>
            <a:ext cx="7620000" cy="3197225"/>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942943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hree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4108450" cy="6857999"/>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8680450" y="2743200"/>
            <a:ext cx="3511550" cy="4108451"/>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
        <p:nvSpPr>
          <p:cNvPr id="2" name="Picture Placeholder 7">
            <a:extLst>
              <a:ext uri="{FF2B5EF4-FFF2-40B4-BE49-F238E27FC236}">
                <a16:creationId xmlns:a16="http://schemas.microsoft.com/office/drawing/2014/main" id="{15843B81-9280-B787-925B-D94E5BB1E76C}"/>
              </a:ext>
            </a:extLst>
          </p:cNvPr>
          <p:cNvSpPr>
            <a:spLocks noGrp="1"/>
          </p:cNvSpPr>
          <p:nvPr>
            <p:ph type="pic" sz="quarter" idx="16"/>
          </p:nvPr>
        </p:nvSpPr>
        <p:spPr>
          <a:xfrm>
            <a:off x="8680450" y="1"/>
            <a:ext cx="3511550" cy="2743200"/>
          </a:xfrm>
        </p:spPr>
        <p:txBody>
          <a:bodyPr/>
          <a:lstStyle/>
          <a:p>
            <a:r>
              <a:rPr lang="en-US"/>
              <a:t>Click icon to add picture</a:t>
            </a:r>
            <a:endParaRPr lang="en-GB"/>
          </a:p>
        </p:txBody>
      </p:sp>
    </p:spTree>
    <p:extLst>
      <p:ext uri="{BB962C8B-B14F-4D97-AF65-F5344CB8AC3E}">
        <p14:creationId xmlns:p14="http://schemas.microsoft.com/office/powerpoint/2010/main" val="40267457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CB92480-F2BB-6E4D-0B48-BC5E95A858B5}"/>
              </a:ext>
            </a:extLst>
          </p:cNvPr>
          <p:cNvSpPr>
            <a:spLocks noGrp="1"/>
          </p:cNvSpPr>
          <p:nvPr>
            <p:ph type="ftr" sz="quarter" idx="11"/>
          </p:nvPr>
        </p:nvSpPr>
        <p:spPr/>
        <p:txBody>
          <a:bodyPr/>
          <a:lstStyle/>
          <a:p>
            <a:r>
              <a:rPr lang="en-GB"/>
              <a:t>Private. In/External use only.</a:t>
            </a:r>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835855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D5D703-D8EA-9994-BA95-384890B498F7}"/>
              </a:ext>
            </a:extLst>
          </p:cNvPr>
          <p:cNvSpPr>
            <a:spLocks noGrp="1"/>
          </p:cNvSpPr>
          <p:nvPr>
            <p:ph type="ftr" sz="quarter" idx="11"/>
          </p:nvPr>
        </p:nvSpPr>
        <p:spPr/>
        <p:txBody>
          <a:bodyPr/>
          <a:lstStyle/>
          <a:p>
            <a:r>
              <a:rPr lang="en-GB"/>
              <a:t>Private. In/External use only.</a:t>
            </a:r>
          </a:p>
        </p:txBody>
      </p:sp>
      <p:sp>
        <p:nvSpPr>
          <p:cNvPr id="4" name="Slide Number Placeholder 3">
            <a:extLst>
              <a:ext uri="{FF2B5EF4-FFF2-40B4-BE49-F238E27FC236}">
                <a16:creationId xmlns:a16="http://schemas.microsoft.com/office/drawing/2014/main" id="{53DCE458-D9A3-4DEA-87B5-6B6AE0C5F74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7437279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31ED342-3D5F-E744-5C02-ED60F13F3A32}"/>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p:nvPr>
        </p:nvSpPr>
        <p:spPr>
          <a:xfrm>
            <a:off x="457200" y="975334"/>
            <a:ext cx="9144000" cy="3439236"/>
          </a:xfrm>
        </p:spPr>
        <p:txBody>
          <a:bodyPr anchor="b">
            <a:noAutofit/>
          </a:bodyPr>
          <a:lstStyle>
            <a:lvl1pPr algn="l">
              <a:lnSpc>
                <a:spcPct val="80000"/>
              </a:lnSpc>
              <a:defRPr sz="88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pic>
        <p:nvPicPr>
          <p:cNvPr id="5" name="Graphic 4">
            <a:extLst>
              <a:ext uri="{FF2B5EF4-FFF2-40B4-BE49-F238E27FC236}">
                <a16:creationId xmlns:a16="http://schemas.microsoft.com/office/drawing/2014/main" id="{9F166A59-25A3-3A00-7289-60767DE59A8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4136681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Key Bullet Blue">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3C7488-E944-893A-2043-FE9944331A8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bg1"/>
              </a:buClr>
              <a:buFont typeface="SLB Sans Light" panose="02000503040000020004" pitchFamily="2" charset="0"/>
              <a:buChar char="→"/>
              <a:defRPr sz="3600" b="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F0650C58-ADB6-799E-D665-4F33A4818F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044514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for 1 Sent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0ADC76-D61C-14B2-73B6-03136E7AB583}"/>
              </a:ext>
            </a:extLst>
          </p:cNvPr>
          <p:cNvSpPr/>
          <p:nvPr userDrawn="1"/>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hasCustomPrompt="1"/>
          </p:nvPr>
        </p:nvSpPr>
        <p:spPr>
          <a:xfrm>
            <a:off x="457200" y="3049750"/>
            <a:ext cx="9144000" cy="1083374"/>
          </a:xfrm>
        </p:spPr>
        <p:txBody>
          <a:bodyPr anchor="b">
            <a:noAutofit/>
          </a:bodyPr>
          <a:lstStyle>
            <a:lvl1pPr algn="l">
              <a:lnSpc>
                <a:spcPct val="80000"/>
              </a:lnSpc>
              <a:defRPr sz="8800">
                <a:solidFill>
                  <a:schemeClr val="accent1"/>
                </a:solidFill>
              </a:defRPr>
            </a:lvl1pPr>
          </a:lstStyle>
          <a:p>
            <a:r>
              <a:rPr lang="en-US"/>
              <a:t>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sp>
        <p:nvSpPr>
          <p:cNvPr id="6" name="Picture Placeholder 11">
            <a:extLst>
              <a:ext uri="{FF2B5EF4-FFF2-40B4-BE49-F238E27FC236}">
                <a16:creationId xmlns:a16="http://schemas.microsoft.com/office/drawing/2014/main" id="{577C862B-51AF-22E7-C1C8-B6AB08B70818}"/>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pic>
        <p:nvPicPr>
          <p:cNvPr id="5" name="Graphic 4">
            <a:extLst>
              <a:ext uri="{FF2B5EF4-FFF2-40B4-BE49-F238E27FC236}">
                <a16:creationId xmlns:a16="http://schemas.microsoft.com/office/drawing/2014/main" id="{B6991778-B436-9629-6EC4-E96EA59B0C8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10203163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9" name="Picture Placeholder 11">
            <a:extLst>
              <a:ext uri="{FF2B5EF4-FFF2-40B4-BE49-F238E27FC236}">
                <a16:creationId xmlns:a16="http://schemas.microsoft.com/office/drawing/2014/main" id="{01E87593-5AB1-A742-817D-C9CC722DF5EB}"/>
              </a:ext>
            </a:extLst>
          </p:cNvPr>
          <p:cNvSpPr>
            <a:spLocks noGrp="1"/>
          </p:cNvSpPr>
          <p:nvPr>
            <p:ph type="pic" sz="quarter" idx="13" hasCustomPrompt="1"/>
          </p:nvPr>
        </p:nvSpPr>
        <p:spPr>
          <a:xfrm>
            <a:off x="0" y="0"/>
            <a:ext cx="12192000" cy="685800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B4FC5297-363A-7DB8-E10F-5C447164ED3E}"/>
              </a:ext>
            </a:extLst>
          </p:cNvPr>
          <p:cNvSpPr>
            <a:spLocks noGrp="1"/>
          </p:cNvSpPr>
          <p:nvPr>
            <p:ph type="title"/>
          </p:nvPr>
        </p:nvSpPr>
        <p:spPr>
          <a:xfrm>
            <a:off x="457200" y="402608"/>
            <a:ext cx="9586913" cy="2852737"/>
          </a:xfrm>
        </p:spPr>
        <p:txBody>
          <a:bodyPr anchor="t"/>
          <a:lstStyle>
            <a:lvl1pPr>
              <a:defRPr sz="72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2B0A461-379B-6A19-B69E-A04AF5ECEBFA}"/>
              </a:ext>
            </a:extLst>
          </p:cNvPr>
          <p:cNvSpPr>
            <a:spLocks noGrp="1"/>
          </p:cNvSpPr>
          <p:nvPr>
            <p:ph type="body" idx="1"/>
          </p:nvPr>
        </p:nvSpPr>
        <p:spPr>
          <a:xfrm>
            <a:off x="457201" y="3654426"/>
            <a:ext cx="5937250" cy="914399"/>
          </a:xfr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27BFB576-48D2-B938-362D-C2CA0F65CCCF}"/>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9744F17B-F1E6-D688-7E7E-CD7675D187CA}"/>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7F1A0222-B118-DD79-00E6-0881AAA2BE5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6319788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A26944-9883-9ACF-5400-2F702B82D504}"/>
              </a:ext>
            </a:extLst>
          </p:cNvPr>
          <p:cNvSpPr/>
          <p:nvPr userDrawn="1"/>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2ECD5EDD-F44D-E2A4-B31C-712D8B99E8B7}"/>
              </a:ext>
            </a:extLst>
          </p:cNvPr>
          <p:cNvSpPr>
            <a:spLocks noGrp="1"/>
          </p:cNvSpPr>
          <p:nvPr>
            <p:ph type="pic" sz="quarter" idx="14" hasCustomPrompt="1"/>
          </p:nvPr>
        </p:nvSpPr>
        <p:spPr>
          <a:xfrm>
            <a:off x="0" y="-19050"/>
            <a:ext cx="8223250" cy="687705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7E35D584-0EEB-DF18-6040-C306755CF2C6}"/>
              </a:ext>
            </a:extLst>
          </p:cNvPr>
          <p:cNvSpPr>
            <a:spLocks noGrp="1"/>
          </p:cNvSpPr>
          <p:nvPr>
            <p:ph type="title"/>
          </p:nvPr>
        </p:nvSpPr>
        <p:spPr>
          <a:xfrm>
            <a:off x="7769225" y="2047164"/>
            <a:ext cx="3651250" cy="2061286"/>
          </a:xfrm>
        </p:spPr>
        <p:txBody>
          <a:bodyPr>
            <a:normAutofit/>
          </a:bodyPr>
          <a:lstStyle>
            <a:lvl1pPr>
              <a:defRPr sz="4800"/>
            </a:lvl1pPr>
          </a:lstStyle>
          <a:p>
            <a:r>
              <a:rPr lang="en-US"/>
              <a:t>Click to edit Master title style</a:t>
            </a:r>
            <a:endParaRPr lang="en-GB"/>
          </a:p>
        </p:txBody>
      </p:sp>
      <p:sp>
        <p:nvSpPr>
          <p:cNvPr id="3" name="Footer Placeholder 2">
            <a:extLst>
              <a:ext uri="{FF2B5EF4-FFF2-40B4-BE49-F238E27FC236}">
                <a16:creationId xmlns:a16="http://schemas.microsoft.com/office/drawing/2014/main" id="{D5AE34A6-9330-09DC-1C21-168B521268CA}"/>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8BDBDCCB-998D-EBD0-8BD5-00E7B94ADC54}"/>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11" name="Text Placeholder 9">
            <a:extLst>
              <a:ext uri="{FF2B5EF4-FFF2-40B4-BE49-F238E27FC236}">
                <a16:creationId xmlns:a16="http://schemas.microsoft.com/office/drawing/2014/main" id="{5DF72ABF-3158-3C09-4A36-943B3A21C0B9}"/>
              </a:ext>
            </a:extLst>
          </p:cNvPr>
          <p:cNvSpPr>
            <a:spLocks noGrp="1"/>
          </p:cNvSpPr>
          <p:nvPr>
            <p:ph type="body" sz="quarter" idx="13"/>
          </p:nvPr>
        </p:nvSpPr>
        <p:spPr>
          <a:xfrm>
            <a:off x="9129713" y="4339989"/>
            <a:ext cx="2743200" cy="1597261"/>
          </a:xfrm>
        </p:spPr>
        <p:txBody>
          <a:bodyPr>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412305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Key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accent1"/>
              </a:buClr>
              <a:buFont typeface="SLB Sans Light" panose="02000503040000020004" pitchFamily="2" charset="0"/>
              <a:buChar char="→"/>
              <a:defRPr sz="3600" b="0">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4220366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Key Bullet Blue">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3C7488-E944-893A-2043-FE9944331A8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Tx/>
              <a:buFont typeface="SLB Sans Light" panose="02000503040000020004" pitchFamily="2" charset="0"/>
              <a:buChar char="→"/>
              <a:defRPr sz="3600" b="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3A8ADEEA-C976-6343-E015-561A866601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4452251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8005471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Blue">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552FDF-29F0-FEA1-55F4-48C517205ACB}"/>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FB57FFDA-D27B-2D1D-703B-FAC972FA970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1172643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4584414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Blu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50BD1E-00A9-4F45-5A21-3A16C0123F69}"/>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5" name="Graphic 4">
            <a:extLst>
              <a:ext uri="{FF2B5EF4-FFF2-40B4-BE49-F238E27FC236}">
                <a16:creationId xmlns:a16="http://schemas.microsoft.com/office/drawing/2014/main" id="{90EA85E6-F1EF-96E4-5D58-38735E3A98D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846076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2630528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Private. In/Ex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9987387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2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41084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4108450"/>
            <a:ext cx="3968750" cy="2743200"/>
          </a:xfrm>
        </p:spPr>
        <p:txBody>
          <a:bodyPr/>
          <a:lstStyle/>
          <a:p>
            <a:r>
              <a:rPr lang="en-US"/>
              <a:t>Click icon to add picture</a:t>
            </a:r>
            <a:endParaRPr lang="en-GB"/>
          </a:p>
        </p:txBody>
      </p:sp>
    </p:spTree>
    <p:extLst>
      <p:ext uri="{BB962C8B-B14F-4D97-AF65-F5344CB8AC3E}">
        <p14:creationId xmlns:p14="http://schemas.microsoft.com/office/powerpoint/2010/main" val="8131297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Chart">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CF53DD-0966-0BFD-B778-F487FDD28A20}"/>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Text Placeholder 8">
            <a:extLst>
              <a:ext uri="{FF2B5EF4-FFF2-40B4-BE49-F238E27FC236}">
                <a16:creationId xmlns:a16="http://schemas.microsoft.com/office/drawing/2014/main" id="{ECA6186D-802B-AA5D-226E-496C143AC661}"/>
              </a:ext>
            </a:extLst>
          </p:cNvPr>
          <p:cNvSpPr>
            <a:spLocks noGrp="1"/>
          </p:cNvSpPr>
          <p:nvPr>
            <p:ph type="body" sz="quarter" idx="13"/>
          </p:nvPr>
        </p:nvSpPr>
        <p:spPr>
          <a:xfrm>
            <a:off x="8223250" y="4568825"/>
            <a:ext cx="3968750" cy="2289175"/>
          </a:xfrm>
          <a:solidFill>
            <a:schemeClr val="bg2"/>
          </a:solidFill>
        </p:spPr>
        <p:txBody>
          <a:bodyPr lIns="468000" tIns="468000" rIns="36000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141BAAD1-B2B6-51E6-5B60-1808F5AC81C2}"/>
              </a:ext>
            </a:extLst>
          </p:cNvPr>
          <p:cNvSpPr>
            <a:spLocks noGrp="1"/>
          </p:cNvSpPr>
          <p:nvPr>
            <p:ph type="chart" sz="quarter" idx="14"/>
          </p:nvPr>
        </p:nvSpPr>
        <p:spPr>
          <a:xfrm>
            <a:off x="8680450" y="457200"/>
            <a:ext cx="3192463" cy="3651250"/>
          </a:xfrm>
        </p:spPr>
        <p:txBody>
          <a:bodyPr/>
          <a:lstStyle/>
          <a:p>
            <a:r>
              <a:rPr lang="en-US"/>
              <a:t>Click icon to add chart</a:t>
            </a:r>
            <a:endParaRPr lang="en-GB"/>
          </a:p>
        </p:txBody>
      </p:sp>
      <p:pic>
        <p:nvPicPr>
          <p:cNvPr id="5" name="Graphic 4">
            <a:extLst>
              <a:ext uri="{FF2B5EF4-FFF2-40B4-BE49-F238E27FC236}">
                <a16:creationId xmlns:a16="http://schemas.microsoft.com/office/drawing/2014/main" id="{BCBC916D-681F-B16B-82E0-C83AEC5C63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923577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and Image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8080376"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9265092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Content Placeholder 2">
            <a:extLst>
              <a:ext uri="{FF2B5EF4-FFF2-40B4-BE49-F238E27FC236}">
                <a16:creationId xmlns:a16="http://schemas.microsoft.com/office/drawing/2014/main" id="{7C38C3D6-67EC-0336-DD99-56DDA5E52710}"/>
              </a:ext>
            </a:extLst>
          </p:cNvPr>
          <p:cNvSpPr>
            <a:spLocks noGrp="1"/>
          </p:cNvSpPr>
          <p:nvPr>
            <p:ph sz="half" idx="13"/>
          </p:nvPr>
        </p:nvSpPr>
        <p:spPr>
          <a:xfrm>
            <a:off x="4572000" y="2279650"/>
            <a:ext cx="7300913"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269302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nd 2 Image Grey Backgroun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1E793E-6791-2D8C-A188-C3A968455668}"/>
              </a:ext>
            </a:extLst>
          </p:cNvPr>
          <p:cNvSpPr/>
          <p:nvPr userDrawn="1"/>
        </p:nvSpPr>
        <p:spPr>
          <a:xfrm>
            <a:off x="0" y="1"/>
            <a:ext cx="12192000" cy="1828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111624" y="1828800"/>
            <a:ext cx="4111625" cy="502284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199" y="412364"/>
            <a:ext cx="9586913" cy="9640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199" y="2279650"/>
            <a:ext cx="3194049"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1828800"/>
            <a:ext cx="3968750" cy="5022850"/>
          </a:xfrm>
        </p:spPr>
        <p:txBody>
          <a:bodyPr/>
          <a:lstStyle/>
          <a:p>
            <a:r>
              <a:rPr lang="en-US"/>
              <a:t>Click icon to add picture</a:t>
            </a:r>
            <a:endParaRPr lang="en-GB"/>
          </a:p>
        </p:txBody>
      </p:sp>
    </p:spTree>
    <p:extLst>
      <p:ext uri="{BB962C8B-B14F-4D97-AF65-F5344CB8AC3E}">
        <p14:creationId xmlns:p14="http://schemas.microsoft.com/office/powerpoint/2010/main" val="12969869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7037658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and 2 Image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5797550" cy="3197225"/>
          </a:xfrm>
        </p:spPr>
        <p:txBody>
          <a:bodyPr/>
          <a:lstStyle/>
          <a:p>
            <a:r>
              <a:rPr lang="en-US"/>
              <a:t>Click icon to add picture</a:t>
            </a:r>
            <a:endParaRPr lang="en-GB"/>
          </a:p>
        </p:txBody>
      </p:sp>
    </p:spTree>
    <p:extLst>
      <p:ext uri="{BB962C8B-B14F-4D97-AF65-F5344CB8AC3E}">
        <p14:creationId xmlns:p14="http://schemas.microsoft.com/office/powerpoint/2010/main" val="20267967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and 3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6394450" y="0"/>
            <a:ext cx="5797550" cy="3654425"/>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a:xfrm>
            <a:off x="457200" y="412364"/>
            <a:ext cx="5480050" cy="1416436"/>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 y="2279650"/>
            <a:ext cx="548005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9594850" y="3654425"/>
            <a:ext cx="2597150" cy="3197225"/>
          </a:xfrm>
        </p:spPr>
        <p:txBody>
          <a:bodyPr/>
          <a:lstStyle/>
          <a:p>
            <a:r>
              <a:rPr lang="en-US"/>
              <a:t>Click icon to add picture</a:t>
            </a:r>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6394450" y="3654425"/>
            <a:ext cx="3200400" cy="3197225"/>
          </a:xfrm>
        </p:spPr>
        <p:txBody>
          <a:bodyPr/>
          <a:lstStyle/>
          <a:p>
            <a:r>
              <a:rPr lang="en-US"/>
              <a:t>Click icon to add picture</a:t>
            </a:r>
            <a:endParaRPr lang="en-GB"/>
          </a:p>
        </p:txBody>
      </p:sp>
    </p:spTree>
    <p:extLst>
      <p:ext uri="{BB962C8B-B14F-4D97-AF65-F5344CB8AC3E}">
        <p14:creationId xmlns:p14="http://schemas.microsoft.com/office/powerpoint/2010/main" val="36753268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ey Number">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6" name="Rectangle 5">
            <a:extLst>
              <a:ext uri="{FF2B5EF4-FFF2-40B4-BE49-F238E27FC236}">
                <a16:creationId xmlns:a16="http://schemas.microsoft.com/office/drawing/2014/main" id="{DB0C50D2-043C-36A1-1B56-B01E9B752648}"/>
              </a:ext>
            </a:extLst>
          </p:cNvPr>
          <p:cNvSpPr/>
          <p:nvPr userDrawn="1"/>
        </p:nvSpPr>
        <p:spPr>
          <a:xfrm>
            <a:off x="0" y="0"/>
            <a:ext cx="82232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F802C4B2-937C-CC88-1104-BE3049DA47FA}"/>
              </a:ext>
            </a:extLst>
          </p:cNvPr>
          <p:cNvSpPr>
            <a:spLocks noGrp="1"/>
          </p:cNvSpPr>
          <p:nvPr>
            <p:ph type="body" sz="quarter" idx="12" hasCustomPrompt="1"/>
          </p:nvPr>
        </p:nvSpPr>
        <p:spPr>
          <a:xfrm>
            <a:off x="8680450" y="457200"/>
            <a:ext cx="3192463" cy="1371600"/>
          </a:xfrm>
        </p:spPr>
        <p:txBody>
          <a:bodyPr>
            <a:noAutofit/>
          </a:bodyPr>
          <a:lstStyle>
            <a:lvl1pPr>
              <a:lnSpc>
                <a:spcPct val="80000"/>
              </a:lnSpc>
              <a:defRPr sz="14400" b="0">
                <a:solidFill>
                  <a:schemeClr val="bg1"/>
                </a:solidFill>
                <a:latin typeface="+mj-lt"/>
              </a:defRPr>
            </a:lvl1pPr>
          </a:lstStyle>
          <a:p>
            <a:pPr lvl="0"/>
            <a:r>
              <a:rPr lang="en-GB"/>
              <a:t>##</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8223250" y="2279650"/>
            <a:ext cx="3968750" cy="45783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pic>
        <p:nvPicPr>
          <p:cNvPr id="5" name="Graphic 4">
            <a:extLst>
              <a:ext uri="{FF2B5EF4-FFF2-40B4-BE49-F238E27FC236}">
                <a16:creationId xmlns:a16="http://schemas.microsoft.com/office/drawing/2014/main" id="{C2A43E3D-583C-C3D3-EB91-4B474E93AA7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8093979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on Blue">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8" name="Content Placeholder 2">
            <a:extLst>
              <a:ext uri="{FF2B5EF4-FFF2-40B4-BE49-F238E27FC236}">
                <a16:creationId xmlns:a16="http://schemas.microsoft.com/office/drawing/2014/main" id="{05DACEBD-5245-2837-AEBA-27A73AD435E7}"/>
              </a:ext>
            </a:extLst>
          </p:cNvPr>
          <p:cNvSpPr>
            <a:spLocks noGrp="1"/>
          </p:cNvSpPr>
          <p:nvPr>
            <p:ph sz="half" idx="1" hasCustomPrompt="1"/>
          </p:nvPr>
        </p:nvSpPr>
        <p:spPr>
          <a:xfrm>
            <a:off x="4572000" y="457199"/>
            <a:ext cx="3194050" cy="13716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E96ACE6D-21DD-9ECC-EBAD-3E0487EFFB49}"/>
              </a:ext>
            </a:extLst>
          </p:cNvPr>
          <p:cNvSpPr>
            <a:spLocks noGrp="1"/>
          </p:cNvSpPr>
          <p:nvPr>
            <p:ph type="pic" sz="quarter" idx="13"/>
          </p:nvPr>
        </p:nvSpPr>
        <p:spPr>
          <a:xfrm>
            <a:off x="4108450" y="2279650"/>
            <a:ext cx="8083550" cy="4578350"/>
          </a:xfrm>
        </p:spPr>
        <p:txBody>
          <a:bodyPr/>
          <a:lstStyle/>
          <a:p>
            <a:r>
              <a:rPr lang="en-US"/>
              <a:t>Click icon to add picture</a:t>
            </a:r>
            <a:endParaRPr lang="en-GB"/>
          </a:p>
        </p:txBody>
      </p:sp>
      <p:sp>
        <p:nvSpPr>
          <p:cNvPr id="11" name="Content Placeholder 2">
            <a:extLst>
              <a:ext uri="{FF2B5EF4-FFF2-40B4-BE49-F238E27FC236}">
                <a16:creationId xmlns:a16="http://schemas.microsoft.com/office/drawing/2014/main" id="{09ABDF0F-4BA7-B82C-7345-64CE6436A7E1}"/>
              </a:ext>
            </a:extLst>
          </p:cNvPr>
          <p:cNvSpPr>
            <a:spLocks noGrp="1"/>
          </p:cNvSpPr>
          <p:nvPr>
            <p:ph sz="half" idx="14" hasCustomPrompt="1"/>
          </p:nvPr>
        </p:nvSpPr>
        <p:spPr>
          <a:xfrm>
            <a:off x="8678863" y="457199"/>
            <a:ext cx="3194050" cy="13716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3E9F08A9-468B-A902-D68B-8E0B8D9536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298718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Blue">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552FDF-29F0-FEA1-55F4-48C517205ACB}"/>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lvl1pPr>
              <a:defRPr>
                <a:solidFill>
                  <a:schemeClr val="tx1"/>
                </a:solidFill>
              </a:defRPr>
            </a:lvl1pPr>
            <a:lvl2pPr>
              <a:defRPr>
                <a:solidFill>
                  <a:schemeClr val="tx1"/>
                </a:solidFill>
              </a:defRPr>
            </a:lvl2pPr>
            <a:lvl3pPr>
              <a:buClr>
                <a:schemeClr val="bg1"/>
              </a:buCl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37BC1DE3-EE83-6842-B054-58DA3F6BFD3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6625995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ulti Layou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D70BFD0F-01A4-774A-DFA5-C9069D2CA6D4}"/>
              </a:ext>
            </a:extLst>
          </p:cNvPr>
          <p:cNvSpPr/>
          <p:nvPr userDrawn="1"/>
        </p:nvSpPr>
        <p:spPr>
          <a:xfrm>
            <a:off x="4108450" y="3194050"/>
            <a:ext cx="8083550" cy="3663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7" name="Graphic 6">
            <a:extLst>
              <a:ext uri="{FF2B5EF4-FFF2-40B4-BE49-F238E27FC236}">
                <a16:creationId xmlns:a16="http://schemas.microsoft.com/office/drawing/2014/main" id="{7301E557-BFAD-DC7D-FAEB-CD9F2F26938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7412317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ulti Layout 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0C50D2-043C-36A1-1B56-B01E9B75264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C246303-E295-386A-942C-82C07C877776}"/>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1198C1C5-D53B-A06A-D3FD-B1ECECF46131}"/>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D9AA9D71-ED5F-23BF-5503-5EC87E7997FF}"/>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9" name="Content Placeholder 2">
            <a:extLst>
              <a:ext uri="{FF2B5EF4-FFF2-40B4-BE49-F238E27FC236}">
                <a16:creationId xmlns:a16="http://schemas.microsoft.com/office/drawing/2014/main" id="{E831ED26-13CF-BB46-91D1-83954E3377E9}"/>
              </a:ext>
            </a:extLst>
          </p:cNvPr>
          <p:cNvSpPr>
            <a:spLocks noGrp="1"/>
          </p:cNvSpPr>
          <p:nvPr>
            <p:ph sz="half" idx="1" hasCustomPrompt="1"/>
          </p:nvPr>
        </p:nvSpPr>
        <p:spPr>
          <a:xfrm>
            <a:off x="4572000" y="457199"/>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0" name="Content Placeholder 2">
            <a:extLst>
              <a:ext uri="{FF2B5EF4-FFF2-40B4-BE49-F238E27FC236}">
                <a16:creationId xmlns:a16="http://schemas.microsoft.com/office/drawing/2014/main" id="{F9B292ED-E6F9-30FB-64C6-A582A0E6EA91}"/>
              </a:ext>
            </a:extLst>
          </p:cNvPr>
          <p:cNvSpPr>
            <a:spLocks noGrp="1"/>
          </p:cNvSpPr>
          <p:nvPr>
            <p:ph sz="half" idx="14" hasCustomPrompt="1"/>
          </p:nvPr>
        </p:nvSpPr>
        <p:spPr>
          <a:xfrm>
            <a:off x="8678863" y="457199"/>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F7D3303-2815-4B72-8F26-26A9C0519064}"/>
              </a:ext>
            </a:extLst>
          </p:cNvPr>
          <p:cNvSpPr>
            <a:spLocks noGrp="1"/>
          </p:cNvSpPr>
          <p:nvPr>
            <p:ph sz="half" idx="15" hasCustomPrompt="1"/>
          </p:nvPr>
        </p:nvSpPr>
        <p:spPr>
          <a:xfrm>
            <a:off x="4572000"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952B6807-5104-8F45-629D-98B15B70BE61}"/>
              </a:ext>
            </a:extLst>
          </p:cNvPr>
          <p:cNvSpPr>
            <a:spLocks noGrp="1"/>
          </p:cNvSpPr>
          <p:nvPr>
            <p:ph sz="half" idx="16" hasCustomPrompt="1"/>
          </p:nvPr>
        </p:nvSpPr>
        <p:spPr>
          <a:xfrm>
            <a:off x="8678863" y="3649818"/>
            <a:ext cx="3194050" cy="22860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bg1"/>
                </a:solidFill>
              </a:defRPr>
            </a:lvl5pPr>
          </a:lstStyle>
          <a:p>
            <a:pPr lvl="0"/>
            <a:r>
              <a:rPr lang="en-US"/>
              <a:t>Master text styles</a:t>
            </a:r>
          </a:p>
          <a:p>
            <a:pPr lvl="1"/>
            <a:r>
              <a:rPr lang="en-US"/>
              <a:t>Second level</a:t>
            </a:r>
          </a:p>
          <a:p>
            <a:pPr lvl="2"/>
            <a:r>
              <a:rPr lang="en-US"/>
              <a:t>Third level</a:t>
            </a:r>
          </a:p>
          <a:p>
            <a:pPr lvl="3"/>
            <a:r>
              <a:rPr lang="en-US"/>
              <a:t>Fourth level</a:t>
            </a:r>
          </a:p>
        </p:txBody>
      </p:sp>
      <p:pic>
        <p:nvPicPr>
          <p:cNvPr id="5" name="Graphic 4">
            <a:extLst>
              <a:ext uri="{FF2B5EF4-FFF2-40B4-BE49-F238E27FC236}">
                <a16:creationId xmlns:a16="http://schemas.microsoft.com/office/drawing/2014/main" id="{7CC2D35B-A55A-CCD1-4EDA-D1E8C50801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3602374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296764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6858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155727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7620000" cy="3654425"/>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4572000" y="3654425"/>
            <a:ext cx="7620000" cy="3197225"/>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705624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4572000" y="0"/>
            <a:ext cx="4108450" cy="6857999"/>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9" name="Picture Placeholder 7">
            <a:extLst>
              <a:ext uri="{FF2B5EF4-FFF2-40B4-BE49-F238E27FC236}">
                <a16:creationId xmlns:a16="http://schemas.microsoft.com/office/drawing/2014/main" id="{0129604B-34A0-130A-052B-DFDD6B336F3D}"/>
              </a:ext>
            </a:extLst>
          </p:cNvPr>
          <p:cNvSpPr>
            <a:spLocks noGrp="1"/>
          </p:cNvSpPr>
          <p:nvPr>
            <p:ph type="pic" sz="quarter" idx="15"/>
          </p:nvPr>
        </p:nvSpPr>
        <p:spPr>
          <a:xfrm>
            <a:off x="8680450" y="2743200"/>
            <a:ext cx="3511550" cy="4108451"/>
          </a:xfrm>
        </p:spPr>
        <p:txBody>
          <a:bodyPr/>
          <a:lstStyle/>
          <a:p>
            <a:r>
              <a:rPr lang="en-US"/>
              <a:t>Click icon to add picture</a:t>
            </a:r>
            <a:endParaRPr lang="en-GB"/>
          </a:p>
        </p:txBody>
      </p:sp>
      <p:sp>
        <p:nvSpPr>
          <p:cNvPr id="4" name="Title 3">
            <a:extLst>
              <a:ext uri="{FF2B5EF4-FFF2-40B4-BE49-F238E27FC236}">
                <a16:creationId xmlns:a16="http://schemas.microsoft.com/office/drawing/2014/main" id="{C4C9CA1A-678C-B077-A23A-695A7C682FA5}"/>
              </a:ext>
            </a:extLst>
          </p:cNvPr>
          <p:cNvSpPr>
            <a:spLocks noGrp="1"/>
          </p:cNvSpPr>
          <p:nvPr>
            <p:ph type="title"/>
          </p:nvPr>
        </p:nvSpPr>
        <p:spPr/>
        <p:txBody>
          <a:bodyPr/>
          <a:lstStyle/>
          <a:p>
            <a:r>
              <a:rPr lang="en-US"/>
              <a:t>Click to edit Master title style</a:t>
            </a:r>
            <a:endParaRPr lang="en-GB"/>
          </a:p>
        </p:txBody>
      </p:sp>
      <p:sp>
        <p:nvSpPr>
          <p:cNvPr id="2" name="Picture Placeholder 7">
            <a:extLst>
              <a:ext uri="{FF2B5EF4-FFF2-40B4-BE49-F238E27FC236}">
                <a16:creationId xmlns:a16="http://schemas.microsoft.com/office/drawing/2014/main" id="{15843B81-9280-B787-925B-D94E5BB1E76C}"/>
              </a:ext>
            </a:extLst>
          </p:cNvPr>
          <p:cNvSpPr>
            <a:spLocks noGrp="1"/>
          </p:cNvSpPr>
          <p:nvPr>
            <p:ph type="pic" sz="quarter" idx="16"/>
          </p:nvPr>
        </p:nvSpPr>
        <p:spPr>
          <a:xfrm>
            <a:off x="8680450" y="1"/>
            <a:ext cx="3511550" cy="2743200"/>
          </a:xfrm>
        </p:spPr>
        <p:txBody>
          <a:bodyPr/>
          <a:lstStyle/>
          <a:p>
            <a:r>
              <a:rPr lang="en-US"/>
              <a:t>Click icon to add picture</a:t>
            </a:r>
            <a:endParaRPr lang="en-GB"/>
          </a:p>
        </p:txBody>
      </p:sp>
    </p:spTree>
    <p:extLst>
      <p:ext uri="{BB962C8B-B14F-4D97-AF65-F5344CB8AC3E}">
        <p14:creationId xmlns:p14="http://schemas.microsoft.com/office/powerpoint/2010/main" val="36103355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CB92480-F2BB-6E4D-0B48-BC5E95A858B5}"/>
              </a:ext>
            </a:extLst>
          </p:cNvPr>
          <p:cNvSpPr>
            <a:spLocks noGrp="1"/>
          </p:cNvSpPr>
          <p:nvPr>
            <p:ph type="ftr" sz="quarter" idx="11"/>
          </p:nvPr>
        </p:nvSpPr>
        <p:spPr/>
        <p:txBody>
          <a:bodyPr/>
          <a:lstStyle/>
          <a:p>
            <a:r>
              <a:rPr lang="en-GB"/>
              <a:t>Global footer where sharing status is set. Internal use only.</a:t>
            </a:r>
          </a:p>
        </p:txBody>
      </p:sp>
      <p:sp>
        <p:nvSpPr>
          <p:cNvPr id="5" name="Slide Number Placeholder 4">
            <a:extLst>
              <a:ext uri="{FF2B5EF4-FFF2-40B4-BE49-F238E27FC236}">
                <a16:creationId xmlns:a16="http://schemas.microsoft.com/office/drawing/2014/main" id="{40969909-5E9F-D8E9-99CB-822E1C3E1CD4}"/>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2" name="Title 1">
            <a:extLst>
              <a:ext uri="{FF2B5EF4-FFF2-40B4-BE49-F238E27FC236}">
                <a16:creationId xmlns:a16="http://schemas.microsoft.com/office/drawing/2014/main" id="{8560292F-46E5-7C51-F750-22AAB107E973}"/>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26990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2D5D703-D8EA-9994-BA95-384890B498F7}"/>
              </a:ext>
            </a:extLst>
          </p:cNvPr>
          <p:cNvSpPr>
            <a:spLocks noGrp="1"/>
          </p:cNvSpPr>
          <p:nvPr>
            <p:ph type="ftr" sz="quarter" idx="11"/>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53DCE458-D9A3-4DEA-87B5-6B6AE0C5F74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40453829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31ED342-3D5F-E744-5C02-ED60F13F3A32}"/>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p:nvPr>
        </p:nvSpPr>
        <p:spPr>
          <a:xfrm>
            <a:off x="457200" y="975334"/>
            <a:ext cx="9144000" cy="3439236"/>
          </a:xfrm>
        </p:spPr>
        <p:txBody>
          <a:bodyPr anchor="b">
            <a:noAutofit/>
          </a:bodyPr>
          <a:lstStyle>
            <a:lvl1pPr algn="l">
              <a:lnSpc>
                <a:spcPct val="80000"/>
              </a:lnSpc>
              <a:defRPr sz="88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pic>
        <p:nvPicPr>
          <p:cNvPr id="5" name="Graphic 4">
            <a:extLst>
              <a:ext uri="{FF2B5EF4-FFF2-40B4-BE49-F238E27FC236}">
                <a16:creationId xmlns:a16="http://schemas.microsoft.com/office/drawing/2014/main" id="{9F166A59-25A3-3A00-7289-60767DE59A8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31310028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for 1 Sentan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0ADC76-D61C-14B2-73B6-03136E7AB583}"/>
              </a:ext>
            </a:extLst>
          </p:cNvPr>
          <p:cNvSpPr/>
          <p:nvPr userDrawn="1"/>
        </p:nvSpPr>
        <p:spPr>
          <a:xfrm>
            <a:off x="1" y="0"/>
            <a:ext cx="12192000" cy="3889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endParaRPr>
          </a:p>
        </p:txBody>
      </p:sp>
      <p:sp>
        <p:nvSpPr>
          <p:cNvPr id="2" name="Title 1">
            <a:extLst>
              <a:ext uri="{FF2B5EF4-FFF2-40B4-BE49-F238E27FC236}">
                <a16:creationId xmlns:a16="http://schemas.microsoft.com/office/drawing/2014/main" id="{958AA187-7FD8-73C7-34D6-69957B1618BD}"/>
              </a:ext>
            </a:extLst>
          </p:cNvPr>
          <p:cNvSpPr>
            <a:spLocks noGrp="1"/>
          </p:cNvSpPr>
          <p:nvPr>
            <p:ph type="ctrTitle" hasCustomPrompt="1"/>
          </p:nvPr>
        </p:nvSpPr>
        <p:spPr>
          <a:xfrm>
            <a:off x="457200" y="3049750"/>
            <a:ext cx="9144000" cy="1083374"/>
          </a:xfrm>
        </p:spPr>
        <p:txBody>
          <a:bodyPr anchor="b">
            <a:noAutofit/>
          </a:bodyPr>
          <a:lstStyle>
            <a:lvl1pPr algn="l">
              <a:lnSpc>
                <a:spcPct val="80000"/>
              </a:lnSpc>
              <a:defRPr sz="8800">
                <a:solidFill>
                  <a:schemeClr val="accent1"/>
                </a:solidFill>
              </a:defRPr>
            </a:lvl1pPr>
          </a:lstStyle>
          <a:p>
            <a:r>
              <a:rPr lang="en-US"/>
              <a:t>Master title style</a:t>
            </a:r>
            <a:endParaRPr lang="en-GB"/>
          </a:p>
        </p:txBody>
      </p:sp>
      <p:sp>
        <p:nvSpPr>
          <p:cNvPr id="3" name="Subtitle 2">
            <a:extLst>
              <a:ext uri="{FF2B5EF4-FFF2-40B4-BE49-F238E27FC236}">
                <a16:creationId xmlns:a16="http://schemas.microsoft.com/office/drawing/2014/main" id="{86F83F86-FA67-F19E-EBB4-28767A4DD3C7}"/>
              </a:ext>
            </a:extLst>
          </p:cNvPr>
          <p:cNvSpPr>
            <a:spLocks noGrp="1"/>
          </p:cNvSpPr>
          <p:nvPr>
            <p:ph type="subTitle" idx="1"/>
          </p:nvPr>
        </p:nvSpPr>
        <p:spPr>
          <a:xfrm>
            <a:off x="457200" y="5909954"/>
            <a:ext cx="9144000" cy="276999"/>
          </a:xfrm>
        </p:spPr>
        <p:txBody>
          <a:bodyPr>
            <a:sp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FF554C-1119-C2B8-154F-A19CC55C1773}"/>
              </a:ext>
            </a:extLst>
          </p:cNvPr>
          <p:cNvSpPr>
            <a:spLocks noGrp="1"/>
          </p:cNvSpPr>
          <p:nvPr>
            <p:ph type="dt" sz="half" idx="10"/>
          </p:nvPr>
        </p:nvSpPr>
        <p:spPr>
          <a:xfrm>
            <a:off x="457200" y="6190607"/>
            <a:ext cx="2743200" cy="276999"/>
          </a:xfrm>
          <a:prstGeom prst="rect">
            <a:avLst/>
          </a:prstGeom>
        </p:spPr>
        <p:txBody>
          <a:bodyPr lIns="0" tIns="0" rIns="0" bIns="0">
            <a:spAutoFit/>
          </a:bodyPr>
          <a:lstStyle>
            <a:lvl1pPr algn="l">
              <a:defRPr>
                <a:solidFill>
                  <a:schemeClr val="accent1"/>
                </a:solidFill>
              </a:defRPr>
            </a:lvl1pPr>
          </a:lstStyle>
          <a:p>
            <a:endParaRPr lang="en-GB"/>
          </a:p>
        </p:txBody>
      </p:sp>
      <p:sp>
        <p:nvSpPr>
          <p:cNvPr id="6" name="Picture Placeholder 11">
            <a:extLst>
              <a:ext uri="{FF2B5EF4-FFF2-40B4-BE49-F238E27FC236}">
                <a16:creationId xmlns:a16="http://schemas.microsoft.com/office/drawing/2014/main" id="{577C862B-51AF-22E7-C1C8-B6AB08B70818}"/>
              </a:ext>
            </a:extLst>
          </p:cNvPr>
          <p:cNvSpPr>
            <a:spLocks noGrp="1"/>
          </p:cNvSpPr>
          <p:nvPr>
            <p:ph type="pic" sz="quarter" idx="11" hasCustomPrompt="1"/>
          </p:nvPr>
        </p:nvSpPr>
        <p:spPr>
          <a:xfrm>
            <a:off x="0" y="3889612"/>
            <a:ext cx="12192000" cy="2968388"/>
          </a:xfrm>
        </p:spPr>
        <p:txBody>
          <a:bodyPr anchor="ctr">
            <a:normAutofit/>
          </a:bodyPr>
          <a:lstStyle>
            <a:lvl1pPr algn="ctr">
              <a:defRPr sz="1400"/>
            </a:lvl1pPr>
          </a:lstStyle>
          <a:p>
            <a:r>
              <a:rPr lang="en-GB"/>
              <a:t>After inserting right click on the image and send to back</a:t>
            </a:r>
          </a:p>
        </p:txBody>
      </p:sp>
      <p:pic>
        <p:nvPicPr>
          <p:cNvPr id="5" name="Graphic 4">
            <a:extLst>
              <a:ext uri="{FF2B5EF4-FFF2-40B4-BE49-F238E27FC236}">
                <a16:creationId xmlns:a16="http://schemas.microsoft.com/office/drawing/2014/main" id="{B6991778-B436-9629-6EC4-E96EA59B0C8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74764" y="204120"/>
            <a:ext cx="1240572" cy="872814"/>
          </a:xfrm>
          <a:prstGeom prst="rect">
            <a:avLst/>
          </a:prstGeom>
        </p:spPr>
      </p:pic>
    </p:spTree>
    <p:extLst>
      <p:ext uri="{BB962C8B-B14F-4D97-AF65-F5344CB8AC3E}">
        <p14:creationId xmlns:p14="http://schemas.microsoft.com/office/powerpoint/2010/main" val="3648612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Private. In/Ex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9973623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9" name="Picture Placeholder 11">
            <a:extLst>
              <a:ext uri="{FF2B5EF4-FFF2-40B4-BE49-F238E27FC236}">
                <a16:creationId xmlns:a16="http://schemas.microsoft.com/office/drawing/2014/main" id="{01E87593-5AB1-A742-817D-C9CC722DF5EB}"/>
              </a:ext>
            </a:extLst>
          </p:cNvPr>
          <p:cNvSpPr>
            <a:spLocks noGrp="1"/>
          </p:cNvSpPr>
          <p:nvPr>
            <p:ph type="pic" sz="quarter" idx="13" hasCustomPrompt="1"/>
          </p:nvPr>
        </p:nvSpPr>
        <p:spPr>
          <a:xfrm>
            <a:off x="0" y="0"/>
            <a:ext cx="12192000" cy="685800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B4FC5297-363A-7DB8-E10F-5C447164ED3E}"/>
              </a:ext>
            </a:extLst>
          </p:cNvPr>
          <p:cNvSpPr>
            <a:spLocks noGrp="1"/>
          </p:cNvSpPr>
          <p:nvPr>
            <p:ph type="title"/>
          </p:nvPr>
        </p:nvSpPr>
        <p:spPr>
          <a:xfrm>
            <a:off x="457200" y="402608"/>
            <a:ext cx="9586913" cy="2852737"/>
          </a:xfrm>
        </p:spPr>
        <p:txBody>
          <a:bodyPr anchor="t"/>
          <a:lstStyle>
            <a:lvl1pPr>
              <a:defRPr sz="72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2B0A461-379B-6A19-B69E-A04AF5ECEBFA}"/>
              </a:ext>
            </a:extLst>
          </p:cNvPr>
          <p:cNvSpPr>
            <a:spLocks noGrp="1"/>
          </p:cNvSpPr>
          <p:nvPr>
            <p:ph type="body" idx="1"/>
          </p:nvPr>
        </p:nvSpPr>
        <p:spPr>
          <a:xfrm>
            <a:off x="457201" y="3654426"/>
            <a:ext cx="5937250" cy="914399"/>
          </a:xfr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27BFB576-48D2-B938-362D-C2CA0F65CCCF}"/>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9744F17B-F1E6-D688-7E7E-CD7675D187CA}"/>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7F1A0222-B118-DD79-00E6-0881AAA2BE5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1475357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A26944-9883-9ACF-5400-2F702B82D504}"/>
              </a:ext>
            </a:extLst>
          </p:cNvPr>
          <p:cNvSpPr/>
          <p:nvPr userDrawn="1"/>
        </p:nvSpPr>
        <p:spPr>
          <a:xfrm>
            <a:off x="8223251" y="0"/>
            <a:ext cx="3968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icture Placeholder 11">
            <a:extLst>
              <a:ext uri="{FF2B5EF4-FFF2-40B4-BE49-F238E27FC236}">
                <a16:creationId xmlns:a16="http://schemas.microsoft.com/office/drawing/2014/main" id="{2ECD5EDD-F44D-E2A4-B31C-712D8B99E8B7}"/>
              </a:ext>
            </a:extLst>
          </p:cNvPr>
          <p:cNvSpPr>
            <a:spLocks noGrp="1"/>
          </p:cNvSpPr>
          <p:nvPr>
            <p:ph type="pic" sz="quarter" idx="14" hasCustomPrompt="1"/>
          </p:nvPr>
        </p:nvSpPr>
        <p:spPr>
          <a:xfrm>
            <a:off x="0" y="-19050"/>
            <a:ext cx="8223250" cy="6877050"/>
          </a:xfrm>
        </p:spPr>
        <p:txBody>
          <a:bodyPr anchor="ctr">
            <a:normAutofit/>
          </a:bodyPr>
          <a:lstStyle>
            <a:lvl1pPr algn="ctr">
              <a:defRPr sz="1400"/>
            </a:lvl1pPr>
          </a:lstStyle>
          <a:p>
            <a:r>
              <a:rPr lang="en-GB"/>
              <a:t>After inserting right click on the image and send to back</a:t>
            </a:r>
          </a:p>
        </p:txBody>
      </p:sp>
      <p:sp>
        <p:nvSpPr>
          <p:cNvPr id="2" name="Title 1">
            <a:extLst>
              <a:ext uri="{FF2B5EF4-FFF2-40B4-BE49-F238E27FC236}">
                <a16:creationId xmlns:a16="http://schemas.microsoft.com/office/drawing/2014/main" id="{7E35D584-0EEB-DF18-6040-C306755CF2C6}"/>
              </a:ext>
            </a:extLst>
          </p:cNvPr>
          <p:cNvSpPr>
            <a:spLocks noGrp="1"/>
          </p:cNvSpPr>
          <p:nvPr>
            <p:ph type="title"/>
          </p:nvPr>
        </p:nvSpPr>
        <p:spPr>
          <a:xfrm>
            <a:off x="7769225" y="2047164"/>
            <a:ext cx="3651250" cy="2061286"/>
          </a:xfrm>
        </p:spPr>
        <p:txBody>
          <a:bodyPr>
            <a:normAutofit/>
          </a:bodyPr>
          <a:lstStyle>
            <a:lvl1pPr>
              <a:defRPr sz="4800"/>
            </a:lvl1pPr>
          </a:lstStyle>
          <a:p>
            <a:r>
              <a:rPr lang="en-US"/>
              <a:t>Click to edit Master title style</a:t>
            </a:r>
            <a:endParaRPr lang="en-GB"/>
          </a:p>
        </p:txBody>
      </p:sp>
      <p:sp>
        <p:nvSpPr>
          <p:cNvPr id="3" name="Footer Placeholder 2">
            <a:extLst>
              <a:ext uri="{FF2B5EF4-FFF2-40B4-BE49-F238E27FC236}">
                <a16:creationId xmlns:a16="http://schemas.microsoft.com/office/drawing/2014/main" id="{D5AE34A6-9330-09DC-1C21-168B521268CA}"/>
              </a:ext>
            </a:extLst>
          </p:cNvPr>
          <p:cNvSpPr>
            <a:spLocks noGrp="1"/>
          </p:cNvSpPr>
          <p:nvPr>
            <p:ph type="ftr" sz="quarter" idx="10"/>
          </p:nvPr>
        </p:nvSpPr>
        <p:spPr/>
        <p:txBody>
          <a:bodyPr/>
          <a:lstStyle/>
          <a:p>
            <a:r>
              <a:rPr lang="en-GB"/>
              <a:t>Global footer where sharing status is set. Internal use only.</a:t>
            </a:r>
          </a:p>
        </p:txBody>
      </p:sp>
      <p:sp>
        <p:nvSpPr>
          <p:cNvPr id="4" name="Slide Number Placeholder 3">
            <a:extLst>
              <a:ext uri="{FF2B5EF4-FFF2-40B4-BE49-F238E27FC236}">
                <a16:creationId xmlns:a16="http://schemas.microsoft.com/office/drawing/2014/main" id="{8BDBDCCB-998D-EBD0-8BD5-00E7B94ADC54}"/>
              </a:ext>
            </a:extLst>
          </p:cNvPr>
          <p:cNvSpPr>
            <a:spLocks noGrp="1"/>
          </p:cNvSpPr>
          <p:nvPr>
            <p:ph type="sldNum" sz="quarter" idx="11"/>
          </p:nvPr>
        </p:nvSpPr>
        <p:spPr/>
        <p:txBody>
          <a:bodyPr/>
          <a:lstStyle/>
          <a:p>
            <a:fld id="{2737C662-D0ED-4587-B264-5C4F0D975D18}" type="slidenum">
              <a:rPr lang="en-GB" smtClean="0"/>
              <a:pPr/>
              <a:t>‹#›</a:t>
            </a:fld>
            <a:endParaRPr lang="en-GB"/>
          </a:p>
        </p:txBody>
      </p:sp>
      <p:sp>
        <p:nvSpPr>
          <p:cNvPr id="11" name="Text Placeholder 9">
            <a:extLst>
              <a:ext uri="{FF2B5EF4-FFF2-40B4-BE49-F238E27FC236}">
                <a16:creationId xmlns:a16="http://schemas.microsoft.com/office/drawing/2014/main" id="{5DF72ABF-3158-3C09-4A36-943B3A21C0B9}"/>
              </a:ext>
            </a:extLst>
          </p:cNvPr>
          <p:cNvSpPr>
            <a:spLocks noGrp="1"/>
          </p:cNvSpPr>
          <p:nvPr>
            <p:ph type="body" sz="quarter" idx="13"/>
          </p:nvPr>
        </p:nvSpPr>
        <p:spPr>
          <a:xfrm>
            <a:off x="9129713" y="4339989"/>
            <a:ext cx="2743200" cy="1597261"/>
          </a:xfrm>
        </p:spPr>
        <p:txBody>
          <a:bodyPr>
            <a:noAutofit/>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125171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Key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
                <a:schemeClr val="accent1"/>
              </a:buClr>
              <a:buFont typeface="SLB Sans Light" panose="02000503040000020004" pitchFamily="2" charset="0"/>
              <a:buChar char="→"/>
              <a:defRPr sz="3600" b="0">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4209636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Key Bullet Blue">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3C7488-E944-893A-2043-FE9944331A88}"/>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p:txBody>
          <a:bodyPr/>
          <a:lstStyle>
            <a:lvl1pPr marL="571500" indent="-571500">
              <a:spcBef>
                <a:spcPts val="1200"/>
              </a:spcBef>
              <a:spcAft>
                <a:spcPts val="1200"/>
              </a:spcAft>
              <a:buClrTx/>
              <a:buFont typeface="SLB Sans Light" panose="02000503040000020004" pitchFamily="2" charset="0"/>
              <a:buChar char="→"/>
              <a:defRPr sz="3600" b="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3A8ADEEA-C976-6343-E015-561A866601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387905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3854181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Blue">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2552FDF-29F0-FEA1-55F4-48C517205ACB}"/>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F2DF58-EADB-C5F8-3EAC-9FF5ADA7F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25642E-CCE2-D55D-2F53-B151D5C4D160}"/>
              </a:ext>
            </a:extLst>
          </p:cNvPr>
          <p:cNvSpPr>
            <a:spLocks noGrp="1"/>
          </p:cNvSpPr>
          <p:nvPr>
            <p:ph idx="1"/>
          </p:nvPr>
        </p:nvSpPr>
        <p:spPr>
          <a:xfrm>
            <a:off x="4576042" y="457200"/>
            <a:ext cx="7296870" cy="54800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B8790F8-CB43-47FE-AE71-AD955D0601A1}"/>
              </a:ext>
            </a:extLst>
          </p:cNvPr>
          <p:cNvSpPr>
            <a:spLocks noGrp="1"/>
          </p:cNvSpPr>
          <p:nvPr>
            <p:ph type="ftr" sz="quarter" idx="11"/>
          </p:nvPr>
        </p:nvSpPr>
        <p:spPr/>
        <p:txBody>
          <a:body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B35DC8C2-E17A-F7E1-D95A-5F79A6F13723}"/>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4" name="Graphic 3">
            <a:extLst>
              <a:ext uri="{FF2B5EF4-FFF2-40B4-BE49-F238E27FC236}">
                <a16:creationId xmlns:a16="http://schemas.microsoft.com/office/drawing/2014/main" id="{FB57FFDA-D27B-2D1D-703B-FAC972FA970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1230861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13954008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Blue">
    <p:bg>
      <p:bgPr>
        <a:solidFill>
          <a:schemeClr val="accent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50BD1E-00A9-4F45-5A21-3A16C0123F69}"/>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F5F5D6F-CBBC-B4EB-BA4B-7A6FF3E28708}"/>
              </a:ext>
            </a:extLst>
          </p:cNvPr>
          <p:cNvSpPr>
            <a:spLocks noGrp="1"/>
          </p:cNvSpPr>
          <p:nvPr>
            <p:ph sz="half" idx="2"/>
          </p:nvPr>
        </p:nvSpPr>
        <p:spPr>
          <a:xfrm>
            <a:off x="8229600" y="457199"/>
            <a:ext cx="3187700" cy="54800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pic>
        <p:nvPicPr>
          <p:cNvPr id="5" name="Graphic 4">
            <a:extLst>
              <a:ext uri="{FF2B5EF4-FFF2-40B4-BE49-F238E27FC236}">
                <a16:creationId xmlns:a16="http://schemas.microsoft.com/office/drawing/2014/main" id="{90EA85E6-F1EF-96E4-5D58-38735E3A98D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1971474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685800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Tree>
    <p:extLst>
      <p:ext uri="{BB962C8B-B14F-4D97-AF65-F5344CB8AC3E}">
        <p14:creationId xmlns:p14="http://schemas.microsoft.com/office/powerpoint/2010/main" val="30448832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and 2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D0B571A-0C70-23C3-C005-9DC326B60D11}"/>
              </a:ext>
            </a:extLst>
          </p:cNvPr>
          <p:cNvSpPr>
            <a:spLocks noGrp="1"/>
          </p:cNvSpPr>
          <p:nvPr>
            <p:ph type="pic" sz="quarter" idx="13"/>
          </p:nvPr>
        </p:nvSpPr>
        <p:spPr>
          <a:xfrm>
            <a:off x="8223250" y="0"/>
            <a:ext cx="3968750" cy="4108450"/>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464F0725-0679-C9E2-063B-AB1AD52118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A23FE1-FF5E-6E81-D07B-CB6ABCE245A5}"/>
              </a:ext>
            </a:extLst>
          </p:cNvPr>
          <p:cNvSpPr>
            <a:spLocks noGrp="1"/>
          </p:cNvSpPr>
          <p:nvPr>
            <p:ph sz="half" idx="1"/>
          </p:nvPr>
        </p:nvSpPr>
        <p:spPr>
          <a:xfrm>
            <a:off x="4572000" y="457199"/>
            <a:ext cx="3194050" cy="548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732D1F2A-D0B8-6FFC-2844-97DB08674F4A}"/>
              </a:ext>
            </a:extLst>
          </p:cNvPr>
          <p:cNvSpPr>
            <a:spLocks noGrp="1"/>
          </p:cNvSpPr>
          <p:nvPr>
            <p:ph type="ftr" sz="quarter" idx="11"/>
          </p:nvPr>
        </p:nvSpPr>
        <p:spPr/>
        <p:txBody>
          <a:bodyPr/>
          <a:lstStyle/>
          <a:p>
            <a:r>
              <a:rPr lang="en-GB"/>
              <a:t>Global footer where sharing status is set. Internal use only.</a:t>
            </a:r>
          </a:p>
        </p:txBody>
      </p:sp>
      <p:sp>
        <p:nvSpPr>
          <p:cNvPr id="7" name="Slide Number Placeholder 6">
            <a:extLst>
              <a:ext uri="{FF2B5EF4-FFF2-40B4-BE49-F238E27FC236}">
                <a16:creationId xmlns:a16="http://schemas.microsoft.com/office/drawing/2014/main" id="{EC74CDDE-1A75-B5EA-8ADD-CDC263CB90FD}"/>
              </a:ext>
            </a:extLst>
          </p:cNvPr>
          <p:cNvSpPr>
            <a:spLocks noGrp="1"/>
          </p:cNvSpPr>
          <p:nvPr>
            <p:ph type="sldNum" sz="quarter" idx="12"/>
          </p:nvPr>
        </p:nvSpPr>
        <p:spPr/>
        <p:txBody>
          <a:bodyPr/>
          <a:lstStyle/>
          <a:p>
            <a:fld id="{2737C662-D0ED-4587-B264-5C4F0D975D18}" type="slidenum">
              <a:rPr lang="en-GB" smtClean="0"/>
              <a:t>‹#›</a:t>
            </a:fld>
            <a:endParaRPr lang="en-GB"/>
          </a:p>
        </p:txBody>
      </p:sp>
      <p:sp>
        <p:nvSpPr>
          <p:cNvPr id="4" name="Picture Placeholder 7">
            <a:extLst>
              <a:ext uri="{FF2B5EF4-FFF2-40B4-BE49-F238E27FC236}">
                <a16:creationId xmlns:a16="http://schemas.microsoft.com/office/drawing/2014/main" id="{12E37936-3336-72C8-EF73-12F6B6DA40BC}"/>
              </a:ext>
            </a:extLst>
          </p:cNvPr>
          <p:cNvSpPr>
            <a:spLocks noGrp="1"/>
          </p:cNvSpPr>
          <p:nvPr>
            <p:ph type="pic" sz="quarter" idx="14"/>
          </p:nvPr>
        </p:nvSpPr>
        <p:spPr>
          <a:xfrm>
            <a:off x="8223250" y="4108450"/>
            <a:ext cx="3968750" cy="2743200"/>
          </a:xfrm>
        </p:spPr>
        <p:txBody>
          <a:bodyPr/>
          <a:lstStyle/>
          <a:p>
            <a:r>
              <a:rPr lang="en-US"/>
              <a:t>Click icon to add picture</a:t>
            </a:r>
            <a:endParaRPr lang="en-GB"/>
          </a:p>
        </p:txBody>
      </p:sp>
    </p:spTree>
    <p:extLst>
      <p:ext uri="{BB962C8B-B14F-4D97-AF65-F5344CB8AC3E}">
        <p14:creationId xmlns:p14="http://schemas.microsoft.com/office/powerpoint/2010/main" val="20730940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image" Target="../media/image5.svg"/><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image" Target="../media/image4.sv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3.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image" Target="../media/image4.svg"/><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image" Target="../media/image3.pn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34" Type="http://schemas.openxmlformats.org/officeDocument/2006/relationships/image" Target="../media/image4.svg"/><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image" Target="../media/image3.png"/><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theme" Target="../theme/theme4.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image" Target="../media/image10.emf"/><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oleObject" Target="../embeddings/oleObject2.bin"/><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tags" Target="../tags/tag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theme" Target="../theme/theme5.xml"/><Relationship Id="rId28" Type="http://schemas.openxmlformats.org/officeDocument/2006/relationships/image" Target="../media/image2.svg"/><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image" Target="../media/image4.svg"/><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theme" Target="../theme/theme6.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image" Target="../media/image3.png"/><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image" Target="../media/image10.emf"/><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oleObject" Target="../embeddings/oleObject3.bin"/><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tags" Target="../tags/tag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34" Type="http://schemas.openxmlformats.org/officeDocument/2006/relationships/image" Target="../media/image2.svg"/><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image" Target="../media/image1.png"/><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theme" Target="../theme/theme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slideLayout" Target="../slideLayouts/slideLayout204.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34" Type="http://schemas.openxmlformats.org/officeDocument/2006/relationships/tags" Target="../tags/tag4.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theme" Target="../theme/theme8.xml"/><Relationship Id="rId38" Type="http://schemas.openxmlformats.org/officeDocument/2006/relationships/image" Target="../media/image2.svg"/><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image" Target="../media/image1.png"/><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image" Target="../media/image16.emf"/><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49EABB9-5766-FE25-E328-FE5B7131BF60}"/>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ABDE3E0C-92A3-427B-ED53-25D02A3C956C}"/>
              </a:ext>
            </a:extLst>
          </p:cNvPr>
          <p:cNvSpPr>
            <a:spLocks noGrp="1"/>
          </p:cNvSpPr>
          <p:nvPr>
            <p:ph type="title"/>
          </p:nvPr>
        </p:nvSpPr>
        <p:spPr>
          <a:xfrm>
            <a:off x="457200" y="412363"/>
            <a:ext cx="3200400" cy="3696087"/>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68FA5F5-A6F4-83D6-C2D2-CBF04F8F21BA}"/>
              </a:ext>
            </a:extLst>
          </p:cNvPr>
          <p:cNvSpPr>
            <a:spLocks noGrp="1"/>
          </p:cNvSpPr>
          <p:nvPr>
            <p:ph type="body" idx="1"/>
          </p:nvPr>
        </p:nvSpPr>
        <p:spPr>
          <a:xfrm>
            <a:off x="4576042" y="422313"/>
            <a:ext cx="7296870" cy="55149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B512F1DC-96E6-798D-E5E3-433DC019F114}"/>
              </a:ext>
            </a:extLst>
          </p:cNvPr>
          <p:cNvSpPr>
            <a:spLocks noGrp="1"/>
          </p:cNvSpPr>
          <p:nvPr>
            <p:ph type="ftr" sz="quarter" idx="3"/>
          </p:nvPr>
        </p:nvSpPr>
        <p:spPr>
          <a:xfrm>
            <a:off x="1828435" y="6391587"/>
            <a:ext cx="9367616" cy="249859"/>
          </a:xfrm>
          <a:prstGeom prst="rect">
            <a:avLst/>
          </a:prstGeom>
        </p:spPr>
        <p:txBody>
          <a:bodyPr vert="horz" lIns="0" tIns="0" rIns="0" bIns="0" rtlCol="0" anchor="b">
            <a:noAutofit/>
          </a:bodyPr>
          <a:lstStyle>
            <a:lvl1pPr algn="r">
              <a:defRPr sz="1000">
                <a:solidFill>
                  <a:schemeClr val="bg2">
                    <a:lumMod val="75000"/>
                  </a:schemeClr>
                </a:solidFill>
              </a:defRPr>
            </a:lvl1pPr>
          </a:lstStyle>
          <a:p>
            <a:r>
              <a:rPr lang="en-GB"/>
              <a:t>Private. In/External use only.</a:t>
            </a:r>
          </a:p>
        </p:txBody>
      </p:sp>
      <p:sp>
        <p:nvSpPr>
          <p:cNvPr id="6" name="Slide Number Placeholder 5">
            <a:extLst>
              <a:ext uri="{FF2B5EF4-FFF2-40B4-BE49-F238E27FC236}">
                <a16:creationId xmlns:a16="http://schemas.microsoft.com/office/drawing/2014/main" id="{316CEF17-E52C-6D06-E631-5CAE7673046D}"/>
              </a:ext>
            </a:extLst>
          </p:cNvPr>
          <p:cNvSpPr>
            <a:spLocks noGrp="1"/>
          </p:cNvSpPr>
          <p:nvPr>
            <p:ph type="sldNum" sz="quarter" idx="4"/>
          </p:nvPr>
        </p:nvSpPr>
        <p:spPr>
          <a:xfrm>
            <a:off x="11188701" y="6411198"/>
            <a:ext cx="684212" cy="230248"/>
          </a:xfrm>
          <a:prstGeom prst="rect">
            <a:avLst/>
          </a:prstGeom>
        </p:spPr>
        <p:txBody>
          <a:bodyPr vert="horz" lIns="0" tIns="0" rIns="0" bIns="0" rtlCol="0" anchor="b">
            <a:noAutofit/>
          </a:bodyPr>
          <a:lstStyle>
            <a:lvl1pPr algn="r">
              <a:defRPr sz="1000">
                <a:solidFill>
                  <a:schemeClr val="bg2">
                    <a:lumMod val="75000"/>
                  </a:schemeClr>
                </a:solidFill>
              </a:defRPr>
            </a:lvl1pPr>
          </a:lstStyle>
          <a:p>
            <a:fld id="{2737C662-D0ED-4587-B264-5C4F0D975D18}" type="slidenum">
              <a:rPr lang="en-GB" smtClean="0"/>
              <a:pPr/>
              <a:t>‹#›</a:t>
            </a:fld>
            <a:endParaRPr lang="en-GB"/>
          </a:p>
        </p:txBody>
      </p:sp>
      <p:pic>
        <p:nvPicPr>
          <p:cNvPr id="7" name="Graphic 6">
            <a:extLst>
              <a:ext uri="{FF2B5EF4-FFF2-40B4-BE49-F238E27FC236}">
                <a16:creationId xmlns:a16="http://schemas.microsoft.com/office/drawing/2014/main" id="{66A9A6DF-3763-3CCF-90BF-390EEEDB4D55}"/>
              </a:ext>
            </a:extLst>
          </p:cNvPr>
          <p:cNvPicPr>
            <a:picLocks noChangeAspect="1"/>
          </p:cNvPicPr>
          <p:nvPr userDrawn="1"/>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52322957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61" r:id="rId4"/>
    <p:sldLayoutId id="2147483662" r:id="rId5"/>
    <p:sldLayoutId id="2147483663" r:id="rId6"/>
    <p:sldLayoutId id="2147483650" r:id="rId7"/>
    <p:sldLayoutId id="2147483664" r:id="rId8"/>
    <p:sldLayoutId id="2147483652" r:id="rId9"/>
    <p:sldLayoutId id="2147483665" r:id="rId10"/>
    <p:sldLayoutId id="2147483666" r:id="rId11"/>
    <p:sldLayoutId id="2147483667" r:id="rId12"/>
    <p:sldLayoutId id="2147483673" r:id="rId13"/>
    <p:sldLayoutId id="2147483669" r:id="rId14"/>
    <p:sldLayoutId id="2147483676" r:id="rId15"/>
    <p:sldLayoutId id="2147483668" r:id="rId16"/>
    <p:sldLayoutId id="2147483671" r:id="rId17"/>
    <p:sldLayoutId id="2147483672" r:id="rId18"/>
    <p:sldLayoutId id="2147483670" r:id="rId19"/>
    <p:sldLayoutId id="2147483674" r:id="rId20"/>
    <p:sldLayoutId id="2147483675" r:id="rId21"/>
    <p:sldLayoutId id="2147483679" r:id="rId22"/>
    <p:sldLayoutId id="2147483681" r:id="rId23"/>
    <p:sldLayoutId id="2147483682" r:id="rId24"/>
    <p:sldLayoutId id="2147483680" r:id="rId25"/>
    <p:sldLayoutId id="2147483677" r:id="rId26"/>
    <p:sldLayoutId id="2147483678" r:id="rId27"/>
    <p:sldLayoutId id="2147483654" r:id="rId28"/>
    <p:sldLayoutId id="2147483655" r:id="rId29"/>
  </p:sldLayoutIdLst>
  <p:hf hdr="0" dt="0"/>
  <p:txStyles>
    <p:title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95000"/>
        </a:lnSpc>
        <a:spcBef>
          <a:spcPts val="600"/>
        </a:spcBef>
        <a:spcAft>
          <a:spcPts val="600"/>
        </a:spcAft>
        <a:buFont typeface="Arial" panose="020B0604020202020204" pitchFamily="34" charset="0"/>
        <a:buNone/>
        <a:defRPr sz="2000" b="1" i="0" kern="1200">
          <a:solidFill>
            <a:schemeClr val="accent1"/>
          </a:solidFill>
          <a:latin typeface="SLB Sans" panose="02000503040000020004" pitchFamily="2" charset="0"/>
          <a:ea typeface="+mn-ea"/>
          <a:cs typeface="+mn-cs"/>
        </a:defRPr>
      </a:lvl1pPr>
      <a:lvl2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accent1"/>
          </a:solidFill>
          <a:latin typeface="SLB Sans Book" panose="02000503040000020004" pitchFamily="2" charset="0"/>
          <a:ea typeface="+mn-ea"/>
          <a:cs typeface="+mn-cs"/>
        </a:defRPr>
      </a:lvl2pPr>
      <a:lvl3pPr marL="342900" indent="-342900" algn="l" defTabSz="914400" rtl="0" eaLnBrk="1" latinLnBrk="0" hangingPunct="1">
        <a:lnSpc>
          <a:spcPct val="95000"/>
        </a:lnSpc>
        <a:spcBef>
          <a:spcPts val="0"/>
        </a:spcBef>
        <a:spcAft>
          <a:spcPts val="600"/>
        </a:spcAft>
        <a:buFont typeface="SLB Sans Book" panose="02000503040000020004" pitchFamily="2" charset="0"/>
        <a:buChar char="→"/>
        <a:defRPr sz="2000" b="0" kern="1200">
          <a:solidFill>
            <a:schemeClr val="accent1"/>
          </a:solidFill>
          <a:latin typeface="SLB Sans Book" panose="02000503040000020004" pitchFamily="2" charset="0"/>
          <a:ea typeface="+mn-ea"/>
          <a:cs typeface="+mn-cs"/>
        </a:defRPr>
      </a:lvl3pPr>
      <a:lvl4pPr marL="684000" indent="-342000" algn="l" defTabSz="914400" rtl="0" eaLnBrk="1" latinLnBrk="0" hangingPunct="1">
        <a:lnSpc>
          <a:spcPct val="95000"/>
        </a:lnSpc>
        <a:spcBef>
          <a:spcPts val="0"/>
        </a:spcBef>
        <a:spcAft>
          <a:spcPts val="600"/>
        </a:spcAft>
        <a:buFont typeface="SLB Sans Book" panose="02000503040000020004" pitchFamily="2" charset="0"/>
        <a:buChar char="−"/>
        <a:tabLst/>
        <a:defRPr sz="1800" b="0" kern="1200">
          <a:solidFill>
            <a:schemeClr val="accent1"/>
          </a:solidFill>
          <a:latin typeface="SLB Sans Book" panose="02000503040000020004" pitchFamily="2" charset="0"/>
          <a:ea typeface="+mn-ea"/>
          <a:cs typeface="+mn-cs"/>
        </a:defRPr>
      </a:lvl4pPr>
      <a:lvl5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accent1"/>
          </a:solidFill>
          <a:latin typeface="SLB Sans Book"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2" userDrawn="1">
          <p15:clr>
            <a:srgbClr val="F26B43"/>
          </p15:clr>
        </p15:guide>
        <p15:guide id="2" pos="288" userDrawn="1">
          <p15:clr>
            <a:srgbClr val="F26B43"/>
          </p15:clr>
        </p15:guide>
        <p15:guide id="3" pos="7479" userDrawn="1">
          <p15:clr>
            <a:srgbClr val="F26B43"/>
          </p15:clr>
        </p15:guide>
        <p15:guide id="4" pos="4028" userDrawn="1">
          <p15:clr>
            <a:srgbClr val="F26B43"/>
          </p15:clr>
        </p15:guide>
        <p15:guide id="5" pos="2588" userDrawn="1">
          <p15:clr>
            <a:srgbClr val="F26B43"/>
          </p15:clr>
        </p15:guide>
        <p15:guide id="6" pos="5180" userDrawn="1">
          <p15:clr>
            <a:srgbClr val="F26B43"/>
          </p15:clr>
        </p15:guide>
        <p15:guide id="7" orient="horz" pos="288" userDrawn="1">
          <p15:clr>
            <a:srgbClr val="F26B43"/>
          </p15:clr>
        </p15:guide>
        <p15:guide id="10" orient="horz" pos="4028" userDrawn="1">
          <p15:clr>
            <a:srgbClr val="F26B43"/>
          </p15:clr>
        </p15:guide>
        <p15:guide id="11" orient="horz" pos="1436" userDrawn="1">
          <p15:clr>
            <a:srgbClr val="F26B43"/>
          </p15:clr>
        </p15:guide>
        <p15:guide id="12" orient="horz" pos="1152" userDrawn="1">
          <p15:clr>
            <a:srgbClr val="F26B43"/>
          </p15:clr>
        </p15:guide>
        <p15:guide id="13" orient="horz" pos="867" userDrawn="1">
          <p15:clr>
            <a:srgbClr val="F26B43"/>
          </p15:clr>
        </p15:guide>
        <p15:guide id="14" orient="horz" pos="576" userDrawn="1">
          <p15:clr>
            <a:srgbClr val="F26B43"/>
          </p15:clr>
        </p15:guide>
        <p15:guide id="15" orient="horz" pos="1728" userDrawn="1">
          <p15:clr>
            <a:srgbClr val="F26B43"/>
          </p15:clr>
        </p15:guide>
        <p15:guide id="16" orient="horz" pos="2302" userDrawn="1">
          <p15:clr>
            <a:srgbClr val="F26B43"/>
          </p15:clr>
        </p15:guide>
        <p15:guide id="17" orient="horz" pos="2588" userDrawn="1">
          <p15:clr>
            <a:srgbClr val="F26B43"/>
          </p15:clr>
        </p15:guide>
        <p15:guide id="18" orient="horz" pos="2878" userDrawn="1">
          <p15:clr>
            <a:srgbClr val="F26B43"/>
          </p15:clr>
        </p15:guide>
        <p15:guide id="19" orient="horz" pos="3164" userDrawn="1">
          <p15:clr>
            <a:srgbClr val="F26B43"/>
          </p15:clr>
        </p15:guide>
        <p15:guide id="20" orient="horz" pos="3454" userDrawn="1">
          <p15:clr>
            <a:srgbClr val="F26B43"/>
          </p15:clr>
        </p15:guide>
        <p15:guide id="21" orient="horz" pos="3740" userDrawn="1">
          <p15:clr>
            <a:srgbClr val="F26B43"/>
          </p15:clr>
        </p15:guide>
        <p15:guide id="22" pos="6903" userDrawn="1">
          <p15:clr>
            <a:srgbClr val="F26B43"/>
          </p15:clr>
        </p15:guide>
        <p15:guide id="23" pos="6620" userDrawn="1">
          <p15:clr>
            <a:srgbClr val="F26B43"/>
          </p15:clr>
        </p15:guide>
        <p15:guide id="24" pos="6327" userDrawn="1">
          <p15:clr>
            <a:srgbClr val="F26B43"/>
          </p15:clr>
        </p15:guide>
        <p15:guide id="25" pos="6044" userDrawn="1">
          <p15:clr>
            <a:srgbClr val="F26B43"/>
          </p15:clr>
        </p15:guide>
        <p15:guide id="26" pos="5751" userDrawn="1">
          <p15:clr>
            <a:srgbClr val="F26B43"/>
          </p15:clr>
        </p15:guide>
        <p15:guide id="27" pos="5468" userDrawn="1">
          <p15:clr>
            <a:srgbClr val="F26B43"/>
          </p15:clr>
        </p15:guide>
        <p15:guide id="28" pos="576" userDrawn="1">
          <p15:clr>
            <a:srgbClr val="F26B43"/>
          </p15:clr>
        </p15:guide>
        <p15:guide id="29" pos="864" userDrawn="1">
          <p15:clr>
            <a:srgbClr val="F26B43"/>
          </p15:clr>
        </p15:guide>
        <p15:guide id="30" pos="1152" userDrawn="1">
          <p15:clr>
            <a:srgbClr val="F26B43"/>
          </p15:clr>
        </p15:guide>
        <p15:guide id="31" pos="1436" userDrawn="1">
          <p15:clr>
            <a:srgbClr val="F26B43"/>
          </p15:clr>
        </p15:guide>
        <p15:guide id="32" pos="1728" userDrawn="1">
          <p15:clr>
            <a:srgbClr val="F26B43"/>
          </p15:clr>
        </p15:guide>
        <p15:guide id="33" pos="2012" userDrawn="1">
          <p15:clr>
            <a:srgbClr val="F26B43"/>
          </p15:clr>
        </p15:guide>
        <p15:guide id="34" pos="2304" userDrawn="1">
          <p15:clr>
            <a:srgbClr val="F26B43"/>
          </p15:clr>
        </p15:guide>
        <p15:guide id="35" pos="2880" userDrawn="1">
          <p15:clr>
            <a:srgbClr val="F26B43"/>
          </p15:clr>
        </p15:guide>
        <p15:guide id="36" pos="3164" userDrawn="1">
          <p15:clr>
            <a:srgbClr val="F26B43"/>
          </p15:clr>
        </p15:guide>
        <p15:guide id="37" pos="3454" userDrawn="1">
          <p15:clr>
            <a:srgbClr val="F26B43"/>
          </p15:clr>
        </p15:guide>
        <p15:guide id="38" pos="3740" userDrawn="1">
          <p15:clr>
            <a:srgbClr val="F26B43"/>
          </p15:clr>
        </p15:guide>
        <p15:guide id="39" pos="4316" userDrawn="1">
          <p15:clr>
            <a:srgbClr val="F26B43"/>
          </p15:clr>
        </p15:guide>
        <p15:guide id="40" pos="4599" userDrawn="1">
          <p15:clr>
            <a:srgbClr val="F26B43"/>
          </p15:clr>
        </p15:guide>
        <p15:guide id="41" pos="4892" userDrawn="1">
          <p15:clr>
            <a:srgbClr val="F26B43"/>
          </p15:clr>
        </p15:guide>
        <p15:guide id="42" pos="719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49EABB9-5766-FE25-E328-FE5B7131BF60}"/>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ABDE3E0C-92A3-427B-ED53-25D02A3C956C}"/>
              </a:ext>
            </a:extLst>
          </p:cNvPr>
          <p:cNvSpPr>
            <a:spLocks noGrp="1"/>
          </p:cNvSpPr>
          <p:nvPr>
            <p:ph type="title"/>
          </p:nvPr>
        </p:nvSpPr>
        <p:spPr>
          <a:xfrm>
            <a:off x="457200" y="412363"/>
            <a:ext cx="3200400" cy="3696087"/>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68FA5F5-A6F4-83D6-C2D2-CBF04F8F21BA}"/>
              </a:ext>
            </a:extLst>
          </p:cNvPr>
          <p:cNvSpPr>
            <a:spLocks noGrp="1"/>
          </p:cNvSpPr>
          <p:nvPr>
            <p:ph type="body" idx="1"/>
          </p:nvPr>
        </p:nvSpPr>
        <p:spPr>
          <a:xfrm>
            <a:off x="4576042" y="422313"/>
            <a:ext cx="7296870" cy="55149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B512F1DC-96E6-798D-E5E3-433DC019F114}"/>
              </a:ext>
            </a:extLst>
          </p:cNvPr>
          <p:cNvSpPr>
            <a:spLocks noGrp="1"/>
          </p:cNvSpPr>
          <p:nvPr>
            <p:ph type="ftr" sz="quarter" idx="3"/>
          </p:nvPr>
        </p:nvSpPr>
        <p:spPr>
          <a:xfrm>
            <a:off x="1828435" y="6391587"/>
            <a:ext cx="9367616" cy="249859"/>
          </a:xfrm>
          <a:prstGeom prst="rect">
            <a:avLst/>
          </a:prstGeom>
        </p:spPr>
        <p:txBody>
          <a:bodyPr vert="horz" lIns="0" tIns="0" rIns="0" bIns="0" rtlCol="0" anchor="b">
            <a:noAutofit/>
          </a:bodyPr>
          <a:lstStyle>
            <a:lvl1pPr algn="r">
              <a:defRPr sz="1000">
                <a:solidFill>
                  <a:schemeClr val="bg2">
                    <a:lumMod val="75000"/>
                  </a:schemeClr>
                </a:solidFill>
              </a:defRPr>
            </a:lvl1pPr>
          </a:lstStyle>
          <a:p>
            <a:r>
              <a:rPr lang="en-GB"/>
              <a:t>Private. In/External use only.</a:t>
            </a:r>
          </a:p>
        </p:txBody>
      </p:sp>
      <p:sp>
        <p:nvSpPr>
          <p:cNvPr id="6" name="Slide Number Placeholder 5">
            <a:extLst>
              <a:ext uri="{FF2B5EF4-FFF2-40B4-BE49-F238E27FC236}">
                <a16:creationId xmlns:a16="http://schemas.microsoft.com/office/drawing/2014/main" id="{316CEF17-E52C-6D06-E631-5CAE7673046D}"/>
              </a:ext>
            </a:extLst>
          </p:cNvPr>
          <p:cNvSpPr>
            <a:spLocks noGrp="1"/>
          </p:cNvSpPr>
          <p:nvPr>
            <p:ph type="sldNum" sz="quarter" idx="4"/>
          </p:nvPr>
        </p:nvSpPr>
        <p:spPr>
          <a:xfrm>
            <a:off x="11188701" y="6411198"/>
            <a:ext cx="684212" cy="230248"/>
          </a:xfrm>
          <a:prstGeom prst="rect">
            <a:avLst/>
          </a:prstGeom>
        </p:spPr>
        <p:txBody>
          <a:bodyPr vert="horz" lIns="0" tIns="0" rIns="0" bIns="0" rtlCol="0" anchor="b">
            <a:noAutofit/>
          </a:bodyPr>
          <a:lstStyle>
            <a:lvl1pPr algn="r">
              <a:defRPr sz="1000">
                <a:solidFill>
                  <a:schemeClr val="bg2">
                    <a:lumMod val="75000"/>
                  </a:schemeClr>
                </a:solidFill>
              </a:defRPr>
            </a:lvl1pPr>
          </a:lstStyle>
          <a:p>
            <a:fld id="{2737C662-D0ED-4587-B264-5C4F0D975D18}" type="slidenum">
              <a:rPr lang="en-GB" smtClean="0"/>
              <a:pPr/>
              <a:t>‹#›</a:t>
            </a:fld>
            <a:endParaRPr lang="en-GB"/>
          </a:p>
        </p:txBody>
      </p:sp>
      <p:pic>
        <p:nvPicPr>
          <p:cNvPr id="9" name="Graphic 8">
            <a:extLst>
              <a:ext uri="{FF2B5EF4-FFF2-40B4-BE49-F238E27FC236}">
                <a16:creationId xmlns:a16="http://schemas.microsoft.com/office/drawing/2014/main" id="{A9DCADAA-AE45-1053-A04D-8E58E58654FE}"/>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97112" y="5683251"/>
            <a:ext cx="1240572" cy="872814"/>
          </a:xfrm>
          <a:prstGeom prst="rect">
            <a:avLst/>
          </a:prstGeom>
        </p:spPr>
      </p:pic>
      <p:sp>
        <p:nvSpPr>
          <p:cNvPr id="7" name="Rectangle 6">
            <a:extLst>
              <a:ext uri="{FF2B5EF4-FFF2-40B4-BE49-F238E27FC236}">
                <a16:creationId xmlns:a16="http://schemas.microsoft.com/office/drawing/2014/main" id="{2CE87B34-49DE-4ED1-50CA-D16322CF287F}"/>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Graphic 7">
            <a:extLst>
              <a:ext uri="{FF2B5EF4-FFF2-40B4-BE49-F238E27FC236}">
                <a16:creationId xmlns:a16="http://schemas.microsoft.com/office/drawing/2014/main" id="{5DEAF3CC-E606-AEAB-04AC-7D26EEE1284E}"/>
              </a:ext>
            </a:extLst>
          </p:cNvPr>
          <p:cNvPicPr>
            <a:picLocks noChangeAspect="1"/>
          </p:cNvPicPr>
          <p:nvPr userDrawn="1"/>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324431132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Lst>
  <p:hf hdr="0" dt="0"/>
  <p:txStyles>
    <p:title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95000"/>
        </a:lnSpc>
        <a:spcBef>
          <a:spcPts val="600"/>
        </a:spcBef>
        <a:spcAft>
          <a:spcPts val="600"/>
        </a:spcAft>
        <a:buFont typeface="Arial" panose="020B0604020202020204" pitchFamily="34" charset="0"/>
        <a:buNone/>
        <a:defRPr sz="2000" b="1" i="0" kern="1200">
          <a:solidFill>
            <a:schemeClr val="tx1"/>
          </a:solidFill>
          <a:latin typeface="SLB Sans" panose="02000503040000020004" pitchFamily="2" charset="0"/>
          <a:ea typeface="+mn-ea"/>
          <a:cs typeface="+mn-cs"/>
        </a:defRPr>
      </a:lvl1pPr>
      <a:lvl2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tx1"/>
          </a:solidFill>
          <a:latin typeface="SLB Sans Book" panose="02000503040000020004" pitchFamily="2" charset="0"/>
          <a:ea typeface="+mn-ea"/>
          <a:cs typeface="+mn-cs"/>
        </a:defRPr>
      </a:lvl2pPr>
      <a:lvl3pPr marL="342900" indent="-342900" algn="l" defTabSz="914400" rtl="0" eaLnBrk="1" latinLnBrk="0" hangingPunct="1">
        <a:lnSpc>
          <a:spcPct val="95000"/>
        </a:lnSpc>
        <a:spcBef>
          <a:spcPts val="0"/>
        </a:spcBef>
        <a:spcAft>
          <a:spcPts val="600"/>
        </a:spcAft>
        <a:buFont typeface="SLB Sans Book" panose="02000503040000020004" pitchFamily="2" charset="0"/>
        <a:buChar char="→"/>
        <a:defRPr sz="2000" b="0" kern="1200">
          <a:solidFill>
            <a:schemeClr val="tx1"/>
          </a:solidFill>
          <a:latin typeface="SLB Sans Book" panose="02000503040000020004" pitchFamily="2" charset="0"/>
          <a:ea typeface="+mn-ea"/>
          <a:cs typeface="+mn-cs"/>
        </a:defRPr>
      </a:lvl3pPr>
      <a:lvl4pPr marL="684000" indent="-342000" algn="l" defTabSz="914400" rtl="0" eaLnBrk="1" latinLnBrk="0" hangingPunct="1">
        <a:lnSpc>
          <a:spcPct val="95000"/>
        </a:lnSpc>
        <a:spcBef>
          <a:spcPts val="0"/>
        </a:spcBef>
        <a:spcAft>
          <a:spcPts val="600"/>
        </a:spcAft>
        <a:buFont typeface="SLB Sans Book" panose="02000503040000020004" pitchFamily="2" charset="0"/>
        <a:buChar char="−"/>
        <a:tabLst/>
        <a:defRPr sz="1800" b="0" kern="1200">
          <a:solidFill>
            <a:schemeClr val="tx1"/>
          </a:solidFill>
          <a:latin typeface="SLB Sans Book" panose="02000503040000020004" pitchFamily="2" charset="0"/>
          <a:ea typeface="+mn-ea"/>
          <a:cs typeface="+mn-cs"/>
        </a:defRPr>
      </a:lvl4pPr>
      <a:lvl5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tx1"/>
          </a:solidFill>
          <a:latin typeface="SLB Sans Book"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orient="horz" pos="2012">
          <p15:clr>
            <a:srgbClr val="F26B43"/>
          </p15:clr>
        </p15:guide>
        <p15:guide id="44" pos="288">
          <p15:clr>
            <a:srgbClr val="F26B43"/>
          </p15:clr>
        </p15:guide>
        <p15:guide id="45" pos="7479">
          <p15:clr>
            <a:srgbClr val="F26B43"/>
          </p15:clr>
        </p15:guide>
        <p15:guide id="46" pos="4028">
          <p15:clr>
            <a:srgbClr val="F26B43"/>
          </p15:clr>
        </p15:guide>
        <p15:guide id="47" pos="2588">
          <p15:clr>
            <a:srgbClr val="F26B43"/>
          </p15:clr>
        </p15:guide>
        <p15:guide id="48" pos="5180">
          <p15:clr>
            <a:srgbClr val="F26B43"/>
          </p15:clr>
        </p15:guide>
        <p15:guide id="49" orient="horz" pos="288">
          <p15:clr>
            <a:srgbClr val="F26B43"/>
          </p15:clr>
        </p15:guide>
        <p15:guide id="50" orient="horz" pos="4028">
          <p15:clr>
            <a:srgbClr val="F26B43"/>
          </p15:clr>
        </p15:guide>
        <p15:guide id="51" orient="horz" pos="1436">
          <p15:clr>
            <a:srgbClr val="F26B43"/>
          </p15:clr>
        </p15:guide>
        <p15:guide id="52" orient="horz" pos="1152">
          <p15:clr>
            <a:srgbClr val="F26B43"/>
          </p15:clr>
        </p15:guide>
        <p15:guide id="53" orient="horz" pos="867">
          <p15:clr>
            <a:srgbClr val="F26B43"/>
          </p15:clr>
        </p15:guide>
        <p15:guide id="54" orient="horz" pos="576">
          <p15:clr>
            <a:srgbClr val="F26B43"/>
          </p15:clr>
        </p15:guide>
        <p15:guide id="55" orient="horz" pos="1728">
          <p15:clr>
            <a:srgbClr val="F26B43"/>
          </p15:clr>
        </p15:guide>
        <p15:guide id="56" orient="horz" pos="2302">
          <p15:clr>
            <a:srgbClr val="F26B43"/>
          </p15:clr>
        </p15:guide>
        <p15:guide id="57" orient="horz" pos="2588">
          <p15:clr>
            <a:srgbClr val="F26B43"/>
          </p15:clr>
        </p15:guide>
        <p15:guide id="58" orient="horz" pos="2878">
          <p15:clr>
            <a:srgbClr val="F26B43"/>
          </p15:clr>
        </p15:guide>
        <p15:guide id="59" orient="horz" pos="3164">
          <p15:clr>
            <a:srgbClr val="F26B43"/>
          </p15:clr>
        </p15:guide>
        <p15:guide id="60" orient="horz" pos="3454">
          <p15:clr>
            <a:srgbClr val="F26B43"/>
          </p15:clr>
        </p15:guide>
        <p15:guide id="61" orient="horz" pos="3740">
          <p15:clr>
            <a:srgbClr val="F26B43"/>
          </p15:clr>
        </p15:guide>
        <p15:guide id="62" pos="6903">
          <p15:clr>
            <a:srgbClr val="F26B43"/>
          </p15:clr>
        </p15:guide>
        <p15:guide id="63" pos="6620">
          <p15:clr>
            <a:srgbClr val="F26B43"/>
          </p15:clr>
        </p15:guide>
        <p15:guide id="64" pos="6327">
          <p15:clr>
            <a:srgbClr val="F26B43"/>
          </p15:clr>
        </p15:guide>
        <p15:guide id="65" pos="6044">
          <p15:clr>
            <a:srgbClr val="F26B43"/>
          </p15:clr>
        </p15:guide>
        <p15:guide id="66" pos="5751">
          <p15:clr>
            <a:srgbClr val="F26B43"/>
          </p15:clr>
        </p15:guide>
        <p15:guide id="67" pos="5468">
          <p15:clr>
            <a:srgbClr val="F26B43"/>
          </p15:clr>
        </p15:guide>
        <p15:guide id="68" pos="576">
          <p15:clr>
            <a:srgbClr val="F26B43"/>
          </p15:clr>
        </p15:guide>
        <p15:guide id="69" pos="864">
          <p15:clr>
            <a:srgbClr val="F26B43"/>
          </p15:clr>
        </p15:guide>
        <p15:guide id="70" pos="1152">
          <p15:clr>
            <a:srgbClr val="F26B43"/>
          </p15:clr>
        </p15:guide>
        <p15:guide id="71" pos="1436">
          <p15:clr>
            <a:srgbClr val="F26B43"/>
          </p15:clr>
        </p15:guide>
        <p15:guide id="72" pos="1728">
          <p15:clr>
            <a:srgbClr val="F26B43"/>
          </p15:clr>
        </p15:guide>
        <p15:guide id="73" pos="2012">
          <p15:clr>
            <a:srgbClr val="F26B43"/>
          </p15:clr>
        </p15:guide>
        <p15:guide id="74" pos="2304">
          <p15:clr>
            <a:srgbClr val="F26B43"/>
          </p15:clr>
        </p15:guide>
        <p15:guide id="75" pos="2880">
          <p15:clr>
            <a:srgbClr val="F26B43"/>
          </p15:clr>
        </p15:guide>
        <p15:guide id="76" pos="3164">
          <p15:clr>
            <a:srgbClr val="F26B43"/>
          </p15:clr>
        </p15:guide>
        <p15:guide id="77" pos="3454">
          <p15:clr>
            <a:srgbClr val="F26B43"/>
          </p15:clr>
        </p15:guide>
        <p15:guide id="78" pos="3740">
          <p15:clr>
            <a:srgbClr val="F26B43"/>
          </p15:clr>
        </p15:guide>
        <p15:guide id="79" pos="4316">
          <p15:clr>
            <a:srgbClr val="F26B43"/>
          </p15:clr>
        </p15:guide>
        <p15:guide id="80" pos="4599">
          <p15:clr>
            <a:srgbClr val="F26B43"/>
          </p15:clr>
        </p15:guide>
        <p15:guide id="81" pos="4892">
          <p15:clr>
            <a:srgbClr val="F26B43"/>
          </p15:clr>
        </p15:guide>
        <p15:guide id="82" pos="71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49EABB9-5766-FE25-E328-FE5B7131BF60}"/>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ABDE3E0C-92A3-427B-ED53-25D02A3C956C}"/>
              </a:ext>
            </a:extLst>
          </p:cNvPr>
          <p:cNvSpPr>
            <a:spLocks noGrp="1"/>
          </p:cNvSpPr>
          <p:nvPr>
            <p:ph type="title"/>
          </p:nvPr>
        </p:nvSpPr>
        <p:spPr>
          <a:xfrm>
            <a:off x="457200" y="412363"/>
            <a:ext cx="3200400" cy="3696087"/>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68FA5F5-A6F4-83D6-C2D2-CBF04F8F21BA}"/>
              </a:ext>
            </a:extLst>
          </p:cNvPr>
          <p:cNvSpPr>
            <a:spLocks noGrp="1"/>
          </p:cNvSpPr>
          <p:nvPr>
            <p:ph type="body" idx="1"/>
          </p:nvPr>
        </p:nvSpPr>
        <p:spPr>
          <a:xfrm>
            <a:off x="4576042" y="422313"/>
            <a:ext cx="7296870" cy="55149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B512F1DC-96E6-798D-E5E3-433DC019F114}"/>
              </a:ext>
            </a:extLst>
          </p:cNvPr>
          <p:cNvSpPr>
            <a:spLocks noGrp="1"/>
          </p:cNvSpPr>
          <p:nvPr>
            <p:ph type="ftr" sz="quarter" idx="3"/>
          </p:nvPr>
        </p:nvSpPr>
        <p:spPr>
          <a:xfrm>
            <a:off x="1828435" y="6391587"/>
            <a:ext cx="9367616" cy="249859"/>
          </a:xfrm>
          <a:prstGeom prst="rect">
            <a:avLst/>
          </a:prstGeom>
        </p:spPr>
        <p:txBody>
          <a:bodyPr vert="horz" lIns="0" tIns="0" rIns="0" bIns="0" rtlCol="0" anchor="b">
            <a:noAutofit/>
          </a:bodyPr>
          <a:lstStyle>
            <a:lvl1pPr algn="r">
              <a:defRPr sz="1000">
                <a:solidFill>
                  <a:schemeClr val="bg2">
                    <a:lumMod val="75000"/>
                  </a:schemeClr>
                </a:solidFill>
              </a:defRPr>
            </a:lvl1p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316CEF17-E52C-6D06-E631-5CAE7673046D}"/>
              </a:ext>
            </a:extLst>
          </p:cNvPr>
          <p:cNvSpPr>
            <a:spLocks noGrp="1"/>
          </p:cNvSpPr>
          <p:nvPr>
            <p:ph type="sldNum" sz="quarter" idx="4"/>
          </p:nvPr>
        </p:nvSpPr>
        <p:spPr>
          <a:xfrm>
            <a:off x="11188701" y="6411198"/>
            <a:ext cx="684212" cy="230248"/>
          </a:xfrm>
          <a:prstGeom prst="rect">
            <a:avLst/>
          </a:prstGeom>
        </p:spPr>
        <p:txBody>
          <a:bodyPr vert="horz" lIns="0" tIns="0" rIns="0" bIns="0" rtlCol="0" anchor="b">
            <a:noAutofit/>
          </a:bodyPr>
          <a:lstStyle>
            <a:lvl1pPr algn="r">
              <a:defRPr sz="1000">
                <a:solidFill>
                  <a:schemeClr val="bg2">
                    <a:lumMod val="75000"/>
                  </a:schemeClr>
                </a:solidFill>
              </a:defRPr>
            </a:lvl1pPr>
          </a:lstStyle>
          <a:p>
            <a:fld id="{2737C662-D0ED-4587-B264-5C4F0D975D18}" type="slidenum">
              <a:rPr lang="en-GB" smtClean="0"/>
              <a:pPr/>
              <a:t>‹#›</a:t>
            </a:fld>
            <a:endParaRPr lang="en-GB"/>
          </a:p>
        </p:txBody>
      </p:sp>
      <p:pic>
        <p:nvPicPr>
          <p:cNvPr id="9" name="Graphic 8">
            <a:extLst>
              <a:ext uri="{FF2B5EF4-FFF2-40B4-BE49-F238E27FC236}">
                <a16:creationId xmlns:a16="http://schemas.microsoft.com/office/drawing/2014/main" id="{A9DCADAA-AE45-1053-A04D-8E58E58654FE}"/>
              </a:ext>
            </a:extLst>
          </p:cNvPr>
          <p:cNvPicPr>
            <a:picLocks noChangeAspect="1"/>
          </p:cNvPicPr>
          <p:nvPr userDrawn="1"/>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077642471"/>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Lst>
  <p:hf hdr="0" dt="0"/>
  <p:txStyles>
    <p:title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95000"/>
        </a:lnSpc>
        <a:spcBef>
          <a:spcPts val="600"/>
        </a:spcBef>
        <a:spcAft>
          <a:spcPts val="600"/>
        </a:spcAft>
        <a:buFont typeface="Arial" panose="020B0604020202020204" pitchFamily="34" charset="0"/>
        <a:buNone/>
        <a:defRPr sz="2000" b="1" i="0" kern="1200">
          <a:solidFill>
            <a:schemeClr val="tx1"/>
          </a:solidFill>
          <a:latin typeface="SLB Sans" panose="02000503040000020004" pitchFamily="2" charset="0"/>
          <a:ea typeface="+mn-ea"/>
          <a:cs typeface="+mn-cs"/>
        </a:defRPr>
      </a:lvl1pPr>
      <a:lvl2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tx1"/>
          </a:solidFill>
          <a:latin typeface="SLB Sans Book" panose="02000503040000020004" pitchFamily="2" charset="0"/>
          <a:ea typeface="+mn-ea"/>
          <a:cs typeface="+mn-cs"/>
        </a:defRPr>
      </a:lvl2pPr>
      <a:lvl3pPr marL="342900" indent="-342900" algn="l" defTabSz="914400" rtl="0" eaLnBrk="1" latinLnBrk="0" hangingPunct="1">
        <a:lnSpc>
          <a:spcPct val="95000"/>
        </a:lnSpc>
        <a:spcBef>
          <a:spcPts val="0"/>
        </a:spcBef>
        <a:spcAft>
          <a:spcPts val="600"/>
        </a:spcAft>
        <a:buFont typeface="SLB Sans Book" panose="02000503040000020004" pitchFamily="2" charset="0"/>
        <a:buChar char="→"/>
        <a:defRPr sz="2000" b="0" kern="1200">
          <a:solidFill>
            <a:schemeClr val="tx1"/>
          </a:solidFill>
          <a:latin typeface="SLB Sans Book" panose="02000503040000020004" pitchFamily="2" charset="0"/>
          <a:ea typeface="+mn-ea"/>
          <a:cs typeface="+mn-cs"/>
        </a:defRPr>
      </a:lvl3pPr>
      <a:lvl4pPr marL="684000" indent="-342000" algn="l" defTabSz="914400" rtl="0" eaLnBrk="1" latinLnBrk="0" hangingPunct="1">
        <a:lnSpc>
          <a:spcPct val="95000"/>
        </a:lnSpc>
        <a:spcBef>
          <a:spcPts val="0"/>
        </a:spcBef>
        <a:spcAft>
          <a:spcPts val="600"/>
        </a:spcAft>
        <a:buFont typeface="SLB Sans Book" panose="02000503040000020004" pitchFamily="2" charset="0"/>
        <a:buChar char="−"/>
        <a:tabLst/>
        <a:defRPr sz="1800" b="0" kern="1200">
          <a:solidFill>
            <a:schemeClr val="tx1"/>
          </a:solidFill>
          <a:latin typeface="SLB Sans Book" panose="02000503040000020004" pitchFamily="2" charset="0"/>
          <a:ea typeface="+mn-ea"/>
          <a:cs typeface="+mn-cs"/>
        </a:defRPr>
      </a:lvl4pPr>
      <a:lvl5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tx1"/>
          </a:solidFill>
          <a:latin typeface="SLB Sans Book"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2">
          <p15:clr>
            <a:srgbClr val="F26B43"/>
          </p15:clr>
        </p15:guide>
        <p15:guide id="2" pos="288">
          <p15:clr>
            <a:srgbClr val="F26B43"/>
          </p15:clr>
        </p15:guide>
        <p15:guide id="3" pos="7479">
          <p15:clr>
            <a:srgbClr val="F26B43"/>
          </p15:clr>
        </p15:guide>
        <p15:guide id="4" pos="4028">
          <p15:clr>
            <a:srgbClr val="F26B43"/>
          </p15:clr>
        </p15:guide>
        <p15:guide id="5" pos="2588">
          <p15:clr>
            <a:srgbClr val="F26B43"/>
          </p15:clr>
        </p15:guide>
        <p15:guide id="6" pos="5180">
          <p15:clr>
            <a:srgbClr val="F26B43"/>
          </p15:clr>
        </p15:guide>
        <p15:guide id="7" orient="horz" pos="288">
          <p15:clr>
            <a:srgbClr val="F26B43"/>
          </p15:clr>
        </p15:guide>
        <p15:guide id="10" orient="horz" pos="4028">
          <p15:clr>
            <a:srgbClr val="F26B43"/>
          </p15:clr>
        </p15:guide>
        <p15:guide id="11" orient="horz" pos="1436">
          <p15:clr>
            <a:srgbClr val="F26B43"/>
          </p15:clr>
        </p15:guide>
        <p15:guide id="12" orient="horz" pos="1152">
          <p15:clr>
            <a:srgbClr val="F26B43"/>
          </p15:clr>
        </p15:guide>
        <p15:guide id="13" orient="horz" pos="867">
          <p15:clr>
            <a:srgbClr val="F26B43"/>
          </p15:clr>
        </p15:guide>
        <p15:guide id="14" orient="horz" pos="576">
          <p15:clr>
            <a:srgbClr val="F26B43"/>
          </p15:clr>
        </p15:guide>
        <p15:guide id="15" orient="horz" pos="1728">
          <p15:clr>
            <a:srgbClr val="F26B43"/>
          </p15:clr>
        </p15:guide>
        <p15:guide id="16" orient="horz" pos="2302">
          <p15:clr>
            <a:srgbClr val="F26B43"/>
          </p15:clr>
        </p15:guide>
        <p15:guide id="17" orient="horz" pos="2588">
          <p15:clr>
            <a:srgbClr val="F26B43"/>
          </p15:clr>
        </p15:guide>
        <p15:guide id="18" orient="horz" pos="2878">
          <p15:clr>
            <a:srgbClr val="F26B43"/>
          </p15:clr>
        </p15:guide>
        <p15:guide id="19" orient="horz" pos="3164">
          <p15:clr>
            <a:srgbClr val="F26B43"/>
          </p15:clr>
        </p15:guide>
        <p15:guide id="20" orient="horz" pos="3454">
          <p15:clr>
            <a:srgbClr val="F26B43"/>
          </p15:clr>
        </p15:guide>
        <p15:guide id="21" orient="horz" pos="3740">
          <p15:clr>
            <a:srgbClr val="F26B43"/>
          </p15:clr>
        </p15:guide>
        <p15:guide id="22" pos="6903">
          <p15:clr>
            <a:srgbClr val="F26B43"/>
          </p15:clr>
        </p15:guide>
        <p15:guide id="23" pos="6620">
          <p15:clr>
            <a:srgbClr val="F26B43"/>
          </p15:clr>
        </p15:guide>
        <p15:guide id="24" pos="6327">
          <p15:clr>
            <a:srgbClr val="F26B43"/>
          </p15:clr>
        </p15:guide>
        <p15:guide id="25" pos="6044">
          <p15:clr>
            <a:srgbClr val="F26B43"/>
          </p15:clr>
        </p15:guide>
        <p15:guide id="26" pos="5751">
          <p15:clr>
            <a:srgbClr val="F26B43"/>
          </p15:clr>
        </p15:guide>
        <p15:guide id="27" pos="5468">
          <p15:clr>
            <a:srgbClr val="F26B43"/>
          </p15:clr>
        </p15:guide>
        <p15:guide id="28" pos="576">
          <p15:clr>
            <a:srgbClr val="F26B43"/>
          </p15:clr>
        </p15:guide>
        <p15:guide id="29" pos="864">
          <p15:clr>
            <a:srgbClr val="F26B43"/>
          </p15:clr>
        </p15:guide>
        <p15:guide id="30" pos="1152">
          <p15:clr>
            <a:srgbClr val="F26B43"/>
          </p15:clr>
        </p15:guide>
        <p15:guide id="31" pos="1436">
          <p15:clr>
            <a:srgbClr val="F26B43"/>
          </p15:clr>
        </p15:guide>
        <p15:guide id="32" pos="1728">
          <p15:clr>
            <a:srgbClr val="F26B43"/>
          </p15:clr>
        </p15:guide>
        <p15:guide id="33" pos="2012">
          <p15:clr>
            <a:srgbClr val="F26B43"/>
          </p15:clr>
        </p15:guide>
        <p15:guide id="34" pos="2304">
          <p15:clr>
            <a:srgbClr val="F26B43"/>
          </p15:clr>
        </p15:guide>
        <p15:guide id="35" pos="2880">
          <p15:clr>
            <a:srgbClr val="F26B43"/>
          </p15:clr>
        </p15:guide>
        <p15:guide id="36" pos="3164">
          <p15:clr>
            <a:srgbClr val="F26B43"/>
          </p15:clr>
        </p15:guide>
        <p15:guide id="37" pos="3454">
          <p15:clr>
            <a:srgbClr val="F26B43"/>
          </p15:clr>
        </p15:guide>
        <p15:guide id="38" pos="3740">
          <p15:clr>
            <a:srgbClr val="F26B43"/>
          </p15:clr>
        </p15:guide>
        <p15:guide id="39" pos="4316">
          <p15:clr>
            <a:srgbClr val="F26B43"/>
          </p15:clr>
        </p15:guide>
        <p15:guide id="40" pos="4599">
          <p15:clr>
            <a:srgbClr val="F26B43"/>
          </p15:clr>
        </p15:guide>
        <p15:guide id="41" pos="4892">
          <p15:clr>
            <a:srgbClr val="F26B43"/>
          </p15:clr>
        </p15:guide>
        <p15:guide id="42" pos="71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49EABB9-5766-FE25-E328-FE5B7131BF60}"/>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ABDE3E0C-92A3-427B-ED53-25D02A3C956C}"/>
              </a:ext>
            </a:extLst>
          </p:cNvPr>
          <p:cNvSpPr>
            <a:spLocks noGrp="1"/>
          </p:cNvSpPr>
          <p:nvPr>
            <p:ph type="title"/>
          </p:nvPr>
        </p:nvSpPr>
        <p:spPr>
          <a:xfrm>
            <a:off x="457200" y="412363"/>
            <a:ext cx="3200400" cy="3696087"/>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68FA5F5-A6F4-83D6-C2D2-CBF04F8F21BA}"/>
              </a:ext>
            </a:extLst>
          </p:cNvPr>
          <p:cNvSpPr>
            <a:spLocks noGrp="1"/>
          </p:cNvSpPr>
          <p:nvPr>
            <p:ph type="body" idx="1"/>
          </p:nvPr>
        </p:nvSpPr>
        <p:spPr>
          <a:xfrm>
            <a:off x="4576042" y="422313"/>
            <a:ext cx="7296870" cy="55149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B512F1DC-96E6-798D-E5E3-433DC019F114}"/>
              </a:ext>
            </a:extLst>
          </p:cNvPr>
          <p:cNvSpPr>
            <a:spLocks noGrp="1"/>
          </p:cNvSpPr>
          <p:nvPr>
            <p:ph type="ftr" sz="quarter" idx="3"/>
          </p:nvPr>
        </p:nvSpPr>
        <p:spPr>
          <a:xfrm>
            <a:off x="1828435" y="6391587"/>
            <a:ext cx="9367616" cy="249859"/>
          </a:xfrm>
          <a:prstGeom prst="rect">
            <a:avLst/>
          </a:prstGeom>
        </p:spPr>
        <p:txBody>
          <a:bodyPr vert="horz" lIns="0" tIns="0" rIns="0" bIns="0" rtlCol="0" anchor="b">
            <a:noAutofit/>
          </a:bodyPr>
          <a:lstStyle>
            <a:lvl1pPr algn="r">
              <a:defRPr sz="1000">
                <a:solidFill>
                  <a:schemeClr val="bg2">
                    <a:lumMod val="75000"/>
                  </a:schemeClr>
                </a:solidFill>
              </a:defRPr>
            </a:lvl1pPr>
          </a:lstStyle>
          <a:p>
            <a:r>
              <a:rPr lang="en-GB"/>
              <a:t>Global footer where sharing status is set. Internal use only.</a:t>
            </a:r>
          </a:p>
        </p:txBody>
      </p:sp>
      <p:sp>
        <p:nvSpPr>
          <p:cNvPr id="6" name="Slide Number Placeholder 5">
            <a:extLst>
              <a:ext uri="{FF2B5EF4-FFF2-40B4-BE49-F238E27FC236}">
                <a16:creationId xmlns:a16="http://schemas.microsoft.com/office/drawing/2014/main" id="{316CEF17-E52C-6D06-E631-5CAE7673046D}"/>
              </a:ext>
            </a:extLst>
          </p:cNvPr>
          <p:cNvSpPr>
            <a:spLocks noGrp="1"/>
          </p:cNvSpPr>
          <p:nvPr>
            <p:ph type="sldNum" sz="quarter" idx="4"/>
          </p:nvPr>
        </p:nvSpPr>
        <p:spPr>
          <a:xfrm>
            <a:off x="11188701" y="6411198"/>
            <a:ext cx="684212" cy="230248"/>
          </a:xfrm>
          <a:prstGeom prst="rect">
            <a:avLst/>
          </a:prstGeom>
        </p:spPr>
        <p:txBody>
          <a:bodyPr vert="horz" lIns="0" tIns="0" rIns="0" bIns="0" rtlCol="0" anchor="b">
            <a:noAutofit/>
          </a:bodyPr>
          <a:lstStyle>
            <a:lvl1pPr algn="r">
              <a:defRPr sz="1000">
                <a:solidFill>
                  <a:schemeClr val="bg2">
                    <a:lumMod val="75000"/>
                  </a:schemeClr>
                </a:solidFill>
              </a:defRPr>
            </a:lvl1pPr>
          </a:lstStyle>
          <a:p>
            <a:fld id="{2737C662-D0ED-4587-B264-5C4F0D975D18}" type="slidenum">
              <a:rPr lang="en-GB" smtClean="0"/>
              <a:pPr/>
              <a:t>‹#›</a:t>
            </a:fld>
            <a:endParaRPr lang="en-GB"/>
          </a:p>
        </p:txBody>
      </p:sp>
      <p:pic>
        <p:nvPicPr>
          <p:cNvPr id="9" name="Graphic 8">
            <a:extLst>
              <a:ext uri="{FF2B5EF4-FFF2-40B4-BE49-F238E27FC236}">
                <a16:creationId xmlns:a16="http://schemas.microsoft.com/office/drawing/2014/main" id="{A9DCADAA-AE45-1053-A04D-8E58E58654FE}"/>
              </a:ext>
            </a:extLst>
          </p:cNvPr>
          <p:cNvPicPr>
            <a:picLocks noChangeAspect="1"/>
          </p:cNvPicPr>
          <p:nvPr userDrawn="1"/>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419364052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Lst>
  <p:hf hdr="0" dt="0"/>
  <p:txStyles>
    <p:title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95000"/>
        </a:lnSpc>
        <a:spcBef>
          <a:spcPts val="600"/>
        </a:spcBef>
        <a:spcAft>
          <a:spcPts val="600"/>
        </a:spcAft>
        <a:buFont typeface="Arial" panose="020B0604020202020204" pitchFamily="34" charset="0"/>
        <a:buNone/>
        <a:defRPr sz="2000" b="1" i="0" kern="1200">
          <a:solidFill>
            <a:schemeClr val="tx1"/>
          </a:solidFill>
          <a:latin typeface="SLB Sans" panose="02000503040000020004" pitchFamily="2" charset="0"/>
          <a:ea typeface="+mn-ea"/>
          <a:cs typeface="+mn-cs"/>
        </a:defRPr>
      </a:lvl1pPr>
      <a:lvl2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tx1"/>
          </a:solidFill>
          <a:latin typeface="SLB Sans Book" panose="02000503040000020004" pitchFamily="2" charset="0"/>
          <a:ea typeface="+mn-ea"/>
          <a:cs typeface="+mn-cs"/>
        </a:defRPr>
      </a:lvl2pPr>
      <a:lvl3pPr marL="342900" indent="-342900" algn="l" defTabSz="914400" rtl="0" eaLnBrk="1" latinLnBrk="0" hangingPunct="1">
        <a:lnSpc>
          <a:spcPct val="95000"/>
        </a:lnSpc>
        <a:spcBef>
          <a:spcPts val="0"/>
        </a:spcBef>
        <a:spcAft>
          <a:spcPts val="600"/>
        </a:spcAft>
        <a:buFont typeface="SLB Sans Book" panose="02000503040000020004" pitchFamily="2" charset="0"/>
        <a:buChar char="→"/>
        <a:defRPr sz="2000" b="0" kern="1200">
          <a:solidFill>
            <a:schemeClr val="tx1"/>
          </a:solidFill>
          <a:latin typeface="SLB Sans Book" panose="02000503040000020004" pitchFamily="2" charset="0"/>
          <a:ea typeface="+mn-ea"/>
          <a:cs typeface="+mn-cs"/>
        </a:defRPr>
      </a:lvl3pPr>
      <a:lvl4pPr marL="684000" indent="-342000" algn="l" defTabSz="914400" rtl="0" eaLnBrk="1" latinLnBrk="0" hangingPunct="1">
        <a:lnSpc>
          <a:spcPct val="95000"/>
        </a:lnSpc>
        <a:spcBef>
          <a:spcPts val="0"/>
        </a:spcBef>
        <a:spcAft>
          <a:spcPts val="600"/>
        </a:spcAft>
        <a:buFont typeface="SLB Sans Book" panose="02000503040000020004" pitchFamily="2" charset="0"/>
        <a:buChar char="−"/>
        <a:tabLst/>
        <a:defRPr sz="1800" b="0" kern="1200">
          <a:solidFill>
            <a:schemeClr val="tx1"/>
          </a:solidFill>
          <a:latin typeface="SLB Sans Book" panose="02000503040000020004" pitchFamily="2" charset="0"/>
          <a:ea typeface="+mn-ea"/>
          <a:cs typeface="+mn-cs"/>
        </a:defRPr>
      </a:lvl4pPr>
      <a:lvl5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tx1"/>
          </a:solidFill>
          <a:latin typeface="SLB Sans Book"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2">
          <p15:clr>
            <a:srgbClr val="F26B43"/>
          </p15:clr>
        </p15:guide>
        <p15:guide id="2" pos="288">
          <p15:clr>
            <a:srgbClr val="F26B43"/>
          </p15:clr>
        </p15:guide>
        <p15:guide id="3" pos="7479">
          <p15:clr>
            <a:srgbClr val="F26B43"/>
          </p15:clr>
        </p15:guide>
        <p15:guide id="4" pos="4028">
          <p15:clr>
            <a:srgbClr val="F26B43"/>
          </p15:clr>
        </p15:guide>
        <p15:guide id="5" pos="2588">
          <p15:clr>
            <a:srgbClr val="F26B43"/>
          </p15:clr>
        </p15:guide>
        <p15:guide id="6" pos="5180">
          <p15:clr>
            <a:srgbClr val="F26B43"/>
          </p15:clr>
        </p15:guide>
        <p15:guide id="7" orient="horz" pos="288">
          <p15:clr>
            <a:srgbClr val="F26B43"/>
          </p15:clr>
        </p15:guide>
        <p15:guide id="10" orient="horz" pos="4028">
          <p15:clr>
            <a:srgbClr val="F26B43"/>
          </p15:clr>
        </p15:guide>
        <p15:guide id="11" orient="horz" pos="1436">
          <p15:clr>
            <a:srgbClr val="F26B43"/>
          </p15:clr>
        </p15:guide>
        <p15:guide id="12" orient="horz" pos="1152">
          <p15:clr>
            <a:srgbClr val="F26B43"/>
          </p15:clr>
        </p15:guide>
        <p15:guide id="13" orient="horz" pos="867">
          <p15:clr>
            <a:srgbClr val="F26B43"/>
          </p15:clr>
        </p15:guide>
        <p15:guide id="14" orient="horz" pos="576">
          <p15:clr>
            <a:srgbClr val="F26B43"/>
          </p15:clr>
        </p15:guide>
        <p15:guide id="15" orient="horz" pos="1728">
          <p15:clr>
            <a:srgbClr val="F26B43"/>
          </p15:clr>
        </p15:guide>
        <p15:guide id="16" orient="horz" pos="2302">
          <p15:clr>
            <a:srgbClr val="F26B43"/>
          </p15:clr>
        </p15:guide>
        <p15:guide id="17" orient="horz" pos="2588">
          <p15:clr>
            <a:srgbClr val="F26B43"/>
          </p15:clr>
        </p15:guide>
        <p15:guide id="18" orient="horz" pos="2878">
          <p15:clr>
            <a:srgbClr val="F26B43"/>
          </p15:clr>
        </p15:guide>
        <p15:guide id="19" orient="horz" pos="3164">
          <p15:clr>
            <a:srgbClr val="F26B43"/>
          </p15:clr>
        </p15:guide>
        <p15:guide id="20" orient="horz" pos="3454">
          <p15:clr>
            <a:srgbClr val="F26B43"/>
          </p15:clr>
        </p15:guide>
        <p15:guide id="21" orient="horz" pos="3740">
          <p15:clr>
            <a:srgbClr val="F26B43"/>
          </p15:clr>
        </p15:guide>
        <p15:guide id="22" pos="6903">
          <p15:clr>
            <a:srgbClr val="F26B43"/>
          </p15:clr>
        </p15:guide>
        <p15:guide id="23" pos="6620">
          <p15:clr>
            <a:srgbClr val="F26B43"/>
          </p15:clr>
        </p15:guide>
        <p15:guide id="24" pos="6327">
          <p15:clr>
            <a:srgbClr val="F26B43"/>
          </p15:clr>
        </p15:guide>
        <p15:guide id="25" pos="6044">
          <p15:clr>
            <a:srgbClr val="F26B43"/>
          </p15:clr>
        </p15:guide>
        <p15:guide id="26" pos="5751">
          <p15:clr>
            <a:srgbClr val="F26B43"/>
          </p15:clr>
        </p15:guide>
        <p15:guide id="27" pos="5468">
          <p15:clr>
            <a:srgbClr val="F26B43"/>
          </p15:clr>
        </p15:guide>
        <p15:guide id="28" pos="576">
          <p15:clr>
            <a:srgbClr val="F26B43"/>
          </p15:clr>
        </p15:guide>
        <p15:guide id="29" pos="864">
          <p15:clr>
            <a:srgbClr val="F26B43"/>
          </p15:clr>
        </p15:guide>
        <p15:guide id="30" pos="1152">
          <p15:clr>
            <a:srgbClr val="F26B43"/>
          </p15:clr>
        </p15:guide>
        <p15:guide id="31" pos="1436">
          <p15:clr>
            <a:srgbClr val="F26B43"/>
          </p15:clr>
        </p15:guide>
        <p15:guide id="32" pos="1728">
          <p15:clr>
            <a:srgbClr val="F26B43"/>
          </p15:clr>
        </p15:guide>
        <p15:guide id="33" pos="2012">
          <p15:clr>
            <a:srgbClr val="F26B43"/>
          </p15:clr>
        </p15:guide>
        <p15:guide id="34" pos="2304">
          <p15:clr>
            <a:srgbClr val="F26B43"/>
          </p15:clr>
        </p15:guide>
        <p15:guide id="35" pos="2880">
          <p15:clr>
            <a:srgbClr val="F26B43"/>
          </p15:clr>
        </p15:guide>
        <p15:guide id="36" pos="3164">
          <p15:clr>
            <a:srgbClr val="F26B43"/>
          </p15:clr>
        </p15:guide>
        <p15:guide id="37" pos="3454">
          <p15:clr>
            <a:srgbClr val="F26B43"/>
          </p15:clr>
        </p15:guide>
        <p15:guide id="38" pos="3740">
          <p15:clr>
            <a:srgbClr val="F26B43"/>
          </p15:clr>
        </p15:guide>
        <p15:guide id="39" pos="4316">
          <p15:clr>
            <a:srgbClr val="F26B43"/>
          </p15:clr>
        </p15:guide>
        <p15:guide id="40" pos="4599">
          <p15:clr>
            <a:srgbClr val="F26B43"/>
          </p15:clr>
        </p15:guide>
        <p15:guide id="41" pos="4892">
          <p15:clr>
            <a:srgbClr val="F26B43"/>
          </p15:clr>
        </p15:guide>
        <p15:guide id="42" pos="719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921001-5E97-9C8D-4A5B-C7F49C3524B6}"/>
              </a:ext>
            </a:extLst>
          </p:cNvPr>
          <p:cNvGraphicFramePr>
            <a:graphicFrameLocks noChangeAspect="1"/>
          </p:cNvGraphicFramePr>
          <p:nvPr userDrawn="1">
            <p:custDataLst>
              <p:tags r:id="rId24"/>
            </p:custDataLst>
            <p:extLst>
              <p:ext uri="{D42A27DB-BD31-4B8C-83A1-F6EECF244321}">
                <p14:modId xmlns:p14="http://schemas.microsoft.com/office/powerpoint/2010/main" val="708821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11" name="Object 10" hidden="1">
                        <a:extLst>
                          <a:ext uri="{FF2B5EF4-FFF2-40B4-BE49-F238E27FC236}">
                            <a16:creationId xmlns:a16="http://schemas.microsoft.com/office/drawing/2014/main" id="{F1921001-5E97-9C8D-4A5B-C7F49C3524B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49EABB9-5766-FE25-E328-FE5B7131BF60}"/>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ABDE3E0C-92A3-427B-ED53-25D02A3C956C}"/>
              </a:ext>
            </a:extLst>
          </p:cNvPr>
          <p:cNvSpPr>
            <a:spLocks noGrp="1"/>
          </p:cNvSpPr>
          <p:nvPr>
            <p:ph type="title"/>
          </p:nvPr>
        </p:nvSpPr>
        <p:spPr>
          <a:xfrm>
            <a:off x="457200" y="412363"/>
            <a:ext cx="3200400" cy="3696087"/>
          </a:xfrm>
          <a:prstGeom prst="rect">
            <a:avLst/>
          </a:prstGeom>
        </p:spPr>
        <p:txBody>
          <a:bodyPr vert="horz" lIns="0" tIns="0" rIns="0" bIns="0" rtlCol="0" anchor="t">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68FA5F5-A6F4-83D6-C2D2-CBF04F8F21BA}"/>
              </a:ext>
            </a:extLst>
          </p:cNvPr>
          <p:cNvSpPr>
            <a:spLocks noGrp="1"/>
          </p:cNvSpPr>
          <p:nvPr>
            <p:ph type="body" idx="1"/>
          </p:nvPr>
        </p:nvSpPr>
        <p:spPr>
          <a:xfrm>
            <a:off x="4576042" y="422313"/>
            <a:ext cx="7296870" cy="55149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B512F1DC-96E6-798D-E5E3-433DC019F114}"/>
              </a:ext>
            </a:extLst>
          </p:cNvPr>
          <p:cNvSpPr>
            <a:spLocks noGrp="1"/>
          </p:cNvSpPr>
          <p:nvPr>
            <p:ph type="ftr" sz="quarter" idx="3"/>
          </p:nvPr>
        </p:nvSpPr>
        <p:spPr>
          <a:xfrm>
            <a:off x="1828435" y="6598760"/>
            <a:ext cx="9367616" cy="249859"/>
          </a:xfrm>
          <a:prstGeom prst="rect">
            <a:avLst/>
          </a:prstGeom>
        </p:spPr>
        <p:txBody>
          <a:bodyPr vert="horz" lIns="0" tIns="0" rIns="0" bIns="0" rtlCol="0" anchor="b">
            <a:noAutofit/>
          </a:bodyPr>
          <a:lstStyle>
            <a:lvl1pPr algn="ctr">
              <a:defRPr sz="1000">
                <a:solidFill>
                  <a:schemeClr val="bg2">
                    <a:lumMod val="75000"/>
                  </a:schemeClr>
                </a:solidFill>
              </a:defRPr>
            </a:lvl1pPr>
          </a:lstStyle>
          <a:p>
            <a:r>
              <a:rPr lang="en-GB"/>
              <a:t>Private. In/External use only.</a:t>
            </a:r>
          </a:p>
        </p:txBody>
      </p:sp>
      <p:sp>
        <p:nvSpPr>
          <p:cNvPr id="6" name="Slide Number Placeholder 5">
            <a:extLst>
              <a:ext uri="{FF2B5EF4-FFF2-40B4-BE49-F238E27FC236}">
                <a16:creationId xmlns:a16="http://schemas.microsoft.com/office/drawing/2014/main" id="{316CEF17-E52C-6D06-E631-5CAE7673046D}"/>
              </a:ext>
            </a:extLst>
          </p:cNvPr>
          <p:cNvSpPr>
            <a:spLocks noGrp="1"/>
          </p:cNvSpPr>
          <p:nvPr>
            <p:ph type="sldNum" sz="quarter" idx="4"/>
          </p:nvPr>
        </p:nvSpPr>
        <p:spPr>
          <a:xfrm>
            <a:off x="11188701" y="6411198"/>
            <a:ext cx="684212" cy="230248"/>
          </a:xfrm>
          <a:prstGeom prst="rect">
            <a:avLst/>
          </a:prstGeom>
        </p:spPr>
        <p:txBody>
          <a:bodyPr vert="horz" lIns="0" tIns="0" rIns="0" bIns="0" rtlCol="0" anchor="b">
            <a:noAutofit/>
          </a:bodyPr>
          <a:lstStyle>
            <a:lvl1pPr algn="r">
              <a:defRPr sz="1000">
                <a:solidFill>
                  <a:schemeClr val="bg2">
                    <a:lumMod val="75000"/>
                  </a:schemeClr>
                </a:solidFill>
              </a:defRPr>
            </a:lvl1pPr>
          </a:lstStyle>
          <a:p>
            <a:fld id="{2737C662-D0ED-4587-B264-5C4F0D975D18}" type="slidenum">
              <a:rPr lang="en-GB" smtClean="0"/>
              <a:pPr/>
              <a:t>‹#›</a:t>
            </a:fld>
            <a:endParaRPr lang="en-GB"/>
          </a:p>
        </p:txBody>
      </p:sp>
      <p:pic>
        <p:nvPicPr>
          <p:cNvPr id="7" name="Graphic 6">
            <a:extLst>
              <a:ext uri="{FF2B5EF4-FFF2-40B4-BE49-F238E27FC236}">
                <a16:creationId xmlns:a16="http://schemas.microsoft.com/office/drawing/2014/main" id="{66A9A6DF-3763-3CCF-90BF-390EEEDB4D55}"/>
              </a:ext>
            </a:extLst>
          </p:cNvPr>
          <p:cNvPicPr>
            <a:picLocks noChangeAspect="1"/>
          </p:cNvPicPr>
          <p:nvPr userDrawn="1"/>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1068301156"/>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Lst>
  <p:hf hdr="0" dt="0"/>
  <p:txStyles>
    <p:title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95000"/>
        </a:lnSpc>
        <a:spcBef>
          <a:spcPts val="600"/>
        </a:spcBef>
        <a:spcAft>
          <a:spcPts val="600"/>
        </a:spcAft>
        <a:buFont typeface="Arial" panose="020B0604020202020204" pitchFamily="34" charset="0"/>
        <a:buNone/>
        <a:defRPr sz="2000" b="1" i="0" kern="1200">
          <a:solidFill>
            <a:schemeClr val="accent1"/>
          </a:solidFill>
          <a:latin typeface="SLB Sans" panose="02000503040000020004" pitchFamily="2" charset="0"/>
          <a:ea typeface="+mn-ea"/>
          <a:cs typeface="+mn-cs"/>
        </a:defRPr>
      </a:lvl1pPr>
      <a:lvl2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accent1"/>
          </a:solidFill>
          <a:latin typeface="SLB Sans Book" panose="02000503040000020004" pitchFamily="2" charset="0"/>
          <a:ea typeface="+mn-ea"/>
          <a:cs typeface="+mn-cs"/>
        </a:defRPr>
      </a:lvl2pPr>
      <a:lvl3pPr marL="342900" indent="-342900" algn="l" defTabSz="914400" rtl="0" eaLnBrk="1" latinLnBrk="0" hangingPunct="1">
        <a:lnSpc>
          <a:spcPct val="95000"/>
        </a:lnSpc>
        <a:spcBef>
          <a:spcPts val="0"/>
        </a:spcBef>
        <a:spcAft>
          <a:spcPts val="600"/>
        </a:spcAft>
        <a:buFont typeface="SLB Sans Book" panose="02000503040000020004" pitchFamily="2" charset="0"/>
        <a:buChar char="→"/>
        <a:defRPr sz="2000" b="0" kern="1200">
          <a:solidFill>
            <a:schemeClr val="accent1"/>
          </a:solidFill>
          <a:latin typeface="SLB Sans Book" panose="02000503040000020004" pitchFamily="2" charset="0"/>
          <a:ea typeface="+mn-ea"/>
          <a:cs typeface="+mn-cs"/>
        </a:defRPr>
      </a:lvl3pPr>
      <a:lvl4pPr marL="684000" indent="-342000" algn="l" defTabSz="914400" rtl="0" eaLnBrk="1" latinLnBrk="0" hangingPunct="1">
        <a:lnSpc>
          <a:spcPct val="95000"/>
        </a:lnSpc>
        <a:spcBef>
          <a:spcPts val="0"/>
        </a:spcBef>
        <a:spcAft>
          <a:spcPts val="600"/>
        </a:spcAft>
        <a:buFont typeface="SLB Sans Book" panose="02000503040000020004" pitchFamily="2" charset="0"/>
        <a:buChar char="−"/>
        <a:tabLst/>
        <a:defRPr sz="1800" b="0" kern="1200">
          <a:solidFill>
            <a:schemeClr val="accent1"/>
          </a:solidFill>
          <a:latin typeface="SLB Sans Book" panose="02000503040000020004" pitchFamily="2" charset="0"/>
          <a:ea typeface="+mn-ea"/>
          <a:cs typeface="+mn-cs"/>
        </a:defRPr>
      </a:lvl4pPr>
      <a:lvl5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accent1"/>
          </a:solidFill>
          <a:latin typeface="SLB Sans Book"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2">
          <p15:clr>
            <a:srgbClr val="F26B43"/>
          </p15:clr>
        </p15:guide>
        <p15:guide id="2" pos="288">
          <p15:clr>
            <a:srgbClr val="F26B43"/>
          </p15:clr>
        </p15:guide>
        <p15:guide id="3" pos="7479">
          <p15:clr>
            <a:srgbClr val="F26B43"/>
          </p15:clr>
        </p15:guide>
        <p15:guide id="4" pos="4028">
          <p15:clr>
            <a:srgbClr val="F26B43"/>
          </p15:clr>
        </p15:guide>
        <p15:guide id="5" pos="2588">
          <p15:clr>
            <a:srgbClr val="F26B43"/>
          </p15:clr>
        </p15:guide>
        <p15:guide id="6" pos="5180">
          <p15:clr>
            <a:srgbClr val="F26B43"/>
          </p15:clr>
        </p15:guide>
        <p15:guide id="7" orient="horz" pos="288">
          <p15:clr>
            <a:srgbClr val="F26B43"/>
          </p15:clr>
        </p15:guide>
        <p15:guide id="10" orient="horz" pos="4028">
          <p15:clr>
            <a:srgbClr val="F26B43"/>
          </p15:clr>
        </p15:guide>
        <p15:guide id="11" orient="horz" pos="1436">
          <p15:clr>
            <a:srgbClr val="F26B43"/>
          </p15:clr>
        </p15:guide>
        <p15:guide id="12" orient="horz" pos="1152">
          <p15:clr>
            <a:srgbClr val="F26B43"/>
          </p15:clr>
        </p15:guide>
        <p15:guide id="13" orient="horz" pos="867">
          <p15:clr>
            <a:srgbClr val="F26B43"/>
          </p15:clr>
        </p15:guide>
        <p15:guide id="14" orient="horz" pos="576">
          <p15:clr>
            <a:srgbClr val="F26B43"/>
          </p15:clr>
        </p15:guide>
        <p15:guide id="15" orient="horz" pos="1728">
          <p15:clr>
            <a:srgbClr val="F26B43"/>
          </p15:clr>
        </p15:guide>
        <p15:guide id="16" orient="horz" pos="2302">
          <p15:clr>
            <a:srgbClr val="F26B43"/>
          </p15:clr>
        </p15:guide>
        <p15:guide id="17" orient="horz" pos="2588">
          <p15:clr>
            <a:srgbClr val="F26B43"/>
          </p15:clr>
        </p15:guide>
        <p15:guide id="18" orient="horz" pos="2878">
          <p15:clr>
            <a:srgbClr val="F26B43"/>
          </p15:clr>
        </p15:guide>
        <p15:guide id="19" orient="horz" pos="3164">
          <p15:clr>
            <a:srgbClr val="F26B43"/>
          </p15:clr>
        </p15:guide>
        <p15:guide id="20" orient="horz" pos="3454">
          <p15:clr>
            <a:srgbClr val="F26B43"/>
          </p15:clr>
        </p15:guide>
        <p15:guide id="21" orient="horz" pos="3740">
          <p15:clr>
            <a:srgbClr val="F26B43"/>
          </p15:clr>
        </p15:guide>
        <p15:guide id="22" pos="6903">
          <p15:clr>
            <a:srgbClr val="F26B43"/>
          </p15:clr>
        </p15:guide>
        <p15:guide id="23" pos="6620">
          <p15:clr>
            <a:srgbClr val="F26B43"/>
          </p15:clr>
        </p15:guide>
        <p15:guide id="24" pos="6327">
          <p15:clr>
            <a:srgbClr val="F26B43"/>
          </p15:clr>
        </p15:guide>
        <p15:guide id="25" pos="6044">
          <p15:clr>
            <a:srgbClr val="F26B43"/>
          </p15:clr>
        </p15:guide>
        <p15:guide id="26" pos="5751">
          <p15:clr>
            <a:srgbClr val="F26B43"/>
          </p15:clr>
        </p15:guide>
        <p15:guide id="27" pos="5468">
          <p15:clr>
            <a:srgbClr val="F26B43"/>
          </p15:clr>
        </p15:guide>
        <p15:guide id="28" pos="576">
          <p15:clr>
            <a:srgbClr val="F26B43"/>
          </p15:clr>
        </p15:guide>
        <p15:guide id="29" pos="864">
          <p15:clr>
            <a:srgbClr val="F26B43"/>
          </p15:clr>
        </p15:guide>
        <p15:guide id="30" pos="1152">
          <p15:clr>
            <a:srgbClr val="F26B43"/>
          </p15:clr>
        </p15:guide>
        <p15:guide id="31" pos="1436">
          <p15:clr>
            <a:srgbClr val="F26B43"/>
          </p15:clr>
        </p15:guide>
        <p15:guide id="32" pos="1728">
          <p15:clr>
            <a:srgbClr val="F26B43"/>
          </p15:clr>
        </p15:guide>
        <p15:guide id="33" pos="2012">
          <p15:clr>
            <a:srgbClr val="F26B43"/>
          </p15:clr>
        </p15:guide>
        <p15:guide id="34" pos="2304">
          <p15:clr>
            <a:srgbClr val="F26B43"/>
          </p15:clr>
        </p15:guide>
        <p15:guide id="35" pos="2880">
          <p15:clr>
            <a:srgbClr val="F26B43"/>
          </p15:clr>
        </p15:guide>
        <p15:guide id="36" pos="3164">
          <p15:clr>
            <a:srgbClr val="F26B43"/>
          </p15:clr>
        </p15:guide>
        <p15:guide id="37" pos="3454">
          <p15:clr>
            <a:srgbClr val="F26B43"/>
          </p15:clr>
        </p15:guide>
        <p15:guide id="38" pos="3740">
          <p15:clr>
            <a:srgbClr val="F26B43"/>
          </p15:clr>
        </p15:guide>
        <p15:guide id="39" pos="4316">
          <p15:clr>
            <a:srgbClr val="F26B43"/>
          </p15:clr>
        </p15:guide>
        <p15:guide id="40" pos="4599">
          <p15:clr>
            <a:srgbClr val="F26B43"/>
          </p15:clr>
        </p15:guide>
        <p15:guide id="41" pos="4892">
          <p15:clr>
            <a:srgbClr val="F26B43"/>
          </p15:clr>
        </p15:guide>
        <p15:guide id="42" pos="719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4A8B7A1-30C2-BEA0-7E7B-610F7E8EC86C}"/>
              </a:ext>
            </a:extLst>
          </p:cNvPr>
          <p:cNvGraphicFramePr>
            <a:graphicFrameLocks noChangeAspect="1"/>
          </p:cNvGraphicFramePr>
          <p:nvPr userDrawn="1">
            <p:custDataLst>
              <p:tags r:id="rId35"/>
            </p:custDataLst>
            <p:extLst>
              <p:ext uri="{D42A27DB-BD31-4B8C-83A1-F6EECF244321}">
                <p14:modId xmlns:p14="http://schemas.microsoft.com/office/powerpoint/2010/main" val="1546628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47" imgH="348" progId="TCLayout.ActiveDocument.1">
                  <p:embed/>
                </p:oleObj>
              </mc:Choice>
              <mc:Fallback>
                <p:oleObj name="think-cell Slide" r:id="rId36" imgW="347" imgH="348" progId="TCLayout.ActiveDocument.1">
                  <p:embed/>
                  <p:pic>
                    <p:nvPicPr>
                      <p:cNvPr id="11" name="Object 10" hidden="1">
                        <a:extLst>
                          <a:ext uri="{FF2B5EF4-FFF2-40B4-BE49-F238E27FC236}">
                            <a16:creationId xmlns:a16="http://schemas.microsoft.com/office/drawing/2014/main" id="{34A8B7A1-30C2-BEA0-7E7B-610F7E8EC86C}"/>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49EABB9-5766-FE25-E328-FE5B7131BF60}"/>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ABDE3E0C-92A3-427B-ED53-25D02A3C956C}"/>
              </a:ext>
            </a:extLst>
          </p:cNvPr>
          <p:cNvSpPr>
            <a:spLocks noGrp="1"/>
          </p:cNvSpPr>
          <p:nvPr>
            <p:ph type="title"/>
          </p:nvPr>
        </p:nvSpPr>
        <p:spPr>
          <a:xfrm>
            <a:off x="457200" y="412363"/>
            <a:ext cx="3200400" cy="3696087"/>
          </a:xfrm>
          <a:prstGeom prst="rect">
            <a:avLst/>
          </a:prstGeom>
        </p:spPr>
        <p:txBody>
          <a:bodyPr vert="horz" lIns="0" tIns="0" rIns="0" bIns="0" rtlCol="0" anchor="t">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68FA5F5-A6F4-83D6-C2D2-CBF04F8F21BA}"/>
              </a:ext>
            </a:extLst>
          </p:cNvPr>
          <p:cNvSpPr>
            <a:spLocks noGrp="1"/>
          </p:cNvSpPr>
          <p:nvPr>
            <p:ph type="body" idx="1"/>
          </p:nvPr>
        </p:nvSpPr>
        <p:spPr>
          <a:xfrm>
            <a:off x="4576042" y="422313"/>
            <a:ext cx="7296870" cy="55149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B512F1DC-96E6-798D-E5E3-433DC019F114}"/>
              </a:ext>
            </a:extLst>
          </p:cNvPr>
          <p:cNvSpPr>
            <a:spLocks noGrp="1"/>
          </p:cNvSpPr>
          <p:nvPr>
            <p:ph type="ftr" sz="quarter" idx="3"/>
          </p:nvPr>
        </p:nvSpPr>
        <p:spPr>
          <a:xfrm>
            <a:off x="1828435" y="6605900"/>
            <a:ext cx="9367616" cy="249859"/>
          </a:xfrm>
          <a:prstGeom prst="rect">
            <a:avLst/>
          </a:prstGeom>
        </p:spPr>
        <p:txBody>
          <a:bodyPr vert="horz" lIns="0" tIns="0" rIns="0" bIns="0" rtlCol="0" anchor="b">
            <a:noAutofit/>
          </a:bodyPr>
          <a:lstStyle>
            <a:lvl1pPr algn="ctr">
              <a:defRPr sz="1000">
                <a:solidFill>
                  <a:schemeClr val="bg2">
                    <a:lumMod val="75000"/>
                  </a:schemeClr>
                </a:solidFill>
              </a:defRPr>
            </a:lvl1pPr>
          </a:lstStyle>
          <a:p>
            <a:r>
              <a:rPr lang="en-US"/>
              <a:t>SLB Technology. Private. Internal use only.</a:t>
            </a:r>
            <a:endParaRPr lang="en-GB"/>
          </a:p>
        </p:txBody>
      </p:sp>
      <p:sp>
        <p:nvSpPr>
          <p:cNvPr id="6" name="Slide Number Placeholder 5">
            <a:extLst>
              <a:ext uri="{FF2B5EF4-FFF2-40B4-BE49-F238E27FC236}">
                <a16:creationId xmlns:a16="http://schemas.microsoft.com/office/drawing/2014/main" id="{316CEF17-E52C-6D06-E631-5CAE7673046D}"/>
              </a:ext>
            </a:extLst>
          </p:cNvPr>
          <p:cNvSpPr>
            <a:spLocks noGrp="1"/>
          </p:cNvSpPr>
          <p:nvPr>
            <p:ph type="sldNum" sz="quarter" idx="4"/>
          </p:nvPr>
        </p:nvSpPr>
        <p:spPr>
          <a:xfrm>
            <a:off x="11188701" y="6411198"/>
            <a:ext cx="684212" cy="230248"/>
          </a:xfrm>
          <a:prstGeom prst="rect">
            <a:avLst/>
          </a:prstGeom>
        </p:spPr>
        <p:txBody>
          <a:bodyPr vert="horz" lIns="0" tIns="0" rIns="0" bIns="0" rtlCol="0" anchor="b">
            <a:noAutofit/>
          </a:bodyPr>
          <a:lstStyle>
            <a:lvl1pPr algn="r">
              <a:defRPr sz="1000">
                <a:solidFill>
                  <a:schemeClr val="bg2">
                    <a:lumMod val="75000"/>
                  </a:schemeClr>
                </a:solidFill>
              </a:defRPr>
            </a:lvl1pPr>
          </a:lstStyle>
          <a:p>
            <a:fld id="{2737C662-D0ED-4587-B264-5C4F0D975D18}" type="slidenum">
              <a:rPr lang="en-GB" smtClean="0"/>
              <a:pPr/>
              <a:t>‹#›</a:t>
            </a:fld>
            <a:endParaRPr lang="en-GB"/>
          </a:p>
        </p:txBody>
      </p:sp>
      <p:pic>
        <p:nvPicPr>
          <p:cNvPr id="9" name="Graphic 8">
            <a:extLst>
              <a:ext uri="{FF2B5EF4-FFF2-40B4-BE49-F238E27FC236}">
                <a16:creationId xmlns:a16="http://schemas.microsoft.com/office/drawing/2014/main" id="{A9DCADAA-AE45-1053-A04D-8E58E58654FE}"/>
              </a:ext>
            </a:extLst>
          </p:cNvPr>
          <p:cNvPicPr>
            <a:picLocks noChangeAspect="1"/>
          </p:cNvPicPr>
          <p:nvPr userDrawn="1"/>
        </p:nvPicPr>
        <p:blipFill>
          <a:blip r:embed="rId38" cstate="screen">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257447738"/>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 id="2147483877" r:id="rId21"/>
    <p:sldLayoutId id="2147483878" r:id="rId22"/>
    <p:sldLayoutId id="2147483879" r:id="rId23"/>
    <p:sldLayoutId id="2147483880" r:id="rId24"/>
    <p:sldLayoutId id="2147483881" r:id="rId25"/>
    <p:sldLayoutId id="2147483882" r:id="rId26"/>
    <p:sldLayoutId id="2147483883" r:id="rId27"/>
    <p:sldLayoutId id="2147483884" r:id="rId28"/>
    <p:sldLayoutId id="2147483885" r:id="rId29"/>
    <p:sldLayoutId id="2147483886" r:id="rId30"/>
    <p:sldLayoutId id="2147483954" r:id="rId31"/>
    <p:sldLayoutId id="2147483955" r:id="rId32"/>
    <p:sldLayoutId id="2147483956" r:id="rId33"/>
  </p:sldLayoutIdLst>
  <p:hf hdr="0" dt="0"/>
  <p:txStyles>
    <p:title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95000"/>
        </a:lnSpc>
        <a:spcBef>
          <a:spcPts val="600"/>
        </a:spcBef>
        <a:spcAft>
          <a:spcPts val="600"/>
        </a:spcAft>
        <a:buFont typeface="Arial" panose="020B0604020202020204" pitchFamily="34" charset="0"/>
        <a:buNone/>
        <a:defRPr sz="2000" b="1" i="0" kern="1200">
          <a:solidFill>
            <a:schemeClr val="tx1"/>
          </a:solidFill>
          <a:latin typeface="SLB Sans" panose="02000503040000020004" pitchFamily="2" charset="0"/>
          <a:ea typeface="+mn-ea"/>
          <a:cs typeface="+mn-cs"/>
        </a:defRPr>
      </a:lvl1pPr>
      <a:lvl2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tx1"/>
          </a:solidFill>
          <a:latin typeface="SLB Sans Book" panose="02000503040000020004" pitchFamily="2" charset="0"/>
          <a:ea typeface="+mn-ea"/>
          <a:cs typeface="+mn-cs"/>
        </a:defRPr>
      </a:lvl2pPr>
      <a:lvl3pPr marL="342900" indent="-342900" algn="l" defTabSz="914400" rtl="0" eaLnBrk="1" latinLnBrk="0" hangingPunct="1">
        <a:lnSpc>
          <a:spcPct val="95000"/>
        </a:lnSpc>
        <a:spcBef>
          <a:spcPts val="0"/>
        </a:spcBef>
        <a:spcAft>
          <a:spcPts val="600"/>
        </a:spcAft>
        <a:buFont typeface="SLB Sans Book" panose="02000503040000020004" pitchFamily="2" charset="0"/>
        <a:buChar char="→"/>
        <a:defRPr sz="2000" b="0" kern="1200">
          <a:solidFill>
            <a:schemeClr val="tx1"/>
          </a:solidFill>
          <a:latin typeface="SLB Sans Book" panose="02000503040000020004" pitchFamily="2" charset="0"/>
          <a:ea typeface="+mn-ea"/>
          <a:cs typeface="+mn-cs"/>
        </a:defRPr>
      </a:lvl3pPr>
      <a:lvl4pPr marL="684000" indent="-342000" algn="l" defTabSz="914400" rtl="0" eaLnBrk="1" latinLnBrk="0" hangingPunct="1">
        <a:lnSpc>
          <a:spcPct val="95000"/>
        </a:lnSpc>
        <a:spcBef>
          <a:spcPts val="0"/>
        </a:spcBef>
        <a:spcAft>
          <a:spcPts val="600"/>
        </a:spcAft>
        <a:buFont typeface="SLB Sans Book" panose="02000503040000020004" pitchFamily="2" charset="0"/>
        <a:buChar char="−"/>
        <a:tabLst/>
        <a:defRPr sz="1800" b="0" kern="1200">
          <a:solidFill>
            <a:schemeClr val="tx1"/>
          </a:solidFill>
          <a:latin typeface="SLB Sans Book" panose="02000503040000020004" pitchFamily="2" charset="0"/>
          <a:ea typeface="+mn-ea"/>
          <a:cs typeface="+mn-cs"/>
        </a:defRPr>
      </a:lvl4pPr>
      <a:lvl5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tx1"/>
          </a:solidFill>
          <a:latin typeface="SLB Sans Book"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2">
          <p15:clr>
            <a:srgbClr val="F26B43"/>
          </p15:clr>
        </p15:guide>
        <p15:guide id="2" pos="288">
          <p15:clr>
            <a:srgbClr val="F26B43"/>
          </p15:clr>
        </p15:guide>
        <p15:guide id="3" pos="7479">
          <p15:clr>
            <a:srgbClr val="F26B43"/>
          </p15:clr>
        </p15:guide>
        <p15:guide id="4" pos="4028">
          <p15:clr>
            <a:srgbClr val="F26B43"/>
          </p15:clr>
        </p15:guide>
        <p15:guide id="5" pos="2588">
          <p15:clr>
            <a:srgbClr val="F26B43"/>
          </p15:clr>
        </p15:guide>
        <p15:guide id="6" pos="5180">
          <p15:clr>
            <a:srgbClr val="F26B43"/>
          </p15:clr>
        </p15:guide>
        <p15:guide id="7" orient="horz" pos="288">
          <p15:clr>
            <a:srgbClr val="F26B43"/>
          </p15:clr>
        </p15:guide>
        <p15:guide id="10" orient="horz" pos="4028">
          <p15:clr>
            <a:srgbClr val="F26B43"/>
          </p15:clr>
        </p15:guide>
        <p15:guide id="11" orient="horz" pos="1436">
          <p15:clr>
            <a:srgbClr val="F26B43"/>
          </p15:clr>
        </p15:guide>
        <p15:guide id="12" orient="horz" pos="1152">
          <p15:clr>
            <a:srgbClr val="F26B43"/>
          </p15:clr>
        </p15:guide>
        <p15:guide id="13" orient="horz" pos="867">
          <p15:clr>
            <a:srgbClr val="F26B43"/>
          </p15:clr>
        </p15:guide>
        <p15:guide id="14" orient="horz" pos="576">
          <p15:clr>
            <a:srgbClr val="F26B43"/>
          </p15:clr>
        </p15:guide>
        <p15:guide id="15" orient="horz" pos="1728">
          <p15:clr>
            <a:srgbClr val="F26B43"/>
          </p15:clr>
        </p15:guide>
        <p15:guide id="16" orient="horz" pos="2302">
          <p15:clr>
            <a:srgbClr val="F26B43"/>
          </p15:clr>
        </p15:guide>
        <p15:guide id="17" orient="horz" pos="2588">
          <p15:clr>
            <a:srgbClr val="F26B43"/>
          </p15:clr>
        </p15:guide>
        <p15:guide id="18" orient="horz" pos="2878">
          <p15:clr>
            <a:srgbClr val="F26B43"/>
          </p15:clr>
        </p15:guide>
        <p15:guide id="19" orient="horz" pos="3164">
          <p15:clr>
            <a:srgbClr val="F26B43"/>
          </p15:clr>
        </p15:guide>
        <p15:guide id="20" orient="horz" pos="3454">
          <p15:clr>
            <a:srgbClr val="F26B43"/>
          </p15:clr>
        </p15:guide>
        <p15:guide id="21" orient="horz" pos="3740">
          <p15:clr>
            <a:srgbClr val="F26B43"/>
          </p15:clr>
        </p15:guide>
        <p15:guide id="22" pos="6903">
          <p15:clr>
            <a:srgbClr val="F26B43"/>
          </p15:clr>
        </p15:guide>
        <p15:guide id="23" pos="6620">
          <p15:clr>
            <a:srgbClr val="F26B43"/>
          </p15:clr>
        </p15:guide>
        <p15:guide id="24" pos="6327">
          <p15:clr>
            <a:srgbClr val="F26B43"/>
          </p15:clr>
        </p15:guide>
        <p15:guide id="25" pos="6044">
          <p15:clr>
            <a:srgbClr val="F26B43"/>
          </p15:clr>
        </p15:guide>
        <p15:guide id="26" pos="5751">
          <p15:clr>
            <a:srgbClr val="F26B43"/>
          </p15:clr>
        </p15:guide>
        <p15:guide id="27" pos="5468">
          <p15:clr>
            <a:srgbClr val="F26B43"/>
          </p15:clr>
        </p15:guide>
        <p15:guide id="28" pos="576">
          <p15:clr>
            <a:srgbClr val="F26B43"/>
          </p15:clr>
        </p15:guide>
        <p15:guide id="29" pos="864">
          <p15:clr>
            <a:srgbClr val="F26B43"/>
          </p15:clr>
        </p15:guide>
        <p15:guide id="30" pos="1152">
          <p15:clr>
            <a:srgbClr val="F26B43"/>
          </p15:clr>
        </p15:guide>
        <p15:guide id="31" pos="1436">
          <p15:clr>
            <a:srgbClr val="F26B43"/>
          </p15:clr>
        </p15:guide>
        <p15:guide id="32" pos="1728">
          <p15:clr>
            <a:srgbClr val="F26B43"/>
          </p15:clr>
        </p15:guide>
        <p15:guide id="33" pos="2012">
          <p15:clr>
            <a:srgbClr val="F26B43"/>
          </p15:clr>
        </p15:guide>
        <p15:guide id="34" pos="2304">
          <p15:clr>
            <a:srgbClr val="F26B43"/>
          </p15:clr>
        </p15:guide>
        <p15:guide id="35" pos="2880">
          <p15:clr>
            <a:srgbClr val="F26B43"/>
          </p15:clr>
        </p15:guide>
        <p15:guide id="36" pos="3164">
          <p15:clr>
            <a:srgbClr val="F26B43"/>
          </p15:clr>
        </p15:guide>
        <p15:guide id="37" pos="3454">
          <p15:clr>
            <a:srgbClr val="F26B43"/>
          </p15:clr>
        </p15:guide>
        <p15:guide id="38" pos="3740">
          <p15:clr>
            <a:srgbClr val="F26B43"/>
          </p15:clr>
        </p15:guide>
        <p15:guide id="39" pos="4316">
          <p15:clr>
            <a:srgbClr val="F26B43"/>
          </p15:clr>
        </p15:guide>
        <p15:guide id="40" pos="4599">
          <p15:clr>
            <a:srgbClr val="F26B43"/>
          </p15:clr>
        </p15:guide>
        <p15:guide id="41" pos="4892">
          <p15:clr>
            <a:srgbClr val="F26B43"/>
          </p15:clr>
        </p15:guide>
        <p15:guide id="42" pos="719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49EABB9-5766-FE25-E328-FE5B7131BF60}"/>
              </a:ext>
            </a:extLst>
          </p:cNvPr>
          <p:cNvSpPr/>
          <p:nvPr/>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ABDE3E0C-92A3-427B-ED53-25D02A3C956C}"/>
              </a:ext>
            </a:extLst>
          </p:cNvPr>
          <p:cNvSpPr>
            <a:spLocks noGrp="1"/>
          </p:cNvSpPr>
          <p:nvPr>
            <p:ph type="title"/>
          </p:nvPr>
        </p:nvSpPr>
        <p:spPr>
          <a:xfrm>
            <a:off x="457200" y="412363"/>
            <a:ext cx="3200400" cy="3696087"/>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68FA5F5-A6F4-83D6-C2D2-CBF04F8F21BA}"/>
              </a:ext>
            </a:extLst>
          </p:cNvPr>
          <p:cNvSpPr>
            <a:spLocks noGrp="1"/>
          </p:cNvSpPr>
          <p:nvPr>
            <p:ph type="body" idx="1"/>
          </p:nvPr>
        </p:nvSpPr>
        <p:spPr>
          <a:xfrm>
            <a:off x="4576042" y="422313"/>
            <a:ext cx="7296870" cy="55149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B512F1DC-96E6-798D-E5E3-433DC019F114}"/>
              </a:ext>
            </a:extLst>
          </p:cNvPr>
          <p:cNvSpPr>
            <a:spLocks noGrp="1"/>
          </p:cNvSpPr>
          <p:nvPr>
            <p:ph type="ftr" sz="quarter" idx="3"/>
          </p:nvPr>
        </p:nvSpPr>
        <p:spPr>
          <a:xfrm>
            <a:off x="1828435" y="6391587"/>
            <a:ext cx="9367616" cy="249859"/>
          </a:xfrm>
          <a:prstGeom prst="rect">
            <a:avLst/>
          </a:prstGeom>
        </p:spPr>
        <p:txBody>
          <a:bodyPr vert="horz" lIns="0" tIns="0" rIns="0" bIns="0" rtlCol="0" anchor="b">
            <a:noAutofit/>
          </a:bodyPr>
          <a:lstStyle>
            <a:lvl1pPr algn="r">
              <a:defRPr sz="1000">
                <a:solidFill>
                  <a:schemeClr val="bg2">
                    <a:lumMod val="75000"/>
                  </a:schemeClr>
                </a:solidFill>
              </a:defRPr>
            </a:lvl1pPr>
          </a:lstStyle>
          <a:p>
            <a:endParaRPr lang="en-US"/>
          </a:p>
        </p:txBody>
      </p:sp>
      <p:sp>
        <p:nvSpPr>
          <p:cNvPr id="6" name="Slide Number Placeholder 5">
            <a:extLst>
              <a:ext uri="{FF2B5EF4-FFF2-40B4-BE49-F238E27FC236}">
                <a16:creationId xmlns:a16="http://schemas.microsoft.com/office/drawing/2014/main" id="{316CEF17-E52C-6D06-E631-5CAE7673046D}"/>
              </a:ext>
            </a:extLst>
          </p:cNvPr>
          <p:cNvSpPr>
            <a:spLocks noGrp="1"/>
          </p:cNvSpPr>
          <p:nvPr>
            <p:ph type="sldNum" sz="quarter" idx="4"/>
          </p:nvPr>
        </p:nvSpPr>
        <p:spPr>
          <a:xfrm>
            <a:off x="11188701" y="6411198"/>
            <a:ext cx="684212" cy="230248"/>
          </a:xfrm>
          <a:prstGeom prst="rect">
            <a:avLst/>
          </a:prstGeom>
        </p:spPr>
        <p:txBody>
          <a:bodyPr vert="horz" lIns="0" tIns="0" rIns="0" bIns="0" rtlCol="0" anchor="b">
            <a:noAutofit/>
          </a:bodyPr>
          <a:lstStyle>
            <a:lvl1pPr algn="r">
              <a:defRPr sz="1000">
                <a:solidFill>
                  <a:schemeClr val="bg2">
                    <a:lumMod val="75000"/>
                  </a:schemeClr>
                </a:solidFill>
              </a:defRPr>
            </a:lvl1pPr>
          </a:lstStyle>
          <a:p>
            <a:fld id="{F6B081E3-CA78-499C-A458-89489E0FA23E}" type="slidenum">
              <a:rPr lang="en-US" smtClean="0"/>
              <a:t>‹#›</a:t>
            </a:fld>
            <a:endParaRPr lang="en-US"/>
          </a:p>
        </p:txBody>
      </p:sp>
      <p:pic>
        <p:nvPicPr>
          <p:cNvPr id="7" name="Graphic 6">
            <a:extLst>
              <a:ext uri="{FF2B5EF4-FFF2-40B4-BE49-F238E27FC236}">
                <a16:creationId xmlns:a16="http://schemas.microsoft.com/office/drawing/2014/main" id="{66A9A6DF-3763-3CCF-90BF-390EEEDB4D55}"/>
              </a:ext>
            </a:extLst>
          </p:cNvPr>
          <p:cNvPicPr>
            <a:picLocks noChangeAspect="1"/>
          </p:cNvPicPr>
          <p:nvPr/>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606735153"/>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 id="2147483918" r:id="rId30"/>
    <p:sldLayoutId id="2147483919" r:id="rId31"/>
  </p:sldLayoutIdLst>
  <p:hf sldNum="0" hdr="0" ftr="0" dt="0"/>
  <p:txStyles>
    <p:title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95000"/>
        </a:lnSpc>
        <a:spcBef>
          <a:spcPts val="600"/>
        </a:spcBef>
        <a:spcAft>
          <a:spcPts val="600"/>
        </a:spcAft>
        <a:buFont typeface="Arial" panose="020B0604020202020204" pitchFamily="34" charset="0"/>
        <a:buNone/>
        <a:defRPr sz="2000" b="1" i="0" kern="1200">
          <a:solidFill>
            <a:schemeClr val="accent1"/>
          </a:solidFill>
          <a:latin typeface="SLB Sans" panose="02000503040000020004" pitchFamily="2" charset="0"/>
          <a:ea typeface="+mn-ea"/>
          <a:cs typeface="+mn-cs"/>
        </a:defRPr>
      </a:lvl1pPr>
      <a:lvl2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accent1"/>
          </a:solidFill>
          <a:latin typeface="SLB Sans Book" panose="02000503040000020004" pitchFamily="2" charset="0"/>
          <a:ea typeface="+mn-ea"/>
          <a:cs typeface="+mn-cs"/>
        </a:defRPr>
      </a:lvl2pPr>
      <a:lvl3pPr marL="342900" indent="-342900" algn="l" defTabSz="914400" rtl="0" eaLnBrk="1" latinLnBrk="0" hangingPunct="1">
        <a:lnSpc>
          <a:spcPct val="95000"/>
        </a:lnSpc>
        <a:spcBef>
          <a:spcPts val="0"/>
        </a:spcBef>
        <a:spcAft>
          <a:spcPts val="600"/>
        </a:spcAft>
        <a:buFont typeface="SLB Sans Book" panose="02000503040000020004" pitchFamily="2" charset="0"/>
        <a:buChar char="→"/>
        <a:defRPr sz="2000" b="0" kern="1200">
          <a:solidFill>
            <a:schemeClr val="accent1"/>
          </a:solidFill>
          <a:latin typeface="SLB Sans Book" panose="02000503040000020004" pitchFamily="2" charset="0"/>
          <a:ea typeface="+mn-ea"/>
          <a:cs typeface="+mn-cs"/>
        </a:defRPr>
      </a:lvl3pPr>
      <a:lvl4pPr marL="684000" indent="-342000" algn="l" defTabSz="914400" rtl="0" eaLnBrk="1" latinLnBrk="0" hangingPunct="1">
        <a:lnSpc>
          <a:spcPct val="95000"/>
        </a:lnSpc>
        <a:spcBef>
          <a:spcPts val="0"/>
        </a:spcBef>
        <a:spcAft>
          <a:spcPts val="600"/>
        </a:spcAft>
        <a:buFont typeface="SLB Sans Book" panose="02000503040000020004" pitchFamily="2" charset="0"/>
        <a:buChar char="−"/>
        <a:tabLst/>
        <a:defRPr sz="1800" b="0" kern="1200">
          <a:solidFill>
            <a:schemeClr val="accent1"/>
          </a:solidFill>
          <a:latin typeface="SLB Sans Book" panose="02000503040000020004" pitchFamily="2" charset="0"/>
          <a:ea typeface="+mn-ea"/>
          <a:cs typeface="+mn-cs"/>
        </a:defRPr>
      </a:lvl4pPr>
      <a:lvl5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accent1"/>
          </a:solidFill>
          <a:latin typeface="SLB Sans Book"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2">
          <p15:clr>
            <a:srgbClr val="F26B43"/>
          </p15:clr>
        </p15:guide>
        <p15:guide id="2" pos="288">
          <p15:clr>
            <a:srgbClr val="F26B43"/>
          </p15:clr>
        </p15:guide>
        <p15:guide id="3" pos="7479">
          <p15:clr>
            <a:srgbClr val="F26B43"/>
          </p15:clr>
        </p15:guide>
        <p15:guide id="4" pos="4028">
          <p15:clr>
            <a:srgbClr val="F26B43"/>
          </p15:clr>
        </p15:guide>
        <p15:guide id="5" pos="2588">
          <p15:clr>
            <a:srgbClr val="F26B43"/>
          </p15:clr>
        </p15:guide>
        <p15:guide id="6" pos="5180">
          <p15:clr>
            <a:srgbClr val="F26B43"/>
          </p15:clr>
        </p15:guide>
        <p15:guide id="7" orient="horz" pos="288">
          <p15:clr>
            <a:srgbClr val="F26B43"/>
          </p15:clr>
        </p15:guide>
        <p15:guide id="10" orient="horz" pos="4028">
          <p15:clr>
            <a:srgbClr val="F26B43"/>
          </p15:clr>
        </p15:guide>
        <p15:guide id="11" orient="horz" pos="1436">
          <p15:clr>
            <a:srgbClr val="F26B43"/>
          </p15:clr>
        </p15:guide>
        <p15:guide id="12" orient="horz" pos="1152">
          <p15:clr>
            <a:srgbClr val="F26B43"/>
          </p15:clr>
        </p15:guide>
        <p15:guide id="13" orient="horz" pos="867">
          <p15:clr>
            <a:srgbClr val="F26B43"/>
          </p15:clr>
        </p15:guide>
        <p15:guide id="14" orient="horz" pos="576">
          <p15:clr>
            <a:srgbClr val="F26B43"/>
          </p15:clr>
        </p15:guide>
        <p15:guide id="15" orient="horz" pos="1728">
          <p15:clr>
            <a:srgbClr val="F26B43"/>
          </p15:clr>
        </p15:guide>
        <p15:guide id="16" orient="horz" pos="2302">
          <p15:clr>
            <a:srgbClr val="F26B43"/>
          </p15:clr>
        </p15:guide>
        <p15:guide id="17" orient="horz" pos="2588">
          <p15:clr>
            <a:srgbClr val="F26B43"/>
          </p15:clr>
        </p15:guide>
        <p15:guide id="18" orient="horz" pos="2878">
          <p15:clr>
            <a:srgbClr val="F26B43"/>
          </p15:clr>
        </p15:guide>
        <p15:guide id="19" orient="horz" pos="3164">
          <p15:clr>
            <a:srgbClr val="F26B43"/>
          </p15:clr>
        </p15:guide>
        <p15:guide id="20" orient="horz" pos="3454">
          <p15:clr>
            <a:srgbClr val="F26B43"/>
          </p15:clr>
        </p15:guide>
        <p15:guide id="21" orient="horz" pos="3740">
          <p15:clr>
            <a:srgbClr val="F26B43"/>
          </p15:clr>
        </p15:guide>
        <p15:guide id="22" pos="6903">
          <p15:clr>
            <a:srgbClr val="F26B43"/>
          </p15:clr>
        </p15:guide>
        <p15:guide id="23" pos="6620">
          <p15:clr>
            <a:srgbClr val="F26B43"/>
          </p15:clr>
        </p15:guide>
        <p15:guide id="24" pos="6327">
          <p15:clr>
            <a:srgbClr val="F26B43"/>
          </p15:clr>
        </p15:guide>
        <p15:guide id="25" pos="6044">
          <p15:clr>
            <a:srgbClr val="F26B43"/>
          </p15:clr>
        </p15:guide>
        <p15:guide id="26" pos="5751">
          <p15:clr>
            <a:srgbClr val="F26B43"/>
          </p15:clr>
        </p15:guide>
        <p15:guide id="27" pos="5468">
          <p15:clr>
            <a:srgbClr val="F26B43"/>
          </p15:clr>
        </p15:guide>
        <p15:guide id="28" pos="576">
          <p15:clr>
            <a:srgbClr val="F26B43"/>
          </p15:clr>
        </p15:guide>
        <p15:guide id="29" pos="864">
          <p15:clr>
            <a:srgbClr val="F26B43"/>
          </p15:clr>
        </p15:guide>
        <p15:guide id="30" pos="1152">
          <p15:clr>
            <a:srgbClr val="F26B43"/>
          </p15:clr>
        </p15:guide>
        <p15:guide id="31" pos="1436">
          <p15:clr>
            <a:srgbClr val="F26B43"/>
          </p15:clr>
        </p15:guide>
        <p15:guide id="32" pos="1728">
          <p15:clr>
            <a:srgbClr val="F26B43"/>
          </p15:clr>
        </p15:guide>
        <p15:guide id="33" pos="2012">
          <p15:clr>
            <a:srgbClr val="F26B43"/>
          </p15:clr>
        </p15:guide>
        <p15:guide id="34" pos="2304">
          <p15:clr>
            <a:srgbClr val="F26B43"/>
          </p15:clr>
        </p15:guide>
        <p15:guide id="35" pos="2880">
          <p15:clr>
            <a:srgbClr val="F26B43"/>
          </p15:clr>
        </p15:guide>
        <p15:guide id="36" pos="3164">
          <p15:clr>
            <a:srgbClr val="F26B43"/>
          </p15:clr>
        </p15:guide>
        <p15:guide id="37" pos="3454">
          <p15:clr>
            <a:srgbClr val="F26B43"/>
          </p15:clr>
        </p15:guide>
        <p15:guide id="38" pos="3740">
          <p15:clr>
            <a:srgbClr val="F26B43"/>
          </p15:clr>
        </p15:guide>
        <p15:guide id="39" pos="4316">
          <p15:clr>
            <a:srgbClr val="F26B43"/>
          </p15:clr>
        </p15:guide>
        <p15:guide id="40" pos="4599">
          <p15:clr>
            <a:srgbClr val="F26B43"/>
          </p15:clr>
        </p15:guide>
        <p15:guide id="41" pos="4892">
          <p15:clr>
            <a:srgbClr val="F26B43"/>
          </p15:clr>
        </p15:guide>
        <p15:guide id="42" pos="71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85979F0-72E5-FA4B-D84A-8F48AA6E250E}"/>
              </a:ext>
            </a:extLst>
          </p:cNvPr>
          <p:cNvGraphicFramePr>
            <a:graphicFrameLocks noChangeAspect="1"/>
          </p:cNvGraphicFramePr>
          <p:nvPr userDrawn="1">
            <p:custDataLst>
              <p:tags r:id="rId34"/>
            </p:custDataLst>
            <p:extLst>
              <p:ext uri="{D42A27DB-BD31-4B8C-83A1-F6EECF244321}">
                <p14:modId xmlns:p14="http://schemas.microsoft.com/office/powerpoint/2010/main" val="1180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06" imgH="306" progId="TCLayout.ActiveDocument.1">
                  <p:embed/>
                </p:oleObj>
              </mc:Choice>
              <mc:Fallback>
                <p:oleObj name="think-cell Slide" r:id="rId35" imgW="306" imgH="306" progId="TCLayout.ActiveDocument.1">
                  <p:embed/>
                  <p:pic>
                    <p:nvPicPr>
                      <p:cNvPr id="9" name="Object 8" hidden="1">
                        <a:extLst>
                          <a:ext uri="{FF2B5EF4-FFF2-40B4-BE49-F238E27FC236}">
                            <a16:creationId xmlns:a16="http://schemas.microsoft.com/office/drawing/2014/main" id="{B85979F0-72E5-FA4B-D84A-8F48AA6E250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49EABB9-5766-FE25-E328-FE5B7131BF60}"/>
              </a:ext>
            </a:extLst>
          </p:cNvPr>
          <p:cNvSpPr/>
          <p:nvPr userDrawn="1"/>
        </p:nvSpPr>
        <p:spPr>
          <a:xfrm>
            <a:off x="0" y="0"/>
            <a:ext cx="41084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ABDE3E0C-92A3-427B-ED53-25D02A3C956C}"/>
              </a:ext>
            </a:extLst>
          </p:cNvPr>
          <p:cNvSpPr>
            <a:spLocks noGrp="1"/>
          </p:cNvSpPr>
          <p:nvPr>
            <p:ph type="title"/>
          </p:nvPr>
        </p:nvSpPr>
        <p:spPr>
          <a:xfrm>
            <a:off x="457200" y="412363"/>
            <a:ext cx="3200400" cy="3696087"/>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68FA5F5-A6F4-83D6-C2D2-CBF04F8F21BA}"/>
              </a:ext>
            </a:extLst>
          </p:cNvPr>
          <p:cNvSpPr>
            <a:spLocks noGrp="1"/>
          </p:cNvSpPr>
          <p:nvPr>
            <p:ph type="body" idx="1"/>
          </p:nvPr>
        </p:nvSpPr>
        <p:spPr>
          <a:xfrm>
            <a:off x="4576042" y="422313"/>
            <a:ext cx="7296870" cy="55149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B512F1DC-96E6-798D-E5E3-433DC019F114}"/>
              </a:ext>
            </a:extLst>
          </p:cNvPr>
          <p:cNvSpPr>
            <a:spLocks noGrp="1"/>
          </p:cNvSpPr>
          <p:nvPr>
            <p:ph type="ftr" sz="quarter" idx="3"/>
          </p:nvPr>
        </p:nvSpPr>
        <p:spPr>
          <a:xfrm>
            <a:off x="1828435" y="6391587"/>
            <a:ext cx="9367616" cy="249859"/>
          </a:xfrm>
          <a:prstGeom prst="rect">
            <a:avLst/>
          </a:prstGeom>
        </p:spPr>
        <p:txBody>
          <a:bodyPr vert="horz" lIns="0" tIns="0" rIns="0" bIns="0" rtlCol="0" anchor="b">
            <a:noAutofit/>
          </a:bodyPr>
          <a:lstStyle>
            <a:lvl1pPr algn="r">
              <a:defRPr sz="1000">
                <a:solidFill>
                  <a:schemeClr val="bg2">
                    <a:lumMod val="75000"/>
                  </a:schemeClr>
                </a:solidFill>
              </a:defRPr>
            </a:lvl1pPr>
          </a:lstStyle>
          <a:p>
            <a:r>
              <a:rPr lang="en-GB"/>
              <a:t>Private. In/External use only.</a:t>
            </a:r>
          </a:p>
        </p:txBody>
      </p:sp>
      <p:sp>
        <p:nvSpPr>
          <p:cNvPr id="6" name="Slide Number Placeholder 5">
            <a:extLst>
              <a:ext uri="{FF2B5EF4-FFF2-40B4-BE49-F238E27FC236}">
                <a16:creationId xmlns:a16="http://schemas.microsoft.com/office/drawing/2014/main" id="{316CEF17-E52C-6D06-E631-5CAE7673046D}"/>
              </a:ext>
            </a:extLst>
          </p:cNvPr>
          <p:cNvSpPr>
            <a:spLocks noGrp="1"/>
          </p:cNvSpPr>
          <p:nvPr>
            <p:ph type="sldNum" sz="quarter" idx="4"/>
          </p:nvPr>
        </p:nvSpPr>
        <p:spPr>
          <a:xfrm>
            <a:off x="11188701" y="6411198"/>
            <a:ext cx="684212" cy="230248"/>
          </a:xfrm>
          <a:prstGeom prst="rect">
            <a:avLst/>
          </a:prstGeom>
        </p:spPr>
        <p:txBody>
          <a:bodyPr vert="horz" lIns="0" tIns="0" rIns="0" bIns="0" rtlCol="0" anchor="b">
            <a:noAutofit/>
          </a:bodyPr>
          <a:lstStyle>
            <a:lvl1pPr algn="r">
              <a:defRPr sz="1000">
                <a:solidFill>
                  <a:schemeClr val="bg2">
                    <a:lumMod val="75000"/>
                  </a:schemeClr>
                </a:solidFill>
              </a:defRPr>
            </a:lvl1pPr>
          </a:lstStyle>
          <a:p>
            <a:fld id="{2737C662-D0ED-4587-B264-5C4F0D975D18}" type="slidenum">
              <a:rPr lang="en-GB" smtClean="0"/>
              <a:pPr/>
              <a:t>‹#›</a:t>
            </a:fld>
            <a:endParaRPr lang="en-GB"/>
          </a:p>
        </p:txBody>
      </p:sp>
      <p:pic>
        <p:nvPicPr>
          <p:cNvPr id="7" name="Graphic 6">
            <a:extLst>
              <a:ext uri="{FF2B5EF4-FFF2-40B4-BE49-F238E27FC236}">
                <a16:creationId xmlns:a16="http://schemas.microsoft.com/office/drawing/2014/main" id="{66A9A6DF-3763-3CCF-90BF-390EEEDB4D55}"/>
              </a:ext>
            </a:extLst>
          </p:cNvPr>
          <p:cNvPicPr>
            <a:picLocks noChangeAspect="1"/>
          </p:cNvPicPr>
          <p:nvPr userDrawn="1"/>
        </p:nvPicPr>
        <p:blipFill>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3027507"/>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49" r:id="rId29"/>
    <p:sldLayoutId id="2147483950" r:id="rId30"/>
    <p:sldLayoutId id="2147483951" r:id="rId31"/>
    <p:sldLayoutId id="2147483952" r:id="rId32"/>
  </p:sldLayoutIdLst>
  <p:hf hdr="0" dt="0"/>
  <p:txStyles>
    <p:titleStyle>
      <a:lvl1pPr algn="l" defTabSz="914400" rtl="0" eaLnBrk="1" latinLnBrk="0" hangingPunct="1">
        <a:lnSpc>
          <a:spcPct val="90000"/>
        </a:lnSpc>
        <a:spcBef>
          <a:spcPct val="0"/>
        </a:spcBef>
        <a:buNone/>
        <a:defRPr sz="3600" kern="1200">
          <a:solidFill>
            <a:schemeClr val="accent1"/>
          </a:solidFill>
          <a:latin typeface="+mj-lt"/>
          <a:ea typeface="+mj-ea"/>
          <a:cs typeface="+mj-cs"/>
        </a:defRPr>
      </a:lvl1pPr>
    </p:titleStyle>
    <p:bodyStyle>
      <a:lvl1pPr marL="0" indent="0" algn="l" defTabSz="914400" rtl="0" eaLnBrk="1" latinLnBrk="0" hangingPunct="1">
        <a:lnSpc>
          <a:spcPct val="95000"/>
        </a:lnSpc>
        <a:spcBef>
          <a:spcPts val="600"/>
        </a:spcBef>
        <a:spcAft>
          <a:spcPts val="600"/>
        </a:spcAft>
        <a:buFont typeface="Arial" panose="020B0604020202020204" pitchFamily="34" charset="0"/>
        <a:buNone/>
        <a:defRPr sz="2000" b="1" i="0" kern="1200">
          <a:solidFill>
            <a:schemeClr val="accent1"/>
          </a:solidFill>
          <a:latin typeface="SLB Sans" panose="02000503040000020004" pitchFamily="2" charset="0"/>
          <a:ea typeface="+mn-ea"/>
          <a:cs typeface="+mn-cs"/>
        </a:defRPr>
      </a:lvl1pPr>
      <a:lvl2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accent1"/>
          </a:solidFill>
          <a:latin typeface="SLB Sans Book" panose="02000503040000020004" pitchFamily="2" charset="0"/>
          <a:ea typeface="+mn-ea"/>
          <a:cs typeface="+mn-cs"/>
        </a:defRPr>
      </a:lvl2pPr>
      <a:lvl3pPr marL="342900" indent="-342900" algn="l" defTabSz="914400" rtl="0" eaLnBrk="1" latinLnBrk="0" hangingPunct="1">
        <a:lnSpc>
          <a:spcPct val="95000"/>
        </a:lnSpc>
        <a:spcBef>
          <a:spcPts val="0"/>
        </a:spcBef>
        <a:spcAft>
          <a:spcPts val="600"/>
        </a:spcAft>
        <a:buFont typeface="SLB Sans Book" panose="02000503040000020004" pitchFamily="2" charset="0"/>
        <a:buChar char="→"/>
        <a:defRPr sz="2000" b="0" kern="1200">
          <a:solidFill>
            <a:schemeClr val="accent1"/>
          </a:solidFill>
          <a:latin typeface="SLB Sans Book" panose="02000503040000020004" pitchFamily="2" charset="0"/>
          <a:ea typeface="+mn-ea"/>
          <a:cs typeface="+mn-cs"/>
        </a:defRPr>
      </a:lvl3pPr>
      <a:lvl4pPr marL="684000" indent="-342000" algn="l" defTabSz="914400" rtl="0" eaLnBrk="1" latinLnBrk="0" hangingPunct="1">
        <a:lnSpc>
          <a:spcPct val="95000"/>
        </a:lnSpc>
        <a:spcBef>
          <a:spcPts val="0"/>
        </a:spcBef>
        <a:spcAft>
          <a:spcPts val="600"/>
        </a:spcAft>
        <a:buFont typeface="SLB Sans Book" panose="02000503040000020004" pitchFamily="2" charset="0"/>
        <a:buChar char="−"/>
        <a:tabLst/>
        <a:defRPr sz="1800" b="0" kern="1200">
          <a:solidFill>
            <a:schemeClr val="accent1"/>
          </a:solidFill>
          <a:latin typeface="SLB Sans Book" panose="02000503040000020004" pitchFamily="2" charset="0"/>
          <a:ea typeface="+mn-ea"/>
          <a:cs typeface="+mn-cs"/>
        </a:defRPr>
      </a:lvl4pPr>
      <a:lvl5pPr marL="0" indent="0" algn="l" defTabSz="914400" rtl="0" eaLnBrk="1" latinLnBrk="0" hangingPunct="1">
        <a:lnSpc>
          <a:spcPct val="95000"/>
        </a:lnSpc>
        <a:spcBef>
          <a:spcPts val="600"/>
        </a:spcBef>
        <a:spcAft>
          <a:spcPts val="600"/>
        </a:spcAft>
        <a:buFont typeface="Arial" panose="020B0604020202020204" pitchFamily="34" charset="0"/>
        <a:buNone/>
        <a:defRPr sz="2000" b="0" kern="1200">
          <a:solidFill>
            <a:schemeClr val="accent1"/>
          </a:solidFill>
          <a:latin typeface="SLB Sans Book"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2">
          <p15:clr>
            <a:srgbClr val="F26B43"/>
          </p15:clr>
        </p15:guide>
        <p15:guide id="2" pos="288">
          <p15:clr>
            <a:srgbClr val="F26B43"/>
          </p15:clr>
        </p15:guide>
        <p15:guide id="3" pos="7479">
          <p15:clr>
            <a:srgbClr val="F26B43"/>
          </p15:clr>
        </p15:guide>
        <p15:guide id="4" pos="4028">
          <p15:clr>
            <a:srgbClr val="F26B43"/>
          </p15:clr>
        </p15:guide>
        <p15:guide id="5" pos="2588">
          <p15:clr>
            <a:srgbClr val="F26B43"/>
          </p15:clr>
        </p15:guide>
        <p15:guide id="6" pos="5180">
          <p15:clr>
            <a:srgbClr val="F26B43"/>
          </p15:clr>
        </p15:guide>
        <p15:guide id="7" orient="horz" pos="288">
          <p15:clr>
            <a:srgbClr val="F26B43"/>
          </p15:clr>
        </p15:guide>
        <p15:guide id="10" orient="horz" pos="4028">
          <p15:clr>
            <a:srgbClr val="F26B43"/>
          </p15:clr>
        </p15:guide>
        <p15:guide id="11" orient="horz" pos="1436">
          <p15:clr>
            <a:srgbClr val="F26B43"/>
          </p15:clr>
        </p15:guide>
        <p15:guide id="12" orient="horz" pos="1152">
          <p15:clr>
            <a:srgbClr val="F26B43"/>
          </p15:clr>
        </p15:guide>
        <p15:guide id="13" orient="horz" pos="867">
          <p15:clr>
            <a:srgbClr val="F26B43"/>
          </p15:clr>
        </p15:guide>
        <p15:guide id="14" orient="horz" pos="576">
          <p15:clr>
            <a:srgbClr val="F26B43"/>
          </p15:clr>
        </p15:guide>
        <p15:guide id="15" orient="horz" pos="1728">
          <p15:clr>
            <a:srgbClr val="F26B43"/>
          </p15:clr>
        </p15:guide>
        <p15:guide id="16" orient="horz" pos="2302">
          <p15:clr>
            <a:srgbClr val="F26B43"/>
          </p15:clr>
        </p15:guide>
        <p15:guide id="17" orient="horz" pos="2588">
          <p15:clr>
            <a:srgbClr val="F26B43"/>
          </p15:clr>
        </p15:guide>
        <p15:guide id="18" orient="horz" pos="2878">
          <p15:clr>
            <a:srgbClr val="F26B43"/>
          </p15:clr>
        </p15:guide>
        <p15:guide id="19" orient="horz" pos="3164">
          <p15:clr>
            <a:srgbClr val="F26B43"/>
          </p15:clr>
        </p15:guide>
        <p15:guide id="20" orient="horz" pos="3454">
          <p15:clr>
            <a:srgbClr val="F26B43"/>
          </p15:clr>
        </p15:guide>
        <p15:guide id="21" orient="horz" pos="3740">
          <p15:clr>
            <a:srgbClr val="F26B43"/>
          </p15:clr>
        </p15:guide>
        <p15:guide id="22" pos="6903">
          <p15:clr>
            <a:srgbClr val="F26B43"/>
          </p15:clr>
        </p15:guide>
        <p15:guide id="23" pos="6620">
          <p15:clr>
            <a:srgbClr val="F26B43"/>
          </p15:clr>
        </p15:guide>
        <p15:guide id="24" pos="6327">
          <p15:clr>
            <a:srgbClr val="F26B43"/>
          </p15:clr>
        </p15:guide>
        <p15:guide id="25" pos="6044">
          <p15:clr>
            <a:srgbClr val="F26B43"/>
          </p15:clr>
        </p15:guide>
        <p15:guide id="26" pos="5751">
          <p15:clr>
            <a:srgbClr val="F26B43"/>
          </p15:clr>
        </p15:guide>
        <p15:guide id="27" pos="5468">
          <p15:clr>
            <a:srgbClr val="F26B43"/>
          </p15:clr>
        </p15:guide>
        <p15:guide id="28" pos="576">
          <p15:clr>
            <a:srgbClr val="F26B43"/>
          </p15:clr>
        </p15:guide>
        <p15:guide id="29" pos="864">
          <p15:clr>
            <a:srgbClr val="F26B43"/>
          </p15:clr>
        </p15:guide>
        <p15:guide id="30" pos="1152">
          <p15:clr>
            <a:srgbClr val="F26B43"/>
          </p15:clr>
        </p15:guide>
        <p15:guide id="31" pos="1436">
          <p15:clr>
            <a:srgbClr val="F26B43"/>
          </p15:clr>
        </p15:guide>
        <p15:guide id="32" pos="1728">
          <p15:clr>
            <a:srgbClr val="F26B43"/>
          </p15:clr>
        </p15:guide>
        <p15:guide id="33" pos="2012">
          <p15:clr>
            <a:srgbClr val="F26B43"/>
          </p15:clr>
        </p15:guide>
        <p15:guide id="34" pos="2304">
          <p15:clr>
            <a:srgbClr val="F26B43"/>
          </p15:clr>
        </p15:guide>
        <p15:guide id="35" pos="2880">
          <p15:clr>
            <a:srgbClr val="F26B43"/>
          </p15:clr>
        </p15:guide>
        <p15:guide id="36" pos="3164">
          <p15:clr>
            <a:srgbClr val="F26B43"/>
          </p15:clr>
        </p15:guide>
        <p15:guide id="37" pos="3454">
          <p15:clr>
            <a:srgbClr val="F26B43"/>
          </p15:clr>
        </p15:guide>
        <p15:guide id="38" pos="3740">
          <p15:clr>
            <a:srgbClr val="F26B43"/>
          </p15:clr>
        </p15:guide>
        <p15:guide id="39" pos="4316">
          <p15:clr>
            <a:srgbClr val="F26B43"/>
          </p15:clr>
        </p15:guide>
        <p15:guide id="40" pos="4599">
          <p15:clr>
            <a:srgbClr val="F26B43"/>
          </p15:clr>
        </p15:guide>
        <p15:guide id="41" pos="4892">
          <p15:clr>
            <a:srgbClr val="F26B43"/>
          </p15:clr>
        </p15:guide>
        <p15:guide id="42" pos="7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43.xml"/><Relationship Id="rId5" Type="http://schemas.openxmlformats.org/officeDocument/2006/relationships/image" Target="../media/image19.sv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72.xm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72.xml"/></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72.xml"/><Relationship Id="rId5" Type="http://schemas.openxmlformats.org/officeDocument/2006/relationships/image" Target="../media/image47.jpeg"/><Relationship Id="rId4" Type="http://schemas.openxmlformats.org/officeDocument/2006/relationships/image" Target="../media/image46.jpe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72.xml"/><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hyperlink" Target="https://www-nds.iaea.org/publications/indc/indc-nds-0810.pdf" TargetMode="External"/><Relationship Id="rId2" Type="http://schemas.openxmlformats.org/officeDocument/2006/relationships/image" Target="../media/image51.png"/><Relationship Id="rId1" Type="http://schemas.openxmlformats.org/officeDocument/2006/relationships/slideLayout" Target="../slideLayouts/slideLayout172.xml"/><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172.xml"/><Relationship Id="rId6" Type="http://schemas.openxmlformats.org/officeDocument/2006/relationships/image" Target="../media/image56.jpeg"/><Relationship Id="rId5" Type="http://schemas.openxmlformats.org/officeDocument/2006/relationships/image" Target="../media/image55.png"/><Relationship Id="rId4" Type="http://schemas.openxmlformats.org/officeDocument/2006/relationships/image" Target="../media/image54.jpeg"/></Relationships>
</file>

<file path=ppt/slides/_rels/slide1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7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2.xml.rels><?xml version="1.0" encoding="UTF-8" standalone="yes"?>
<Relationships xmlns="http://schemas.openxmlformats.org/package/2006/relationships"><Relationship Id="rId3" Type="http://schemas.openxmlformats.org/officeDocument/2006/relationships/image" Target="../media/image20.jp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72.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jpe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72.xml"/></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172.xml"/><Relationship Id="rId5" Type="http://schemas.openxmlformats.org/officeDocument/2006/relationships/image" Target="../media/image28.png"/><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172.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73.xml"/><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7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gif"/></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72.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72.xml"/><Relationship Id="rId4" Type="http://schemas.openxmlformats.org/officeDocument/2006/relationships/image" Target="../media/image3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9C3CB80-3B9A-5BAA-0C95-86E2FA70C0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000"/>
          <a:stretch/>
        </p:blipFill>
        <p:spPr>
          <a:xfrm>
            <a:off x="20" y="10"/>
            <a:ext cx="12191980" cy="6857990"/>
          </a:xfrm>
          <a:prstGeom prst="rect">
            <a:avLst/>
          </a:prstGeom>
          <a:noFill/>
        </p:spPr>
      </p:pic>
      <p:sp>
        <p:nvSpPr>
          <p:cNvPr id="2" name="Title 1">
            <a:extLst>
              <a:ext uri="{FF2B5EF4-FFF2-40B4-BE49-F238E27FC236}">
                <a16:creationId xmlns:a16="http://schemas.microsoft.com/office/drawing/2014/main" id="{2A778D6C-3E06-1584-C6DB-CF71E41389B2}"/>
              </a:ext>
            </a:extLst>
          </p:cNvPr>
          <p:cNvSpPr>
            <a:spLocks noGrp="1"/>
          </p:cNvSpPr>
          <p:nvPr>
            <p:ph type="title"/>
          </p:nvPr>
        </p:nvSpPr>
        <p:spPr>
          <a:xfrm>
            <a:off x="466436" y="576263"/>
            <a:ext cx="9586913" cy="2852737"/>
          </a:xfrm>
        </p:spPr>
        <p:txBody>
          <a:bodyPr anchor="t">
            <a:normAutofit fontScale="90000"/>
          </a:bodyPr>
          <a:lstStyle/>
          <a:p>
            <a:br>
              <a:rPr kumimoji="0" lang="en-US" sz="5000" b="0" i="0" u="none" strike="noStrike" kern="1200" cap="none" spc="0" normalizeH="0" baseline="0" noProof="0" dirty="0">
                <a:ln>
                  <a:noFill/>
                </a:ln>
                <a:effectLst/>
                <a:uLnTx/>
                <a:uFillTx/>
              </a:rPr>
            </a:br>
            <a:r>
              <a:rPr kumimoji="0" lang="en-US" sz="5000" b="0" i="0" u="none" strike="noStrike" kern="1200" cap="none" spc="0" normalizeH="0" baseline="0" noProof="0" dirty="0">
                <a:ln>
                  <a:noFill/>
                </a:ln>
                <a:effectLst/>
                <a:uLnTx/>
                <a:uFillTx/>
              </a:rPr>
              <a:t>Gamma Ray Spectroscopy in Oilfield</a:t>
            </a:r>
            <a:br>
              <a:rPr lang="en-US" sz="5000" noProof="0" dirty="0"/>
            </a:br>
            <a:br>
              <a:rPr lang="en-US" sz="5000" dirty="0"/>
            </a:br>
            <a:endParaRPr lang="en-US" sz="5000" noProof="0" dirty="0"/>
          </a:p>
        </p:txBody>
      </p:sp>
      <p:sp>
        <p:nvSpPr>
          <p:cNvPr id="7" name="Subtitle 6">
            <a:extLst>
              <a:ext uri="{FF2B5EF4-FFF2-40B4-BE49-F238E27FC236}">
                <a16:creationId xmlns:a16="http://schemas.microsoft.com/office/drawing/2014/main" id="{CDFE6908-2B53-A8B8-14DF-0F78031824FB}"/>
              </a:ext>
            </a:extLst>
          </p:cNvPr>
          <p:cNvSpPr>
            <a:spLocks noGrp="1"/>
          </p:cNvSpPr>
          <p:nvPr>
            <p:ph type="body" idx="1"/>
          </p:nvPr>
        </p:nvSpPr>
        <p:spPr>
          <a:xfrm>
            <a:off x="8844868" y="5611923"/>
            <a:ext cx="3347132" cy="914399"/>
          </a:xfrm>
        </p:spPr>
        <p:txBody>
          <a:bodyPr>
            <a:normAutofit/>
          </a:bodyPr>
          <a:lstStyle/>
          <a:p>
            <a:pPr>
              <a:spcBef>
                <a:spcPts val="300"/>
              </a:spcBef>
              <a:spcAft>
                <a:spcPts val="0"/>
              </a:spcAft>
              <a:tabLst>
                <a:tab pos="2290763" algn="l"/>
              </a:tabLst>
            </a:pPr>
            <a:r>
              <a:rPr lang="en-US" sz="1900" noProof="0" dirty="0"/>
              <a:t>Marie-Laure Mauborgne</a:t>
            </a:r>
          </a:p>
          <a:p>
            <a:pPr>
              <a:spcBef>
                <a:spcPts val="300"/>
              </a:spcBef>
              <a:spcAft>
                <a:spcPts val="0"/>
              </a:spcAft>
              <a:tabLst>
                <a:tab pos="2290763" algn="l"/>
              </a:tabLst>
            </a:pPr>
            <a:r>
              <a:rPr lang="en-US" sz="1900" b="0" dirty="0"/>
              <a:t>SLB</a:t>
            </a:r>
          </a:p>
          <a:p>
            <a:pPr>
              <a:spcBef>
                <a:spcPts val="300"/>
              </a:spcBef>
              <a:spcAft>
                <a:spcPts val="0"/>
              </a:spcAft>
              <a:tabLst>
                <a:tab pos="2290763" algn="l"/>
              </a:tabLst>
            </a:pPr>
            <a:r>
              <a:rPr lang="en-US" sz="1900" b="0" noProof="0" dirty="0"/>
              <a:t>CSG17 – July 17</a:t>
            </a:r>
            <a:r>
              <a:rPr lang="en-US" sz="1900" b="0" baseline="30000" noProof="0" dirty="0"/>
              <a:t>th</a:t>
            </a:r>
            <a:r>
              <a:rPr lang="en-US" sz="1900" b="0" noProof="0" dirty="0"/>
              <a:t> 2023</a:t>
            </a:r>
          </a:p>
        </p:txBody>
      </p:sp>
      <p:sp>
        <p:nvSpPr>
          <p:cNvPr id="14" name="Slide Number Placeholder 5">
            <a:extLst>
              <a:ext uri="{FF2B5EF4-FFF2-40B4-BE49-F238E27FC236}">
                <a16:creationId xmlns:a16="http://schemas.microsoft.com/office/drawing/2014/main" id="{096C0DFE-877C-27E9-4B91-DCB06B2DC39F}"/>
              </a:ext>
            </a:extLst>
          </p:cNvPr>
          <p:cNvSpPr>
            <a:spLocks noGrp="1"/>
          </p:cNvSpPr>
          <p:nvPr>
            <p:ph type="sldNum" sz="quarter" idx="12"/>
          </p:nvPr>
        </p:nvSpPr>
        <p:spPr>
          <a:xfrm>
            <a:off x="11188701" y="6411198"/>
            <a:ext cx="684212" cy="230248"/>
          </a:xfrm>
        </p:spPr>
        <p:txBody>
          <a:bodyPr anchor="b">
            <a:normAutofit/>
          </a:bodyPr>
          <a:lstStyle/>
          <a:p>
            <a:pPr>
              <a:spcAft>
                <a:spcPts val="600"/>
              </a:spcAft>
            </a:pPr>
            <a:fld id="{2737C662-D0ED-4587-B264-5C4F0D975D18}" type="slidenum">
              <a:rPr lang="en-GB" smtClean="0"/>
              <a:pPr>
                <a:spcAft>
                  <a:spcPts val="600"/>
                </a:spcAft>
              </a:pPr>
              <a:t>1</a:t>
            </a:fld>
            <a:endParaRPr lang="en-GB"/>
          </a:p>
        </p:txBody>
      </p:sp>
      <p:pic>
        <p:nvPicPr>
          <p:cNvPr id="11" name="Graphic 10">
            <a:extLst>
              <a:ext uri="{FF2B5EF4-FFF2-40B4-BE49-F238E27FC236}">
                <a16:creationId xmlns:a16="http://schemas.microsoft.com/office/drawing/2014/main" id="{C9A5CE53-B7CE-E026-1784-11D5444BC337}"/>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97112" y="5683251"/>
            <a:ext cx="1240572" cy="872814"/>
          </a:xfrm>
          <a:prstGeom prst="rect">
            <a:avLst/>
          </a:prstGeom>
        </p:spPr>
      </p:pic>
    </p:spTree>
    <p:extLst>
      <p:ext uri="{BB962C8B-B14F-4D97-AF65-F5344CB8AC3E}">
        <p14:creationId xmlns:p14="http://schemas.microsoft.com/office/powerpoint/2010/main" val="2854351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807619B-349D-8A80-EBAE-7A4E2833CC84}"/>
              </a:ext>
            </a:extLst>
          </p:cNvPr>
          <p:cNvSpPr>
            <a:spLocks noGrp="1"/>
          </p:cNvSpPr>
          <p:nvPr>
            <p:ph sz="quarter" idx="12"/>
          </p:nvPr>
        </p:nvSpPr>
        <p:spPr/>
        <p:txBody>
          <a:bodyPr/>
          <a:lstStyle/>
          <a:p>
            <a:endParaRPr lang="en-US" dirty="0"/>
          </a:p>
        </p:txBody>
      </p:sp>
      <p:pic>
        <p:nvPicPr>
          <p:cNvPr id="7" name="Picture 1" descr="D:\Documents\PC\01StingRay\Pictures\Stingrayimages2\Stingray_newBow_03.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98004" y="891998"/>
            <a:ext cx="4504549" cy="3381933"/>
          </a:xfrm>
          <a:prstGeom prst="rect">
            <a:avLst/>
          </a:prstGeom>
          <a:ln>
            <a:noFill/>
          </a:ln>
          <a:effectLst>
            <a:outerShdw blurRad="190500" algn="tl" rotWithShape="0">
              <a:srgbClr val="000000">
                <a:alpha val="70000"/>
              </a:srgbClr>
            </a:outerShdw>
          </a:effectLst>
        </p:spPr>
      </p:pic>
      <p:sp>
        <p:nvSpPr>
          <p:cNvPr id="4098" name="Rectangle 5"/>
          <p:cNvSpPr>
            <a:spLocks noGrp="1" noChangeArrowheads="1"/>
          </p:cNvSpPr>
          <p:nvPr>
            <p:ph sz="quarter" idx="11"/>
          </p:nvPr>
        </p:nvSpPr>
        <p:spPr>
          <a:xfrm>
            <a:off x="517660" y="983675"/>
            <a:ext cx="5396365" cy="4696602"/>
          </a:xfrm>
        </p:spPr>
        <p:txBody>
          <a:bodyPr/>
          <a:lstStyle/>
          <a:p>
            <a:r>
              <a:rPr lang="en-US" dirty="0"/>
              <a:t>Diameter: 11.5 cm</a:t>
            </a:r>
          </a:p>
          <a:p>
            <a:r>
              <a:rPr lang="en-US" dirty="0"/>
              <a:t>Length: 3 m</a:t>
            </a:r>
          </a:p>
          <a:p>
            <a:r>
              <a:rPr lang="en-US" dirty="0"/>
              <a:t>Mass: 130 kg</a:t>
            </a:r>
          </a:p>
          <a:p>
            <a:r>
              <a:rPr lang="en-US" dirty="0"/>
              <a:t>Ratings: 175°C, 100 atm</a:t>
            </a:r>
          </a:p>
          <a:p>
            <a:endParaRPr lang="en-US" dirty="0"/>
          </a:p>
          <a:p>
            <a:r>
              <a:rPr lang="en-US" dirty="0"/>
              <a:t>Uses LaBr</a:t>
            </a:r>
            <a:r>
              <a:rPr lang="en-US" baseline="-25000" dirty="0"/>
              <a:t>3</a:t>
            </a:r>
            <a:r>
              <a:rPr lang="en-US" dirty="0"/>
              <a:t>: Ce spectroscopy detector</a:t>
            </a:r>
          </a:p>
          <a:p>
            <a:r>
              <a:rPr lang="en-US" dirty="0"/>
              <a:t>Pulsed neutron generator, 3.6 × 10</a:t>
            </a:r>
            <a:r>
              <a:rPr lang="en-US" baseline="30000" dirty="0"/>
              <a:t>8</a:t>
            </a:r>
            <a:r>
              <a:rPr lang="en-US" dirty="0"/>
              <a:t> neutron/s nominal output</a:t>
            </a:r>
          </a:p>
          <a:p>
            <a:endParaRPr lang="en-US" dirty="0"/>
          </a:p>
          <a:p>
            <a:r>
              <a:rPr lang="en-US" dirty="0"/>
              <a:t>First (in the industry) in-situ measurement of</a:t>
            </a:r>
            <a:br>
              <a:rPr lang="en-US" dirty="0"/>
            </a:br>
            <a:r>
              <a:rPr lang="en-US" dirty="0"/>
              <a:t>total organic carbon </a:t>
            </a:r>
          </a:p>
          <a:p>
            <a:pPr lvl="1"/>
            <a:endParaRPr lang="en-US" dirty="0"/>
          </a:p>
          <a:p>
            <a:endParaRPr lang="en-US" dirty="0"/>
          </a:p>
          <a:p>
            <a:endParaRPr lang="en-US" dirty="0"/>
          </a:p>
          <a:p>
            <a:endParaRPr lang="en-US" dirty="0"/>
          </a:p>
          <a:p>
            <a:endParaRPr lang="en-US" dirty="0"/>
          </a:p>
          <a:p>
            <a:endParaRPr lang="fr-FR" dirty="0"/>
          </a:p>
        </p:txBody>
      </p:sp>
      <p:sp>
        <p:nvSpPr>
          <p:cNvPr id="4099" name="Rectangle 6"/>
          <p:cNvSpPr>
            <a:spLocks noGrp="1" noChangeArrowheads="1"/>
          </p:cNvSpPr>
          <p:nvPr>
            <p:ph type="title"/>
          </p:nvPr>
        </p:nvSpPr>
        <p:spPr>
          <a:xfrm>
            <a:off x="516073" y="300164"/>
            <a:ext cx="11156680" cy="781198"/>
          </a:xfrm>
        </p:spPr>
        <p:txBody>
          <a:bodyPr/>
          <a:lstStyle/>
          <a:p>
            <a:r>
              <a:rPr lang="en-US" dirty="0"/>
              <a:t>Tool Example—Spectroscopy Measurements</a:t>
            </a:r>
            <a:endParaRPr lang="fr-FR" dirty="0"/>
          </a:p>
        </p:txBody>
      </p:sp>
      <p:grpSp>
        <p:nvGrpSpPr>
          <p:cNvPr id="12" name="Group 11">
            <a:extLst>
              <a:ext uri="{FF2B5EF4-FFF2-40B4-BE49-F238E27FC236}">
                <a16:creationId xmlns:a16="http://schemas.microsoft.com/office/drawing/2014/main" id="{22512DB2-D938-CFEF-399D-C610CFC74CDD}"/>
              </a:ext>
            </a:extLst>
          </p:cNvPr>
          <p:cNvGrpSpPr>
            <a:grpSpLocks noChangeAspect="1"/>
          </p:cNvGrpSpPr>
          <p:nvPr/>
        </p:nvGrpSpPr>
        <p:grpSpPr>
          <a:xfrm>
            <a:off x="6393592" y="4283784"/>
            <a:ext cx="4642270" cy="1545971"/>
            <a:chOff x="6277977" y="4352881"/>
            <a:chExt cx="5108027" cy="1701078"/>
          </a:xfrm>
        </p:grpSpPr>
        <p:pic>
          <p:nvPicPr>
            <p:cNvPr id="10" name="Picture 9">
              <a:extLst>
                <a:ext uri="{FF2B5EF4-FFF2-40B4-BE49-F238E27FC236}">
                  <a16:creationId xmlns:a16="http://schemas.microsoft.com/office/drawing/2014/main" id="{055A5FD2-CBC9-334D-711E-58657CFE9F3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277977" y="4352881"/>
              <a:ext cx="5108027" cy="1695919"/>
            </a:xfrm>
            <a:prstGeom prst="rect">
              <a:avLst/>
            </a:prstGeom>
            <a:ln>
              <a:noFill/>
            </a:ln>
            <a:effectLst>
              <a:outerShdw blurRad="190500" algn="tl" rotWithShape="0">
                <a:srgbClr val="000000">
                  <a:alpha val="70000"/>
                </a:srgbClr>
              </a:outerShdw>
            </a:effectLst>
          </p:spPr>
        </p:pic>
        <p:sp>
          <p:nvSpPr>
            <p:cNvPr id="11" name="Rectangle 10">
              <a:extLst>
                <a:ext uri="{FF2B5EF4-FFF2-40B4-BE49-F238E27FC236}">
                  <a16:creationId xmlns:a16="http://schemas.microsoft.com/office/drawing/2014/main" id="{FD919D2B-6A3B-9892-92F3-DE24DA0BC730}"/>
                </a:ext>
              </a:extLst>
            </p:cNvPr>
            <p:cNvSpPr/>
            <p:nvPr/>
          </p:nvSpPr>
          <p:spPr>
            <a:xfrm>
              <a:off x="6277977" y="5885793"/>
              <a:ext cx="3360009" cy="168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4" name="Straight Arrow Connector 13">
            <a:extLst>
              <a:ext uri="{FF2B5EF4-FFF2-40B4-BE49-F238E27FC236}">
                <a16:creationId xmlns:a16="http://schemas.microsoft.com/office/drawing/2014/main" id="{70DACFCC-AFB9-E201-71D6-5F7D7D743619}"/>
              </a:ext>
            </a:extLst>
          </p:cNvPr>
          <p:cNvCxnSpPr/>
          <p:nvPr/>
        </p:nvCxnSpPr>
        <p:spPr>
          <a:xfrm flipV="1">
            <a:off x="8376745" y="2028497"/>
            <a:ext cx="157655" cy="2255287"/>
          </a:xfrm>
          <a:prstGeom prst="straightConnector1">
            <a:avLst/>
          </a:prstGeom>
          <a:ln w="9525" cap="rnd">
            <a:solidFill>
              <a:schemeClr val="accent1"/>
            </a:solidFill>
            <a:roun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531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63F486-CB9B-4043-AED7-E6D480405688}"/>
              </a:ext>
            </a:extLst>
          </p:cNvPr>
          <p:cNvSpPr>
            <a:spLocks noGrp="1"/>
          </p:cNvSpPr>
          <p:nvPr>
            <p:ph sz="quarter" idx="11"/>
          </p:nvPr>
        </p:nvSpPr>
        <p:spPr>
          <a:xfrm>
            <a:off x="517660" y="1671782"/>
            <a:ext cx="11161445" cy="3843801"/>
          </a:xfrm>
        </p:spPr>
        <p:txBody>
          <a:bodyPr lIns="0" rIns="0" numCol="3" spcCol="182880">
            <a:normAutofit/>
          </a:bodyPr>
          <a:lstStyle/>
          <a:p>
            <a:r>
              <a:rPr lang="en-US" dirty="0"/>
              <a:t>Nuclear modeling is fundamental to well logging tool development</a:t>
            </a:r>
            <a:endParaRPr lang="en-US" dirty="0">
              <a:solidFill>
                <a:srgbClr val="FF0000"/>
              </a:solidFill>
            </a:endParaRPr>
          </a:p>
          <a:p>
            <a:pPr lvl="1"/>
            <a:r>
              <a:rPr lang="en-US" sz="1800" dirty="0"/>
              <a:t>Explore design choices quickly</a:t>
            </a:r>
          </a:p>
          <a:p>
            <a:pPr lvl="1"/>
            <a:r>
              <a:rPr lang="en-US" sz="1800" dirty="0"/>
              <a:t>Balance mechanics, electronics, and physics without costly experimentation</a:t>
            </a:r>
          </a:p>
          <a:p>
            <a:pPr lvl="1"/>
            <a:r>
              <a:rPr lang="en-US" sz="1800" dirty="0"/>
              <a:t>Complement and extend characterization measurements</a:t>
            </a:r>
          </a:p>
          <a:p>
            <a:pPr marL="496491" lvl="1" indent="-257175">
              <a:buFont typeface="Arial" panose="020B0604020202020204" pitchFamily="34" charset="0"/>
              <a:buChar char="•"/>
            </a:pPr>
            <a:endParaRPr lang="en-US" dirty="0"/>
          </a:p>
          <a:p>
            <a:pPr marL="239316" lvl="1"/>
            <a:endParaRPr lang="en-US" dirty="0"/>
          </a:p>
          <a:p>
            <a:r>
              <a:rPr lang="en-US" dirty="0"/>
              <a:t>Accurate modeling relies on accurate cross sections</a:t>
            </a:r>
          </a:p>
          <a:p>
            <a:pPr lvl="1"/>
            <a:r>
              <a:rPr lang="en-US" sz="1800" dirty="0"/>
              <a:t>Adequate for gamma rays and neutrons transport</a:t>
            </a:r>
          </a:p>
          <a:p>
            <a:pPr lvl="1"/>
            <a:r>
              <a:rPr lang="en-US" sz="1800" dirty="0"/>
              <a:t>Improvement needed for neutron-induced gamma rays</a:t>
            </a:r>
          </a:p>
          <a:p>
            <a:pPr marL="496491" lvl="1" indent="-257175">
              <a:buFont typeface="Arial" panose="020B0604020202020204" pitchFamily="34" charset="0"/>
              <a:buChar char="•"/>
            </a:pPr>
            <a:endParaRPr lang="en-US" dirty="0"/>
          </a:p>
          <a:p>
            <a:pPr marL="239316" lvl="1"/>
            <a:endParaRPr lang="en-US" dirty="0"/>
          </a:p>
          <a:p>
            <a:pPr marL="239316" lvl="1"/>
            <a:endParaRPr lang="en-US" dirty="0"/>
          </a:p>
          <a:p>
            <a:pPr marL="239316" lvl="1"/>
            <a:endParaRPr lang="en-US" dirty="0"/>
          </a:p>
          <a:p>
            <a:r>
              <a:rPr lang="en-US" dirty="0"/>
              <a:t>For spectroscopy, better cross sections would</a:t>
            </a:r>
          </a:p>
          <a:p>
            <a:pPr lvl="1"/>
            <a:r>
              <a:rPr lang="en-US" sz="1800" dirty="0"/>
              <a:t>Improve standards derivation and interpretation algorithms</a:t>
            </a:r>
          </a:p>
          <a:p>
            <a:pPr lvl="1"/>
            <a:r>
              <a:rPr lang="en-US" sz="1800" dirty="0"/>
              <a:t>Might allow for defining elemental standards directly from modeling</a:t>
            </a:r>
          </a:p>
        </p:txBody>
      </p:sp>
      <p:sp>
        <p:nvSpPr>
          <p:cNvPr id="3" name="Title 2">
            <a:extLst>
              <a:ext uri="{FF2B5EF4-FFF2-40B4-BE49-F238E27FC236}">
                <a16:creationId xmlns:a16="http://schemas.microsoft.com/office/drawing/2014/main" id="{C8706331-217C-493D-B778-7AF140D3F7D5}"/>
              </a:ext>
            </a:extLst>
          </p:cNvPr>
          <p:cNvSpPr>
            <a:spLocks noGrp="1"/>
          </p:cNvSpPr>
          <p:nvPr>
            <p:ph type="title"/>
          </p:nvPr>
        </p:nvSpPr>
        <p:spPr>
          <a:xfrm>
            <a:off x="516073" y="300164"/>
            <a:ext cx="11156680" cy="781198"/>
          </a:xfrm>
        </p:spPr>
        <p:txBody>
          <a:bodyPr/>
          <a:lstStyle/>
          <a:p>
            <a:r>
              <a:rPr lang="en-US" dirty="0"/>
              <a:t>Why Do We Need (accurate) Modeling and Cross Sections?</a:t>
            </a:r>
          </a:p>
        </p:txBody>
      </p:sp>
    </p:spTree>
    <p:extLst>
      <p:ext uri="{BB962C8B-B14F-4D97-AF65-F5344CB8AC3E}">
        <p14:creationId xmlns:p14="http://schemas.microsoft.com/office/powerpoint/2010/main" val="138295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13" end="1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14" end="1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F6C655C-44E5-4D59-BDAA-79195BDD732B}"/>
              </a:ext>
            </a:extLst>
          </p:cNvPr>
          <p:cNvSpPr>
            <a:spLocks noGrp="1"/>
          </p:cNvSpPr>
          <p:nvPr>
            <p:ph sz="quarter" idx="11"/>
          </p:nvPr>
        </p:nvSpPr>
        <p:spPr/>
        <p:txBody>
          <a:bodyPr/>
          <a:lstStyle/>
          <a:p>
            <a:pPr lvl="1"/>
            <a:r>
              <a:rPr lang="en-US" dirty="0"/>
              <a:t>Calcium is an important element for geology evaluation.</a:t>
            </a:r>
          </a:p>
          <a:p>
            <a:endParaRPr lang="en-US" dirty="0"/>
          </a:p>
          <a:p>
            <a:pPr lvl="2"/>
            <a:r>
              <a:rPr lang="en-US" dirty="0"/>
              <a:t>It was the first element for which we observed a regression cross section library</a:t>
            </a:r>
          </a:p>
          <a:p>
            <a:pPr lvl="2"/>
            <a:endParaRPr lang="en-US" dirty="0"/>
          </a:p>
          <a:p>
            <a:pPr lvl="2"/>
            <a:r>
              <a:rPr lang="en-US" dirty="0"/>
              <a:t>No gamma ray lines above 3 MeV, extra line near 2.5MeV  with unusual  continuum shape</a:t>
            </a:r>
          </a:p>
          <a:p>
            <a:pPr lvl="2"/>
            <a:endParaRPr lang="en-US" dirty="0"/>
          </a:p>
          <a:p>
            <a:pPr lvl="2"/>
            <a:endParaRPr lang="en-US" dirty="0"/>
          </a:p>
          <a:p>
            <a:pPr lvl="2"/>
            <a:endParaRPr lang="en-US" dirty="0"/>
          </a:p>
          <a:p>
            <a:pPr lvl="2"/>
            <a:endParaRPr lang="en-US" dirty="0"/>
          </a:p>
          <a:p>
            <a:endParaRPr lang="en-US" dirty="0"/>
          </a:p>
        </p:txBody>
      </p:sp>
      <p:sp>
        <p:nvSpPr>
          <p:cNvPr id="15" name="Content Placeholder 14">
            <a:extLst>
              <a:ext uri="{FF2B5EF4-FFF2-40B4-BE49-F238E27FC236}">
                <a16:creationId xmlns:a16="http://schemas.microsoft.com/office/drawing/2014/main" id="{5FF38C79-CF6A-46D4-8297-C9C5D3F2FB0E}"/>
              </a:ext>
            </a:extLst>
          </p:cNvPr>
          <p:cNvSpPr>
            <a:spLocks noGrp="1"/>
          </p:cNvSpPr>
          <p:nvPr>
            <p:ph sz="quarter" idx="12"/>
          </p:nvPr>
        </p:nvSpPr>
        <p:spPr/>
        <p:txBody>
          <a:bodyPr/>
          <a:lstStyle/>
          <a:p>
            <a:endParaRPr lang="en-US"/>
          </a:p>
        </p:txBody>
      </p:sp>
      <p:sp>
        <p:nvSpPr>
          <p:cNvPr id="3" name="Title 2">
            <a:extLst>
              <a:ext uri="{FF2B5EF4-FFF2-40B4-BE49-F238E27FC236}">
                <a16:creationId xmlns:a16="http://schemas.microsoft.com/office/drawing/2014/main" id="{6D912CDB-41F9-4C7B-A8DF-9B14A6EE4F08}"/>
              </a:ext>
            </a:extLst>
          </p:cNvPr>
          <p:cNvSpPr>
            <a:spLocks noGrp="1"/>
          </p:cNvSpPr>
          <p:nvPr>
            <p:ph type="title"/>
          </p:nvPr>
        </p:nvSpPr>
        <p:spPr>
          <a:xfrm>
            <a:off x="457200" y="412363"/>
            <a:ext cx="5567680" cy="3696087"/>
          </a:xfrm>
        </p:spPr>
        <p:txBody>
          <a:bodyPr/>
          <a:lstStyle/>
          <a:p>
            <a:r>
              <a:rPr lang="en-US" dirty="0"/>
              <a:t>Calcium Capture Spectrum</a:t>
            </a:r>
          </a:p>
        </p:txBody>
      </p:sp>
      <p:pic>
        <p:nvPicPr>
          <p:cNvPr id="9" name="Picture 8">
            <a:extLst>
              <a:ext uri="{FF2B5EF4-FFF2-40B4-BE49-F238E27FC236}">
                <a16:creationId xmlns:a16="http://schemas.microsoft.com/office/drawing/2014/main" id="{6C564BE7-9AD5-404F-B810-4FF364C527F4}"/>
              </a:ext>
            </a:extLst>
          </p:cNvPr>
          <p:cNvPicPr>
            <a:picLocks/>
          </p:cNvPicPr>
          <p:nvPr/>
        </p:nvPicPr>
        <p:blipFill rotWithShape="1">
          <a:blip r:embed="rId2" cstate="print">
            <a:extLst>
              <a:ext uri="{28A0092B-C50C-407E-A947-70E740481C1C}">
                <a14:useLocalDpi xmlns:a14="http://schemas.microsoft.com/office/drawing/2010/main"/>
              </a:ext>
            </a:extLst>
          </a:blip>
          <a:srcRect/>
          <a:stretch/>
        </p:blipFill>
        <p:spPr>
          <a:xfrm>
            <a:off x="7152122" y="412363"/>
            <a:ext cx="3657600" cy="2743200"/>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89E2DBDD-7CA6-4DD2-9704-444E8D0F67E9}"/>
              </a:ext>
            </a:extLst>
          </p:cNvPr>
          <p:cNvPicPr>
            <a:picLocks/>
          </p:cNvPicPr>
          <p:nvPr/>
        </p:nvPicPr>
        <p:blipFill rotWithShape="1">
          <a:blip r:embed="rId3" cstate="print">
            <a:extLst>
              <a:ext uri="{28A0092B-C50C-407E-A947-70E740481C1C}">
                <a14:useLocalDpi xmlns:a14="http://schemas.microsoft.com/office/drawing/2010/main"/>
              </a:ext>
            </a:extLst>
          </a:blip>
          <a:srcRect/>
          <a:stretch/>
        </p:blipFill>
        <p:spPr>
          <a:xfrm>
            <a:off x="7152122" y="3410243"/>
            <a:ext cx="3657600" cy="2743200"/>
          </a:xfrm>
          <a:prstGeom prst="rect">
            <a:avLst/>
          </a:prstGeom>
          <a:ln>
            <a:noFill/>
          </a:ln>
          <a:effectLst>
            <a:outerShdw blurRad="190500" algn="tl" rotWithShape="0">
              <a:srgbClr val="000000">
                <a:alpha val="70000"/>
              </a:srgbClr>
            </a:outerShdw>
          </a:effectLst>
        </p:spPr>
      </p:pic>
      <p:sp>
        <p:nvSpPr>
          <p:cNvPr id="5" name="TextBox 4">
            <a:extLst>
              <a:ext uri="{FF2B5EF4-FFF2-40B4-BE49-F238E27FC236}">
                <a16:creationId xmlns:a16="http://schemas.microsoft.com/office/drawing/2014/main" id="{D177090C-ADF3-614A-F525-C8BF79EA5A68}"/>
              </a:ext>
            </a:extLst>
          </p:cNvPr>
          <p:cNvSpPr txBox="1"/>
          <p:nvPr/>
        </p:nvSpPr>
        <p:spPr>
          <a:xfrm>
            <a:off x="6282739" y="6332706"/>
            <a:ext cx="5396365" cy="430887"/>
          </a:xfrm>
          <a:prstGeom prst="rect">
            <a:avLst/>
          </a:prstGeom>
          <a:noFill/>
        </p:spPr>
        <p:txBody>
          <a:bodyPr wrap="square" rtlCol="0">
            <a:spAutoFit/>
          </a:bodyPr>
          <a:lstStyle/>
          <a:p>
            <a:r>
              <a:rPr lang="en-US" sz="1100" dirty="0"/>
              <a:t>EGAF: “Database of prompt gamma rays from slow neutron capture for elemental analysis”  Vienna : International Atomic Energy Agency, 2006 </a:t>
            </a:r>
          </a:p>
        </p:txBody>
      </p:sp>
      <p:sp>
        <p:nvSpPr>
          <p:cNvPr id="11" name="Rectangle 10">
            <a:extLst>
              <a:ext uri="{FF2B5EF4-FFF2-40B4-BE49-F238E27FC236}">
                <a16:creationId xmlns:a16="http://schemas.microsoft.com/office/drawing/2014/main" id="{47930BBE-3F8A-F58E-6C67-B7A51FC00A12}"/>
              </a:ext>
            </a:extLst>
          </p:cNvPr>
          <p:cNvSpPr/>
          <p:nvPr/>
        </p:nvSpPr>
        <p:spPr>
          <a:xfrm>
            <a:off x="7152122" y="491526"/>
            <a:ext cx="3657600" cy="27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42BB1E5-80D3-688A-CA25-890EB145723B}"/>
              </a:ext>
            </a:extLst>
          </p:cNvPr>
          <p:cNvSpPr/>
          <p:nvPr/>
        </p:nvSpPr>
        <p:spPr>
          <a:xfrm>
            <a:off x="7152122" y="3400083"/>
            <a:ext cx="3657600" cy="27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6390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nodePh="1">
                                  <p:stCondLst>
                                    <p:cond delay="0"/>
                                  </p:stCondLst>
                                  <p:endCondLst>
                                    <p:cond evt="begin" delay="0">
                                      <p:tn val="9"/>
                                    </p:cond>
                                  </p:end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DE043A-0EF7-45D2-B6DD-80428D6907A0}"/>
              </a:ext>
            </a:extLst>
          </p:cNvPr>
          <p:cNvSpPr>
            <a:spLocks noGrp="1"/>
          </p:cNvSpPr>
          <p:nvPr>
            <p:ph sz="quarter" idx="11"/>
          </p:nvPr>
        </p:nvSpPr>
        <p:spPr/>
        <p:txBody>
          <a:bodyPr/>
          <a:lstStyle/>
          <a:p>
            <a:pPr lvl="1"/>
            <a:endParaRPr lang="en-US" dirty="0"/>
          </a:p>
          <a:p>
            <a:pPr lvl="1"/>
            <a:r>
              <a:rPr lang="en-US" dirty="0"/>
              <a:t>Use of Fe-56 cross sections</a:t>
            </a:r>
          </a:p>
          <a:p>
            <a:pPr lvl="1"/>
            <a:endParaRPr lang="en-US" dirty="0"/>
          </a:p>
          <a:p>
            <a:pPr lvl="1"/>
            <a:r>
              <a:rPr lang="en-US" dirty="0"/>
              <a:t>ENDF/B-VII.1 has the best match with experimental data and IAEA capture gamma-ray emission lines.</a:t>
            </a:r>
          </a:p>
          <a:p>
            <a:pPr lvl="1"/>
            <a:r>
              <a:rPr lang="en-US" dirty="0"/>
              <a:t>ENDF/B-VIII.0 introduces new lines not observed experimentally nor reported in the literature.</a:t>
            </a:r>
          </a:p>
          <a:p>
            <a:pPr lvl="1"/>
            <a:endParaRPr lang="en-US" dirty="0"/>
          </a:p>
          <a:p>
            <a:endParaRPr lang="en-US" dirty="0"/>
          </a:p>
        </p:txBody>
      </p:sp>
      <p:sp>
        <p:nvSpPr>
          <p:cNvPr id="22" name="Content Placeholder 21">
            <a:extLst>
              <a:ext uri="{FF2B5EF4-FFF2-40B4-BE49-F238E27FC236}">
                <a16:creationId xmlns:a16="http://schemas.microsoft.com/office/drawing/2014/main" id="{8071A753-A5A7-E83D-4EE7-F5A1F9C4CA2D}"/>
              </a:ext>
            </a:extLst>
          </p:cNvPr>
          <p:cNvSpPr>
            <a:spLocks noGrp="1"/>
          </p:cNvSpPr>
          <p:nvPr>
            <p:ph sz="quarter" idx="12"/>
          </p:nvPr>
        </p:nvSpPr>
        <p:spPr/>
        <p:txBody>
          <a:bodyPr/>
          <a:lstStyle/>
          <a:p>
            <a:endParaRPr lang="en-US"/>
          </a:p>
        </p:txBody>
      </p:sp>
      <p:sp>
        <p:nvSpPr>
          <p:cNvPr id="3" name="Title 2">
            <a:extLst>
              <a:ext uri="{FF2B5EF4-FFF2-40B4-BE49-F238E27FC236}">
                <a16:creationId xmlns:a16="http://schemas.microsoft.com/office/drawing/2014/main" id="{2BAA6B30-5672-46AC-86D1-7B5EC26A4200}"/>
              </a:ext>
            </a:extLst>
          </p:cNvPr>
          <p:cNvSpPr>
            <a:spLocks noGrp="1"/>
          </p:cNvSpPr>
          <p:nvPr>
            <p:ph type="title"/>
          </p:nvPr>
        </p:nvSpPr>
        <p:spPr>
          <a:xfrm>
            <a:off x="457199" y="412364"/>
            <a:ext cx="5820777" cy="1607136"/>
          </a:xfrm>
        </p:spPr>
        <p:txBody>
          <a:bodyPr/>
          <a:lstStyle/>
          <a:p>
            <a:r>
              <a:rPr lang="en-US" dirty="0"/>
              <a:t>Iron Capture Spectrum</a:t>
            </a:r>
          </a:p>
        </p:txBody>
      </p:sp>
      <p:pic>
        <p:nvPicPr>
          <p:cNvPr id="6" name="Picture 5">
            <a:extLst>
              <a:ext uri="{FF2B5EF4-FFF2-40B4-BE49-F238E27FC236}">
                <a16:creationId xmlns:a16="http://schemas.microsoft.com/office/drawing/2014/main" id="{46B0A371-E9EC-4357-AF4A-C201DA88E5B2}"/>
              </a:ext>
            </a:extLst>
          </p:cNvPr>
          <p:cNvPicPr>
            <a:picLocks/>
          </p:cNvPicPr>
          <p:nvPr/>
        </p:nvPicPr>
        <p:blipFill rotWithShape="1">
          <a:blip r:embed="rId2" cstate="print">
            <a:extLst>
              <a:ext uri="{28A0092B-C50C-407E-A947-70E740481C1C}">
                <a14:useLocalDpi xmlns:a14="http://schemas.microsoft.com/office/drawing/2010/main"/>
              </a:ext>
            </a:extLst>
          </a:blip>
          <a:srcRect r="-87"/>
          <a:stretch/>
        </p:blipFill>
        <p:spPr>
          <a:xfrm>
            <a:off x="7152122" y="3415119"/>
            <a:ext cx="3657600" cy="2743200"/>
          </a:xfrm>
          <a:prstGeom prst="rect">
            <a:avLst/>
          </a:prstGeom>
          <a:ln w="12700">
            <a:solidFill>
              <a:schemeClr val="accent6"/>
            </a:solidFill>
          </a:ln>
          <a:effectLst>
            <a:outerShdw blurRad="190500" algn="tl" rotWithShape="0">
              <a:srgbClr val="000000">
                <a:alpha val="70000"/>
              </a:srgbClr>
            </a:outerShdw>
          </a:effectLst>
        </p:spPr>
      </p:pic>
      <p:pic>
        <p:nvPicPr>
          <p:cNvPr id="3073" name="Picture 1" descr="C:\Users\MMauborgne\AppData\Local\Temp\ConnectorClipboard209620033780624239\image15554399593580.png">
            <a:extLst>
              <a:ext uri="{FF2B5EF4-FFF2-40B4-BE49-F238E27FC236}">
                <a16:creationId xmlns:a16="http://schemas.microsoft.com/office/drawing/2014/main" id="{A34EFFCA-5956-4F5B-8C4B-0986FA37AEA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152122" y="411764"/>
            <a:ext cx="3657600" cy="2743200"/>
          </a:xfrm>
          <a:prstGeom prst="rect">
            <a:avLst/>
          </a:prstGeom>
          <a:ln w="12700">
            <a:solidFill>
              <a:schemeClr val="accent6"/>
            </a:solid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396D0A4D-AFE5-44C0-BAC8-F561433E640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078661" y="2196227"/>
            <a:ext cx="1100055" cy="464797"/>
          </a:xfrm>
          <a:prstGeom prst="rect">
            <a:avLst/>
          </a:prstGeom>
          <a:ln>
            <a:solidFill>
              <a:schemeClr val="accent6"/>
            </a:solidFill>
          </a:ln>
        </p:spPr>
      </p:pic>
      <p:pic>
        <p:nvPicPr>
          <p:cNvPr id="11" name="Picture 10">
            <a:extLst>
              <a:ext uri="{FF2B5EF4-FFF2-40B4-BE49-F238E27FC236}">
                <a16:creationId xmlns:a16="http://schemas.microsoft.com/office/drawing/2014/main" id="{C5E58A12-484B-4459-8C1B-744A2CFBDFC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38021" y="2019499"/>
            <a:ext cx="1815144" cy="729419"/>
          </a:xfrm>
          <a:prstGeom prst="rect">
            <a:avLst/>
          </a:prstGeom>
          <a:ln>
            <a:solidFill>
              <a:schemeClr val="accent6"/>
            </a:solidFill>
          </a:ln>
        </p:spPr>
      </p:pic>
      <p:sp>
        <p:nvSpPr>
          <p:cNvPr id="12" name="Rectangle 11">
            <a:extLst>
              <a:ext uri="{FF2B5EF4-FFF2-40B4-BE49-F238E27FC236}">
                <a16:creationId xmlns:a16="http://schemas.microsoft.com/office/drawing/2014/main" id="{C585AF5F-F4CD-421F-B50C-2BC5A86CED62}"/>
              </a:ext>
            </a:extLst>
          </p:cNvPr>
          <p:cNvSpPr/>
          <p:nvPr/>
        </p:nvSpPr>
        <p:spPr>
          <a:xfrm>
            <a:off x="7994020" y="1587288"/>
            <a:ext cx="201326" cy="161470"/>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4" name="Straight Connector 13">
            <a:extLst>
              <a:ext uri="{FF2B5EF4-FFF2-40B4-BE49-F238E27FC236}">
                <a16:creationId xmlns:a16="http://schemas.microsoft.com/office/drawing/2014/main" id="{BAFFD4E9-BA1B-45AC-A824-F967FA08E1EE}"/>
              </a:ext>
            </a:extLst>
          </p:cNvPr>
          <p:cNvCxnSpPr>
            <a:cxnSpLocks/>
          </p:cNvCxnSpPr>
          <p:nvPr/>
        </p:nvCxnSpPr>
        <p:spPr>
          <a:xfrm flipH="1" flipV="1">
            <a:off x="8195347" y="1748757"/>
            <a:ext cx="1324439" cy="35957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68C3A0F-0FB9-4B5E-82EE-DDDC3C99BF00}"/>
              </a:ext>
            </a:extLst>
          </p:cNvPr>
          <p:cNvCxnSpPr>
            <a:cxnSpLocks/>
          </p:cNvCxnSpPr>
          <p:nvPr/>
        </p:nvCxnSpPr>
        <p:spPr>
          <a:xfrm flipH="1">
            <a:off x="7795855" y="1751272"/>
            <a:ext cx="198164" cy="35258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78FE7F85-19A2-4E0A-A7FC-061E665A05CF}"/>
              </a:ext>
            </a:extLst>
          </p:cNvPr>
          <p:cNvSpPr/>
          <p:nvPr/>
        </p:nvSpPr>
        <p:spPr>
          <a:xfrm>
            <a:off x="8071867" y="4427964"/>
            <a:ext cx="86285" cy="47244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2" name="Oval 31">
            <a:extLst>
              <a:ext uri="{FF2B5EF4-FFF2-40B4-BE49-F238E27FC236}">
                <a16:creationId xmlns:a16="http://schemas.microsoft.com/office/drawing/2014/main" id="{BF4713A5-87BC-40F9-B5E6-1CDDEDB5DE2E}"/>
              </a:ext>
            </a:extLst>
          </p:cNvPr>
          <p:cNvSpPr/>
          <p:nvPr/>
        </p:nvSpPr>
        <p:spPr>
          <a:xfrm>
            <a:off x="9164090" y="4343029"/>
            <a:ext cx="89238" cy="57384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3" name="Oval 32">
            <a:extLst>
              <a:ext uri="{FF2B5EF4-FFF2-40B4-BE49-F238E27FC236}">
                <a16:creationId xmlns:a16="http://schemas.microsoft.com/office/drawing/2014/main" id="{535A4616-9D58-4556-AAF0-B2B41011EB7F}"/>
              </a:ext>
            </a:extLst>
          </p:cNvPr>
          <p:cNvSpPr/>
          <p:nvPr/>
        </p:nvSpPr>
        <p:spPr>
          <a:xfrm>
            <a:off x="9417022" y="4365079"/>
            <a:ext cx="89238" cy="811267"/>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4" name="Oval 33">
            <a:extLst>
              <a:ext uri="{FF2B5EF4-FFF2-40B4-BE49-F238E27FC236}">
                <a16:creationId xmlns:a16="http://schemas.microsoft.com/office/drawing/2014/main" id="{4B929279-4F91-4053-80F0-EC1A3B7272AC}"/>
              </a:ext>
            </a:extLst>
          </p:cNvPr>
          <p:cNvSpPr/>
          <p:nvPr/>
        </p:nvSpPr>
        <p:spPr>
          <a:xfrm>
            <a:off x="9716855" y="4730203"/>
            <a:ext cx="86285" cy="62226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TextBox 12">
            <a:extLst>
              <a:ext uri="{FF2B5EF4-FFF2-40B4-BE49-F238E27FC236}">
                <a16:creationId xmlns:a16="http://schemas.microsoft.com/office/drawing/2014/main" id="{0E4BDB58-A498-3554-93CE-F83605F6C572}"/>
              </a:ext>
            </a:extLst>
          </p:cNvPr>
          <p:cNvSpPr txBox="1"/>
          <p:nvPr/>
        </p:nvSpPr>
        <p:spPr>
          <a:xfrm>
            <a:off x="6282739" y="6332706"/>
            <a:ext cx="5396365" cy="430887"/>
          </a:xfrm>
          <a:prstGeom prst="rect">
            <a:avLst/>
          </a:prstGeom>
          <a:noFill/>
        </p:spPr>
        <p:txBody>
          <a:bodyPr wrap="square" rtlCol="0">
            <a:spAutoFit/>
          </a:bodyPr>
          <a:lstStyle/>
          <a:p>
            <a:r>
              <a:rPr lang="en-US" sz="1100" dirty="0"/>
              <a:t>EGAF: “Database of prompt gamma rays from slow neutron capture for elemental analysis”  Vienna : International Atomic Energy Agency, 2006 </a:t>
            </a:r>
          </a:p>
        </p:txBody>
      </p:sp>
    </p:spTree>
    <p:extLst>
      <p:ext uri="{BB962C8B-B14F-4D97-AF65-F5344CB8AC3E}">
        <p14:creationId xmlns:p14="http://schemas.microsoft.com/office/powerpoint/2010/main" val="2034020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32" grpId="0" animBg="1"/>
      <p:bldP spid="33" grpId="0" animBg="1"/>
      <p:bldP spid="34" grpId="0" animBg="1"/>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C27EB7-41FE-4CE5-B760-279348679FA8}"/>
              </a:ext>
            </a:extLst>
          </p:cNvPr>
          <p:cNvSpPr>
            <a:spLocks noGrp="1"/>
          </p:cNvSpPr>
          <p:nvPr>
            <p:ph sz="quarter" idx="11"/>
          </p:nvPr>
        </p:nvSpPr>
        <p:spPr/>
        <p:txBody>
          <a:bodyPr/>
          <a:lstStyle/>
          <a:p>
            <a:pPr lvl="1"/>
            <a:r>
              <a:rPr lang="en-US" dirty="0"/>
              <a:t>Only one isotope found in natural manganese</a:t>
            </a:r>
          </a:p>
          <a:p>
            <a:endParaRPr lang="en-US" dirty="0"/>
          </a:p>
          <a:p>
            <a:pPr lvl="2"/>
            <a:r>
              <a:rPr lang="en-US" dirty="0"/>
              <a:t>Significantly of poorer quality in ENDF/B-VIII.0</a:t>
            </a:r>
          </a:p>
          <a:p>
            <a:pPr lvl="2"/>
            <a:endParaRPr lang="en-US" dirty="0"/>
          </a:p>
          <a:p>
            <a:pPr lvl="2"/>
            <a:r>
              <a:rPr lang="en-US" dirty="0"/>
              <a:t>ENDF/B-VI and ENDF/B-VII.0 data in better agreement with our experimental results and IAEA capture gamma ray emission lines</a:t>
            </a:r>
          </a:p>
          <a:p>
            <a:endParaRPr lang="en-US" dirty="0"/>
          </a:p>
          <a:p>
            <a:endParaRPr lang="en-US" dirty="0"/>
          </a:p>
        </p:txBody>
      </p:sp>
      <p:sp>
        <p:nvSpPr>
          <p:cNvPr id="18" name="Content Placeholder 17">
            <a:extLst>
              <a:ext uri="{FF2B5EF4-FFF2-40B4-BE49-F238E27FC236}">
                <a16:creationId xmlns:a16="http://schemas.microsoft.com/office/drawing/2014/main" id="{805124C8-4B0F-A2B1-C7AB-66F6DAE42710}"/>
              </a:ext>
            </a:extLst>
          </p:cNvPr>
          <p:cNvSpPr>
            <a:spLocks noGrp="1"/>
          </p:cNvSpPr>
          <p:nvPr>
            <p:ph sz="quarter" idx="12"/>
          </p:nvPr>
        </p:nvSpPr>
        <p:spPr/>
        <p:txBody>
          <a:bodyPr/>
          <a:lstStyle/>
          <a:p>
            <a:endParaRPr lang="en-US"/>
          </a:p>
        </p:txBody>
      </p:sp>
      <p:sp>
        <p:nvSpPr>
          <p:cNvPr id="3" name="Title 2">
            <a:extLst>
              <a:ext uri="{FF2B5EF4-FFF2-40B4-BE49-F238E27FC236}">
                <a16:creationId xmlns:a16="http://schemas.microsoft.com/office/drawing/2014/main" id="{4910ADBA-D083-4F0B-B0EA-55831226B26D}"/>
              </a:ext>
            </a:extLst>
          </p:cNvPr>
          <p:cNvSpPr>
            <a:spLocks noGrp="1"/>
          </p:cNvSpPr>
          <p:nvPr>
            <p:ph type="title"/>
          </p:nvPr>
        </p:nvSpPr>
        <p:spPr>
          <a:xfrm>
            <a:off x="457200" y="412363"/>
            <a:ext cx="6278880" cy="3696087"/>
          </a:xfrm>
        </p:spPr>
        <p:txBody>
          <a:bodyPr/>
          <a:lstStyle/>
          <a:p>
            <a:r>
              <a:rPr lang="en-US" dirty="0"/>
              <a:t>Manganese Capture Spectrum</a:t>
            </a:r>
          </a:p>
        </p:txBody>
      </p:sp>
      <p:pic>
        <p:nvPicPr>
          <p:cNvPr id="5122" name="Picture 2" descr="C:\Users\MMauborgne\AppData\Local\Temp\ConnectorClipboard209620033780624239\image15554533533550.png">
            <a:extLst>
              <a:ext uri="{FF2B5EF4-FFF2-40B4-BE49-F238E27FC236}">
                <a16:creationId xmlns:a16="http://schemas.microsoft.com/office/drawing/2014/main" id="{FDE966DE-5E82-4C30-9658-9A270695057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152122" y="3412376"/>
            <a:ext cx="3657600" cy="2743200"/>
          </a:xfrm>
          <a:prstGeom prst="rect">
            <a:avLst/>
          </a:prstGeom>
          <a:ln>
            <a:solidFill>
              <a:schemeClr val="accent6"/>
            </a:solid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5121" name="Picture 1" descr="C:\Users\MMauborgne\AppData\Local\Temp\ConnectorClipboard209620033780624239\image15554533309030.png">
            <a:extLst>
              <a:ext uri="{FF2B5EF4-FFF2-40B4-BE49-F238E27FC236}">
                <a16:creationId xmlns:a16="http://schemas.microsoft.com/office/drawing/2014/main" id="{4B20442B-7056-42BC-9F3B-4B11B2235CA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152122" y="412333"/>
            <a:ext cx="3657601" cy="2743200"/>
          </a:xfrm>
          <a:prstGeom prst="rect">
            <a:avLst/>
          </a:prstGeom>
          <a:ln>
            <a:solidFill>
              <a:schemeClr val="accent6"/>
            </a:solid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1A985D6C-0588-448A-9253-1AFFA591CED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921020" y="5668657"/>
            <a:ext cx="822960" cy="117880"/>
          </a:xfrm>
          <a:prstGeom prst="rect">
            <a:avLst/>
          </a:prstGeom>
        </p:spPr>
      </p:pic>
      <p:sp>
        <p:nvSpPr>
          <p:cNvPr id="15" name="TextBox 14">
            <a:extLst>
              <a:ext uri="{FF2B5EF4-FFF2-40B4-BE49-F238E27FC236}">
                <a16:creationId xmlns:a16="http://schemas.microsoft.com/office/drawing/2014/main" id="{7BAF98D0-E856-7B86-7FE7-7608FAA0FB6C}"/>
              </a:ext>
            </a:extLst>
          </p:cNvPr>
          <p:cNvSpPr txBox="1"/>
          <p:nvPr/>
        </p:nvSpPr>
        <p:spPr>
          <a:xfrm>
            <a:off x="6282739" y="6332706"/>
            <a:ext cx="5396365" cy="430887"/>
          </a:xfrm>
          <a:prstGeom prst="rect">
            <a:avLst/>
          </a:prstGeom>
          <a:noFill/>
        </p:spPr>
        <p:txBody>
          <a:bodyPr wrap="square" rtlCol="0">
            <a:spAutoFit/>
          </a:bodyPr>
          <a:lstStyle/>
          <a:p>
            <a:r>
              <a:rPr lang="en-US" sz="1100" dirty="0"/>
              <a:t>EGAF: “Database of prompt gamma rays from slow neutron capture for elemental analysis”  Vienna : International Atomic Energy Agency, 2006 </a:t>
            </a:r>
          </a:p>
        </p:txBody>
      </p:sp>
    </p:spTree>
    <p:extLst>
      <p:ext uri="{BB962C8B-B14F-4D97-AF65-F5344CB8AC3E}">
        <p14:creationId xmlns:p14="http://schemas.microsoft.com/office/powerpoint/2010/main" val="923721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979755-EC80-50DF-8D5E-A3824F7AA98B}"/>
              </a:ext>
            </a:extLst>
          </p:cNvPr>
          <p:cNvSpPr>
            <a:spLocks noGrp="1"/>
          </p:cNvSpPr>
          <p:nvPr>
            <p:ph sz="quarter" idx="12"/>
          </p:nvPr>
        </p:nvSpPr>
        <p:spPr>
          <a:xfrm>
            <a:off x="6282740" y="1431148"/>
            <a:ext cx="5396365" cy="4696602"/>
          </a:xfrm>
        </p:spPr>
        <p:txBody>
          <a:bodyPr/>
          <a:lstStyle/>
          <a:p>
            <a:endParaRPr lang="en-US" dirty="0"/>
          </a:p>
        </p:txBody>
      </p:sp>
      <p:pic>
        <p:nvPicPr>
          <p:cNvPr id="12" name="Picture 11">
            <a:extLst>
              <a:ext uri="{FF2B5EF4-FFF2-40B4-BE49-F238E27FC236}">
                <a16:creationId xmlns:a16="http://schemas.microsoft.com/office/drawing/2014/main" id="{690FFB6C-8906-4D8D-B7EB-29E25EC2DD32}"/>
              </a:ext>
            </a:extLst>
          </p:cNvPr>
          <p:cNvPicPr>
            <a:picLocks/>
          </p:cNvPicPr>
          <p:nvPr/>
        </p:nvPicPr>
        <p:blipFill rotWithShape="1">
          <a:blip r:embed="rId2" cstate="print">
            <a:extLst>
              <a:ext uri="{28A0092B-C50C-407E-A947-70E740481C1C}">
                <a14:useLocalDpi xmlns:a14="http://schemas.microsoft.com/office/drawing/2010/main"/>
              </a:ext>
            </a:extLst>
          </a:blip>
          <a:srcRect l="-37" r="-53" b="-159"/>
          <a:stretch/>
        </p:blipFill>
        <p:spPr>
          <a:xfrm>
            <a:off x="7141155" y="3408680"/>
            <a:ext cx="3657600" cy="2743200"/>
          </a:xfrm>
          <a:prstGeom prst="rect">
            <a:avLst/>
          </a:prstGeom>
          <a:ln>
            <a:solidFill>
              <a:schemeClr val="accent6"/>
            </a:solidFill>
          </a:ln>
          <a:effectLst>
            <a:outerShdw blurRad="190500" algn="tl" rotWithShape="0">
              <a:srgbClr val="000000">
                <a:alpha val="70000"/>
              </a:srgbClr>
            </a:outerShdw>
          </a:effectLst>
        </p:spPr>
      </p:pic>
      <p:sp>
        <p:nvSpPr>
          <p:cNvPr id="2" name="Content Placeholder 1">
            <a:extLst>
              <a:ext uri="{FF2B5EF4-FFF2-40B4-BE49-F238E27FC236}">
                <a16:creationId xmlns:a16="http://schemas.microsoft.com/office/drawing/2014/main" id="{1DF3E9B6-17DE-4994-B013-903342FF6514}"/>
              </a:ext>
            </a:extLst>
          </p:cNvPr>
          <p:cNvSpPr>
            <a:spLocks noGrp="1"/>
          </p:cNvSpPr>
          <p:nvPr>
            <p:ph sz="quarter" idx="11"/>
          </p:nvPr>
        </p:nvSpPr>
        <p:spPr>
          <a:xfrm>
            <a:off x="517660" y="2336309"/>
            <a:ext cx="5396365" cy="4696602"/>
          </a:xfrm>
        </p:spPr>
        <p:txBody>
          <a:bodyPr/>
          <a:lstStyle/>
          <a:p>
            <a:pPr lvl="1"/>
            <a:r>
              <a:rPr lang="en-US" dirty="0"/>
              <a:t>Following the presentation of the results at CSEWG in 2019 </a:t>
            </a:r>
          </a:p>
          <a:p>
            <a:pPr lvl="1"/>
            <a:r>
              <a:rPr lang="en-US" dirty="0"/>
              <a:t>Update of the cross sections made by R. Capote and A. </a:t>
            </a:r>
            <a:r>
              <a:rPr lang="en-US" dirty="0" err="1"/>
              <a:t>Trkov</a:t>
            </a:r>
            <a:r>
              <a:rPr lang="en-US" dirty="0"/>
              <a:t> in red</a:t>
            </a:r>
          </a:p>
          <a:p>
            <a:pPr lvl="1"/>
            <a:r>
              <a:rPr lang="en-US" dirty="0">
                <a:hlinkClick r:id="rId3">
                  <a:extLst>
                    <a:ext uri="{A12FA001-AC4F-418D-AE19-62706E023703}">
                      <ahyp:hlinkClr xmlns:ahyp="http://schemas.microsoft.com/office/drawing/2018/hyperlinkcolor" val="tx"/>
                    </a:ext>
                  </a:extLst>
                </a:hlinkClick>
              </a:rPr>
              <a:t>https://www-nds.iaea.org/publications/indc/indc-nds-0810.pdf</a:t>
            </a:r>
            <a:endParaRPr lang="en-US" dirty="0"/>
          </a:p>
          <a:p>
            <a:pPr lvl="1"/>
            <a:endParaRPr lang="en-US" dirty="0"/>
          </a:p>
          <a:p>
            <a:pPr lvl="1"/>
            <a:r>
              <a:rPr lang="en-US" dirty="0"/>
              <a:t>Significant improvement in the capture spectrum</a:t>
            </a:r>
          </a:p>
        </p:txBody>
      </p:sp>
      <p:sp>
        <p:nvSpPr>
          <p:cNvPr id="3" name="Title 2">
            <a:extLst>
              <a:ext uri="{FF2B5EF4-FFF2-40B4-BE49-F238E27FC236}">
                <a16:creationId xmlns:a16="http://schemas.microsoft.com/office/drawing/2014/main" id="{4D00BA98-0FB2-4CF8-8070-D9169211DFD7}"/>
              </a:ext>
            </a:extLst>
          </p:cNvPr>
          <p:cNvSpPr>
            <a:spLocks noGrp="1"/>
          </p:cNvSpPr>
          <p:nvPr>
            <p:ph type="title"/>
          </p:nvPr>
        </p:nvSpPr>
        <p:spPr>
          <a:xfrm>
            <a:off x="457199" y="412363"/>
            <a:ext cx="5820777" cy="1274197"/>
          </a:xfrm>
        </p:spPr>
        <p:txBody>
          <a:bodyPr/>
          <a:lstStyle/>
          <a:p>
            <a:r>
              <a:rPr lang="en-US" dirty="0"/>
              <a:t>New Manganese Capture Cross Section</a:t>
            </a:r>
          </a:p>
        </p:txBody>
      </p:sp>
      <p:pic>
        <p:nvPicPr>
          <p:cNvPr id="4" name="Picture 3">
            <a:extLst>
              <a:ext uri="{FF2B5EF4-FFF2-40B4-BE49-F238E27FC236}">
                <a16:creationId xmlns:a16="http://schemas.microsoft.com/office/drawing/2014/main" id="{7817D4E1-7E60-46B1-B964-DD952929F55C}"/>
              </a:ext>
            </a:extLst>
          </p:cNvPr>
          <p:cNvPicPr>
            <a:picLocks/>
          </p:cNvPicPr>
          <p:nvPr/>
        </p:nvPicPr>
        <p:blipFill rotWithShape="1">
          <a:blip r:embed="rId4" cstate="print">
            <a:extLst>
              <a:ext uri="{28A0092B-C50C-407E-A947-70E740481C1C}">
                <a14:useLocalDpi xmlns:a14="http://schemas.microsoft.com/office/drawing/2010/main"/>
              </a:ext>
            </a:extLst>
          </a:blip>
          <a:srcRect b="-283"/>
          <a:stretch/>
        </p:blipFill>
        <p:spPr>
          <a:xfrm>
            <a:off x="7141155" y="412363"/>
            <a:ext cx="3657600" cy="2743200"/>
          </a:xfrm>
          <a:prstGeom prst="rect">
            <a:avLst/>
          </a:prstGeom>
          <a:ln>
            <a:solidFill>
              <a:schemeClr val="accent6"/>
            </a:solidFill>
          </a:ln>
          <a:effectLst>
            <a:outerShdw blurRad="190500" algn="tl" rotWithShape="0">
              <a:srgbClr val="000000">
                <a:alpha val="70000"/>
              </a:srgbClr>
            </a:outerShdw>
          </a:effectLst>
        </p:spPr>
      </p:pic>
      <p:sp>
        <p:nvSpPr>
          <p:cNvPr id="13" name="TextBox 12">
            <a:extLst>
              <a:ext uri="{FF2B5EF4-FFF2-40B4-BE49-F238E27FC236}">
                <a16:creationId xmlns:a16="http://schemas.microsoft.com/office/drawing/2014/main" id="{488B00ED-1099-BFFD-0D05-18EC98B56784}"/>
              </a:ext>
            </a:extLst>
          </p:cNvPr>
          <p:cNvSpPr txBox="1"/>
          <p:nvPr/>
        </p:nvSpPr>
        <p:spPr>
          <a:xfrm>
            <a:off x="6282739" y="6332706"/>
            <a:ext cx="5396365" cy="430887"/>
          </a:xfrm>
          <a:prstGeom prst="rect">
            <a:avLst/>
          </a:prstGeom>
          <a:noFill/>
        </p:spPr>
        <p:txBody>
          <a:bodyPr wrap="square" rtlCol="0">
            <a:spAutoFit/>
          </a:bodyPr>
          <a:lstStyle/>
          <a:p>
            <a:r>
              <a:rPr lang="en-US" sz="1100" dirty="0"/>
              <a:t>EGAF: “Database of prompt gamma rays from slow neutron capture for elemental analysis”  Vienna : International Atomic Energy Agency, 2006 </a:t>
            </a:r>
          </a:p>
        </p:txBody>
      </p:sp>
    </p:spTree>
    <p:extLst>
      <p:ext uri="{BB962C8B-B14F-4D97-AF65-F5344CB8AC3E}">
        <p14:creationId xmlns:p14="http://schemas.microsoft.com/office/powerpoint/2010/main" val="18271540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057A1A-4280-372D-F162-97D2715C3AE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207297" y="5025436"/>
            <a:ext cx="4377792" cy="1832564"/>
          </a:xfrm>
          <a:prstGeom prst="rect">
            <a:avLst/>
          </a:prstGeom>
        </p:spPr>
      </p:pic>
      <p:sp>
        <p:nvSpPr>
          <p:cNvPr id="14" name="Content Placeholder 2"/>
          <p:cNvSpPr>
            <a:spLocks noGrp="1"/>
          </p:cNvSpPr>
          <p:nvPr>
            <p:ph sz="quarter" idx="11"/>
          </p:nvPr>
        </p:nvSpPr>
        <p:spPr/>
        <p:txBody>
          <a:bodyPr/>
          <a:lstStyle/>
          <a:p>
            <a:pPr lvl="1"/>
            <a:r>
              <a:rPr lang="en-US" dirty="0"/>
              <a:t>Spectroscopy on Venus Lander to analyze its crust and search for water</a:t>
            </a:r>
          </a:p>
          <a:p>
            <a:pPr lvl="1"/>
            <a:endParaRPr lang="en-US" sz="1050" dirty="0"/>
          </a:p>
          <a:p>
            <a:pPr lvl="1"/>
            <a:r>
              <a:rPr lang="en-US" dirty="0"/>
              <a:t>Venus surface: P = 92 atm; T = 462ºC</a:t>
            </a:r>
          </a:p>
          <a:p>
            <a:pPr lvl="1"/>
            <a:r>
              <a:rPr lang="en-US" dirty="0"/>
              <a:t>Operational lifetime: 2-4 h max.</a:t>
            </a:r>
          </a:p>
          <a:p>
            <a:pPr lvl="1"/>
            <a:endParaRPr lang="en-US" sz="1100" dirty="0"/>
          </a:p>
          <a:p>
            <a:pPr lvl="1"/>
            <a:r>
              <a:rPr lang="en-US" dirty="0"/>
              <a:t>First test performed at NASA Goddard Space Flight Center with an actual tool.</a:t>
            </a:r>
          </a:p>
          <a:p>
            <a:pPr lvl="1"/>
            <a:endParaRPr lang="en-US" sz="1100" dirty="0"/>
          </a:p>
          <a:p>
            <a:pPr lvl="1"/>
            <a:r>
              <a:rPr lang="en-US" dirty="0"/>
              <a:t>Very good results with only minor tool modifications </a:t>
            </a:r>
          </a:p>
        </p:txBody>
      </p:sp>
      <p:sp>
        <p:nvSpPr>
          <p:cNvPr id="3" name="Content Placeholder 2">
            <a:extLst>
              <a:ext uri="{FF2B5EF4-FFF2-40B4-BE49-F238E27FC236}">
                <a16:creationId xmlns:a16="http://schemas.microsoft.com/office/drawing/2014/main" id="{32C36A28-86EB-C759-A87E-00F61590BF72}"/>
              </a:ext>
            </a:extLst>
          </p:cNvPr>
          <p:cNvSpPr>
            <a:spLocks noGrp="1"/>
          </p:cNvSpPr>
          <p:nvPr>
            <p:ph sz="quarter" idx="12"/>
          </p:nvPr>
        </p:nvSpPr>
        <p:spPr/>
        <p:txBody>
          <a:bodyPr/>
          <a:lstStyle/>
          <a:p>
            <a:endParaRPr lang="en-US" dirty="0"/>
          </a:p>
        </p:txBody>
      </p:sp>
      <p:sp>
        <p:nvSpPr>
          <p:cNvPr id="2" name="Title 1"/>
          <p:cNvSpPr>
            <a:spLocks noGrp="1"/>
          </p:cNvSpPr>
          <p:nvPr>
            <p:ph type="title"/>
          </p:nvPr>
        </p:nvSpPr>
        <p:spPr>
          <a:xfrm>
            <a:off x="516073" y="300164"/>
            <a:ext cx="11156680" cy="781198"/>
          </a:xfrm>
        </p:spPr>
        <p:txBody>
          <a:bodyPr/>
          <a:lstStyle/>
          <a:p>
            <a:r>
              <a:rPr lang="en-US" dirty="0"/>
              <a:t>Hardware Outside of Oilfield</a:t>
            </a:r>
            <a:br>
              <a:rPr lang="en-US" dirty="0"/>
            </a:br>
            <a:r>
              <a:rPr lang="en-US" dirty="0"/>
              <a:t>SLB-NASA Engagements</a:t>
            </a:r>
          </a:p>
        </p:txBody>
      </p:sp>
      <p:pic>
        <p:nvPicPr>
          <p:cNvPr id="12" name="Picture 11"/>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822166" y="759737"/>
            <a:ext cx="2250585" cy="2214753"/>
          </a:xfrm>
          <a:prstGeom prst="rect">
            <a:avLst/>
          </a:prstGeom>
          <a:ln>
            <a:noFill/>
          </a:ln>
          <a:effectLst>
            <a:outerShdw blurRad="190500" algn="tl" rotWithShape="0">
              <a:srgbClr val="000000">
                <a:alpha val="70000"/>
              </a:srgbClr>
            </a:outerShdw>
          </a:effectLst>
        </p:spPr>
      </p:pic>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53579" y="2974490"/>
            <a:ext cx="2838344" cy="2041614"/>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BDDBF8E3-E162-3F47-5B83-53C983F0C6E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072751" y="750405"/>
            <a:ext cx="2498414" cy="221475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724460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8F73564-01D7-4FF4-9B0A-EAB939E0B637}"/>
              </a:ext>
            </a:extLst>
          </p:cNvPr>
          <p:cNvSpPr>
            <a:spLocks noGrp="1"/>
          </p:cNvSpPr>
          <p:nvPr>
            <p:ph sz="quarter" idx="11"/>
          </p:nvPr>
        </p:nvSpPr>
        <p:spPr/>
        <p:txBody>
          <a:bodyPr/>
          <a:lstStyle/>
          <a:p>
            <a:pPr lvl="1"/>
            <a:r>
              <a:rPr lang="en-US" dirty="0"/>
              <a:t>In collaboration with Johns Hopkins Applied Physics Laboratory</a:t>
            </a:r>
          </a:p>
          <a:p>
            <a:endParaRPr lang="en-US" dirty="0"/>
          </a:p>
          <a:p>
            <a:pPr lvl="1"/>
            <a:r>
              <a:rPr lang="en-US" dirty="0"/>
              <a:t>Explore Titan (Saturn's largest moon) with an instrumented, radioisotope-powered dual-quadcopter</a:t>
            </a:r>
          </a:p>
          <a:p>
            <a:endParaRPr lang="en-US" dirty="0"/>
          </a:p>
          <a:p>
            <a:pPr lvl="1"/>
            <a:r>
              <a:rPr lang="en-US" dirty="0"/>
              <a:t>Provide pulsed neutron generator</a:t>
            </a:r>
            <a:r>
              <a:rPr lang="en-US" dirty="0">
                <a:solidFill>
                  <a:srgbClr val="FF0000"/>
                </a:solidFill>
              </a:rPr>
              <a:t> </a:t>
            </a:r>
            <a:r>
              <a:rPr lang="en-US" dirty="0"/>
              <a:t>and expertise on gamma ray spectroscopy (capture and inelastic) to analyze the composition of the shallow subsurface</a:t>
            </a:r>
          </a:p>
        </p:txBody>
      </p:sp>
      <p:sp>
        <p:nvSpPr>
          <p:cNvPr id="5" name="Content Placeholder 4">
            <a:extLst>
              <a:ext uri="{FF2B5EF4-FFF2-40B4-BE49-F238E27FC236}">
                <a16:creationId xmlns:a16="http://schemas.microsoft.com/office/drawing/2014/main" id="{6539C57B-1A0C-0FEA-03C9-DEDEF813764F}"/>
              </a:ext>
            </a:extLst>
          </p:cNvPr>
          <p:cNvSpPr>
            <a:spLocks noGrp="1"/>
          </p:cNvSpPr>
          <p:nvPr>
            <p:ph sz="quarter" idx="12"/>
          </p:nvPr>
        </p:nvSpPr>
        <p:spPr/>
        <p:txBody>
          <a:bodyPr/>
          <a:lstStyle/>
          <a:p>
            <a:endParaRPr lang="en-US"/>
          </a:p>
        </p:txBody>
      </p:sp>
      <p:sp>
        <p:nvSpPr>
          <p:cNvPr id="3" name="Title 2">
            <a:extLst>
              <a:ext uri="{FF2B5EF4-FFF2-40B4-BE49-F238E27FC236}">
                <a16:creationId xmlns:a16="http://schemas.microsoft.com/office/drawing/2014/main" id="{402B75F8-E99B-48F7-A043-A09AEB2519B8}"/>
              </a:ext>
            </a:extLst>
          </p:cNvPr>
          <p:cNvSpPr>
            <a:spLocks noGrp="1"/>
          </p:cNvSpPr>
          <p:nvPr>
            <p:ph type="title"/>
          </p:nvPr>
        </p:nvSpPr>
        <p:spPr>
          <a:xfrm>
            <a:off x="516073" y="300164"/>
            <a:ext cx="11156680" cy="781198"/>
          </a:xfrm>
        </p:spPr>
        <p:txBody>
          <a:bodyPr/>
          <a:lstStyle/>
          <a:p>
            <a:r>
              <a:rPr lang="en-US" dirty="0"/>
              <a:t>Schlumberger Space Engagements — Dragonfly</a:t>
            </a:r>
          </a:p>
        </p:txBody>
      </p:sp>
      <p:pic>
        <p:nvPicPr>
          <p:cNvPr id="1028" name="Picture 4" descr="Dragonfly Mission Overview">
            <a:extLst>
              <a:ext uri="{FF2B5EF4-FFF2-40B4-BE49-F238E27FC236}">
                <a16:creationId xmlns:a16="http://schemas.microsoft.com/office/drawing/2014/main" id="{BEBBCFC8-70AE-4AE3-9248-0D3415DB52A5}"/>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282741" y="1665384"/>
            <a:ext cx="5390012" cy="388080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38685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504A788-E1DD-43F6-82DD-1E586F3748FC}"/>
              </a:ext>
            </a:extLst>
          </p:cNvPr>
          <p:cNvSpPr>
            <a:spLocks noGrp="1"/>
          </p:cNvSpPr>
          <p:nvPr>
            <p:ph idx="1"/>
          </p:nvPr>
        </p:nvSpPr>
        <p:spPr/>
        <p:txBody>
          <a:bodyPr/>
          <a:lstStyle/>
          <a:p>
            <a:r>
              <a:rPr lang="en-US" dirty="0"/>
              <a:t>Oilfield and space applications share an interest in lithology measurements obtained from neutron-induced gamma-ray spectroscopy</a:t>
            </a:r>
          </a:p>
          <a:p>
            <a:endParaRPr lang="en-US" dirty="0"/>
          </a:p>
          <a:p>
            <a:pPr lvl="1"/>
            <a:r>
              <a:rPr lang="en-US" dirty="0"/>
              <a:t>Improvements in crystal bring step change for the measurement</a:t>
            </a:r>
          </a:p>
          <a:p>
            <a:pPr lvl="1"/>
            <a:endParaRPr lang="en-US" dirty="0"/>
          </a:p>
          <a:p>
            <a:pPr lvl="1"/>
            <a:r>
              <a:rPr lang="en-US" dirty="0"/>
              <a:t>Modeling is perfectly suited to help design such tools and understand their performance</a:t>
            </a:r>
          </a:p>
          <a:p>
            <a:pPr lvl="1"/>
            <a:endParaRPr lang="en-US" dirty="0"/>
          </a:p>
          <a:p>
            <a:pPr lvl="1"/>
            <a:r>
              <a:rPr lang="en-US" dirty="0"/>
              <a:t>Accurate cross sections are necessary to </a:t>
            </a:r>
            <a:r>
              <a:rPr lang="en-US"/>
              <a:t>improve modeling </a:t>
            </a:r>
            <a:r>
              <a:rPr lang="en-US" dirty="0"/>
              <a:t>prediction</a:t>
            </a:r>
          </a:p>
        </p:txBody>
      </p:sp>
      <p:sp>
        <p:nvSpPr>
          <p:cNvPr id="3" name="Title 2">
            <a:extLst>
              <a:ext uri="{FF2B5EF4-FFF2-40B4-BE49-F238E27FC236}">
                <a16:creationId xmlns:a16="http://schemas.microsoft.com/office/drawing/2014/main" id="{4F07C0A5-DBCB-4F2A-BC99-1B49A13525C6}"/>
              </a:ext>
            </a:extLst>
          </p:cNvPr>
          <p:cNvSpPr>
            <a:spLocks noGrp="1"/>
          </p:cNvSpPr>
          <p:nvPr>
            <p:ph type="title"/>
          </p:nvPr>
        </p:nvSpPr>
        <p:spPr/>
        <p:txBody>
          <a:bodyPr/>
          <a:lstStyle/>
          <a:p>
            <a:r>
              <a:rPr lang="en-US" dirty="0"/>
              <a:t>Conclusion</a:t>
            </a:r>
          </a:p>
        </p:txBody>
      </p:sp>
    </p:spTree>
    <p:extLst>
      <p:ext uri="{BB962C8B-B14F-4D97-AF65-F5344CB8AC3E}">
        <p14:creationId xmlns:p14="http://schemas.microsoft.com/office/powerpoint/2010/main" val="3067429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964AE-1863-81AE-D7FC-52BA1A12D635}"/>
              </a:ext>
            </a:extLst>
          </p:cNvPr>
          <p:cNvSpPr>
            <a:spLocks noGrp="1"/>
          </p:cNvSpPr>
          <p:nvPr>
            <p:ph type="title"/>
          </p:nvPr>
        </p:nvSpPr>
        <p:spPr/>
        <p:txBody>
          <a:bodyPr/>
          <a:lstStyle/>
          <a:p>
            <a:r>
              <a:rPr lang="en-US" dirty="0"/>
              <a:t>Related publications</a:t>
            </a:r>
          </a:p>
        </p:txBody>
      </p:sp>
      <p:sp>
        <p:nvSpPr>
          <p:cNvPr id="3" name="Content Placeholder 2">
            <a:extLst>
              <a:ext uri="{FF2B5EF4-FFF2-40B4-BE49-F238E27FC236}">
                <a16:creationId xmlns:a16="http://schemas.microsoft.com/office/drawing/2014/main" id="{4F25170D-0DF7-8F73-052C-4FDCD60B0DAF}"/>
              </a:ext>
            </a:extLst>
          </p:cNvPr>
          <p:cNvSpPr>
            <a:spLocks noGrp="1"/>
          </p:cNvSpPr>
          <p:nvPr>
            <p:ph idx="1"/>
          </p:nvPr>
        </p:nvSpPr>
        <p:spPr>
          <a:xfrm>
            <a:off x="3657600" y="457200"/>
            <a:ext cx="8215312" cy="5480050"/>
          </a:xfrm>
        </p:spPr>
        <p:txBody>
          <a:bodyPr/>
          <a:lstStyle/>
          <a:p>
            <a:r>
              <a:rPr lang="en-US" sz="1400" dirty="0"/>
              <a:t>A Step Change in Neutron-Induced Gamma Ray Spectroscopy: Using a High-Resolution LaBr</a:t>
            </a:r>
            <a:r>
              <a:rPr lang="en-US" sz="1400" baseline="-25000" dirty="0"/>
              <a:t>3</a:t>
            </a:r>
            <a:r>
              <a:rPr lang="en-US" sz="1400" dirty="0"/>
              <a:t>:Ce Detector in an Integrated LWD Tool </a:t>
            </a:r>
          </a:p>
          <a:p>
            <a:pPr lvl="1" indent="-228600">
              <a:spcBef>
                <a:spcPts val="0"/>
              </a:spcBef>
            </a:pPr>
            <a:r>
              <a:rPr lang="en-US" sz="1400" dirty="0"/>
              <a:t>Haranger, F., Allioli, F., and </a:t>
            </a:r>
            <a:r>
              <a:rPr lang="en-US" sz="1400" dirty="0" err="1"/>
              <a:t>Berheide</a:t>
            </a:r>
            <a:r>
              <a:rPr lang="en-US" sz="1400" dirty="0"/>
              <a:t>, M.</a:t>
            </a:r>
          </a:p>
          <a:p>
            <a:pPr lvl="1">
              <a:spcBef>
                <a:spcPts val="0"/>
              </a:spcBef>
            </a:pPr>
            <a:r>
              <a:rPr lang="en-US" sz="1400" dirty="0"/>
              <a:t>SPWLA 64th Annual Logging Symposium, Lake Conroe, Texas, USA, June 2023</a:t>
            </a:r>
          </a:p>
          <a:p>
            <a:pPr lvl="1">
              <a:spcBef>
                <a:spcPts val="0"/>
              </a:spcBef>
            </a:pPr>
            <a:r>
              <a:rPr lang="en-US" sz="1400" dirty="0"/>
              <a:t>DOI: 10.30632/SPWLA-2023-0121</a:t>
            </a:r>
          </a:p>
          <a:p>
            <a:pPr lvl="1">
              <a:spcBef>
                <a:spcPts val="0"/>
              </a:spcBef>
            </a:pPr>
            <a:endParaRPr lang="en-US" sz="1400" dirty="0"/>
          </a:p>
          <a:p>
            <a:pPr>
              <a:spcBef>
                <a:spcPts val="0"/>
              </a:spcBef>
            </a:pPr>
            <a:r>
              <a:rPr lang="en-US" sz="1400" dirty="0"/>
              <a:t>Impact of the ENDF/B-VIII.0 library on modeling nuclear tools for oil exploration</a:t>
            </a:r>
          </a:p>
          <a:p>
            <a:pPr lvl="1">
              <a:spcBef>
                <a:spcPts val="0"/>
              </a:spcBef>
            </a:pPr>
            <a:r>
              <a:rPr lang="en-US" sz="1400" b="0" dirty="0">
                <a:latin typeface="SLB Sans Book" panose="02000503040000020004" pitchFamily="50" charset="0"/>
              </a:rPr>
              <a:t>Mauborgne, M.-L., Radtke, R. J., and Haranger, F. et al. </a:t>
            </a:r>
          </a:p>
          <a:p>
            <a:pPr lvl="1">
              <a:spcBef>
                <a:spcPts val="0"/>
              </a:spcBef>
            </a:pPr>
            <a:r>
              <a:rPr lang="en-US" sz="1400" dirty="0"/>
              <a:t>International Conference on Nuclear Data for Science and Technology, Beijing, 2019</a:t>
            </a:r>
          </a:p>
          <a:p>
            <a:pPr lvl="1">
              <a:spcBef>
                <a:spcPts val="0"/>
              </a:spcBef>
            </a:pPr>
            <a:r>
              <a:rPr lang="en-US" sz="1400" dirty="0"/>
              <a:t>China, </a:t>
            </a:r>
          </a:p>
          <a:p>
            <a:pPr lvl="1">
              <a:spcBef>
                <a:spcPts val="0"/>
              </a:spcBef>
            </a:pPr>
            <a:r>
              <a:rPr lang="en-US" sz="1400" dirty="0"/>
              <a:t>DOI: 10.1051/</a:t>
            </a:r>
            <a:r>
              <a:rPr lang="en-US" sz="1400" dirty="0" err="1"/>
              <a:t>epjconf</a:t>
            </a:r>
            <a:r>
              <a:rPr lang="en-US" sz="1400" dirty="0"/>
              <a:t>/202023920007</a:t>
            </a:r>
          </a:p>
          <a:p>
            <a:pPr lvl="1">
              <a:spcBef>
                <a:spcPts val="0"/>
              </a:spcBef>
            </a:pPr>
            <a:endParaRPr lang="en-US" sz="1400" dirty="0"/>
          </a:p>
          <a:p>
            <a:r>
              <a:rPr lang="en-US" sz="1400" dirty="0"/>
              <a:t>Designing Tools for Oil Exploration Using Nuclear Modeling</a:t>
            </a:r>
          </a:p>
          <a:p>
            <a:pPr lvl="1">
              <a:spcBef>
                <a:spcPts val="0"/>
              </a:spcBef>
            </a:pPr>
            <a:r>
              <a:rPr lang="en-US" sz="1400" dirty="0">
                <a:latin typeface="SLB Sans Book" panose="02000503040000020004" pitchFamily="50" charset="0"/>
              </a:rPr>
              <a:t>Mauborgne, M.-L., Allioli, F., and </a:t>
            </a:r>
            <a:r>
              <a:rPr lang="en-US" sz="1400" dirty="0" err="1">
                <a:latin typeface="SLB Sans Book" panose="02000503040000020004" pitchFamily="50" charset="0"/>
              </a:rPr>
              <a:t>Manclossi</a:t>
            </a:r>
            <a:r>
              <a:rPr lang="en-US" sz="1400" dirty="0">
                <a:latin typeface="SLB Sans Book" panose="02000503040000020004" pitchFamily="50" charset="0"/>
              </a:rPr>
              <a:t>, M. et al. 2017. </a:t>
            </a:r>
          </a:p>
          <a:p>
            <a:pPr lvl="1">
              <a:spcBef>
                <a:spcPts val="0"/>
              </a:spcBef>
            </a:pPr>
            <a:r>
              <a:rPr lang="en-US" sz="1400" dirty="0">
                <a:latin typeface="SLB Sans Book" panose="02000503040000020004" pitchFamily="50" charset="0"/>
              </a:rPr>
              <a:t>International Conference Nuclear Data for Science and Technology, Bruges, Belgium, 2016</a:t>
            </a:r>
          </a:p>
          <a:p>
            <a:pPr lvl="1">
              <a:spcBef>
                <a:spcPts val="0"/>
              </a:spcBef>
            </a:pPr>
            <a:r>
              <a:rPr lang="en-US" sz="1400" dirty="0">
                <a:latin typeface="SLB Sans Book" panose="02000503040000020004" pitchFamily="50" charset="0"/>
              </a:rPr>
              <a:t>DOI: 10.1051</a:t>
            </a:r>
            <a:r>
              <a:rPr lang="en-US" sz="1400" dirty="0"/>
              <a:t>/</a:t>
            </a:r>
            <a:r>
              <a:rPr lang="en-US" sz="1400" dirty="0" err="1"/>
              <a:t>epjconf</a:t>
            </a:r>
            <a:r>
              <a:rPr lang="en-US" sz="1400" dirty="0"/>
              <a:t>/201714609036.</a:t>
            </a:r>
          </a:p>
          <a:p>
            <a:pPr lvl="1">
              <a:spcBef>
                <a:spcPts val="0"/>
              </a:spcBef>
            </a:pPr>
            <a:endParaRPr lang="en-US" sz="1400" dirty="0"/>
          </a:p>
          <a:p>
            <a:r>
              <a:rPr lang="en-US" sz="1400" dirty="0"/>
              <a:t>A New Capture and Inelastic Spectroscopy Tool Takes Geochemical Logging to the Next Level</a:t>
            </a:r>
          </a:p>
          <a:p>
            <a:pPr lvl="1">
              <a:spcBef>
                <a:spcPts val="0"/>
              </a:spcBef>
            </a:pPr>
            <a:r>
              <a:rPr lang="en-US" sz="1400" b="0" dirty="0">
                <a:latin typeface="SLB Sans Book" panose="02000503040000020004" pitchFamily="50" charset="0"/>
              </a:rPr>
              <a:t>Radtke, R., </a:t>
            </a:r>
            <a:r>
              <a:rPr lang="en-US" sz="1400" b="0" dirty="0" err="1">
                <a:latin typeface="SLB Sans Book" panose="02000503040000020004" pitchFamily="50" charset="0"/>
              </a:rPr>
              <a:t>Lorente</a:t>
            </a:r>
            <a:r>
              <a:rPr lang="en-US" sz="1400" b="0" dirty="0">
                <a:latin typeface="SLB Sans Book" panose="02000503040000020004" pitchFamily="50" charset="0"/>
              </a:rPr>
              <a:t>, M., and Adolph B. et al. </a:t>
            </a:r>
          </a:p>
          <a:p>
            <a:pPr lvl="1">
              <a:spcBef>
                <a:spcPts val="0"/>
              </a:spcBef>
            </a:pPr>
            <a:r>
              <a:rPr lang="en-US" sz="1400" dirty="0"/>
              <a:t>SPWLA 53rd Annual Logging Symposium, Cartagena, Colombia, 16-20 June 2012</a:t>
            </a:r>
          </a:p>
          <a:p>
            <a:pPr lvl="1">
              <a:spcBef>
                <a:spcPts val="0"/>
              </a:spcBef>
            </a:pPr>
            <a:endParaRPr lang="en-US" sz="1400" dirty="0"/>
          </a:p>
          <a:p>
            <a:pPr lvl="1">
              <a:spcBef>
                <a:spcPts val="0"/>
              </a:spcBef>
            </a:pPr>
            <a:endParaRPr lang="en-US" sz="1400" dirty="0"/>
          </a:p>
        </p:txBody>
      </p:sp>
      <p:sp>
        <p:nvSpPr>
          <p:cNvPr id="4" name="Footer Placeholder 3">
            <a:extLst>
              <a:ext uri="{FF2B5EF4-FFF2-40B4-BE49-F238E27FC236}">
                <a16:creationId xmlns:a16="http://schemas.microsoft.com/office/drawing/2014/main" id="{CC4BB7B8-1769-AE72-CEB5-A50E68354127}"/>
              </a:ext>
            </a:extLst>
          </p:cNvPr>
          <p:cNvSpPr>
            <a:spLocks noGrp="1"/>
          </p:cNvSpPr>
          <p:nvPr>
            <p:ph type="ftr" sz="quarter" idx="11"/>
          </p:nvPr>
        </p:nvSpPr>
        <p:spPr/>
        <p:txBody>
          <a:bodyPr/>
          <a:lstStyle/>
          <a:p>
            <a:r>
              <a:rPr lang="en-US" dirty="0"/>
              <a:t>SLB Technology. Private. Internal use only.</a:t>
            </a:r>
            <a:endParaRPr lang="en-GB" dirty="0"/>
          </a:p>
        </p:txBody>
      </p:sp>
      <p:sp>
        <p:nvSpPr>
          <p:cNvPr id="5" name="Slide Number Placeholder 4">
            <a:extLst>
              <a:ext uri="{FF2B5EF4-FFF2-40B4-BE49-F238E27FC236}">
                <a16:creationId xmlns:a16="http://schemas.microsoft.com/office/drawing/2014/main" id="{F9841971-8161-18C6-1ADE-0F32075FE32D}"/>
              </a:ext>
            </a:extLst>
          </p:cNvPr>
          <p:cNvSpPr>
            <a:spLocks noGrp="1"/>
          </p:cNvSpPr>
          <p:nvPr>
            <p:ph type="sldNum" sz="quarter" idx="12"/>
          </p:nvPr>
        </p:nvSpPr>
        <p:spPr/>
        <p:txBody>
          <a:bodyPr/>
          <a:lstStyle/>
          <a:p>
            <a:fld id="{2737C662-D0ED-4587-B264-5C4F0D975D18}" type="slidenum">
              <a:rPr lang="en-GB" smtClean="0"/>
              <a:t>19</a:t>
            </a:fld>
            <a:endParaRPr lang="en-GB"/>
          </a:p>
        </p:txBody>
      </p:sp>
    </p:spTree>
    <p:extLst>
      <p:ext uri="{BB962C8B-B14F-4D97-AF65-F5344CB8AC3E}">
        <p14:creationId xmlns:p14="http://schemas.microsoft.com/office/powerpoint/2010/main" val="3581533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altLang="en-US" dirty="0"/>
              <a:t>Founded by a physicist and an engineer in 1926 to conduct the first geophysical measurements of rock formations </a:t>
            </a:r>
          </a:p>
          <a:p>
            <a:endParaRPr lang="en-US" altLang="en-US" dirty="0"/>
          </a:p>
          <a:p>
            <a:pPr lvl="1"/>
            <a:endParaRPr lang="en-US" altLang="en-US" dirty="0"/>
          </a:p>
        </p:txBody>
      </p:sp>
      <p:sp>
        <p:nvSpPr>
          <p:cNvPr id="12" name="Content Placeholder 11">
            <a:extLst>
              <a:ext uri="{FF2B5EF4-FFF2-40B4-BE49-F238E27FC236}">
                <a16:creationId xmlns:a16="http://schemas.microsoft.com/office/drawing/2014/main" id="{69B8A322-F169-25A9-C8BC-06328371541E}"/>
              </a:ext>
            </a:extLst>
          </p:cNvPr>
          <p:cNvSpPr>
            <a:spLocks noGrp="1"/>
          </p:cNvSpPr>
          <p:nvPr>
            <p:ph sz="quarter" idx="12"/>
          </p:nvPr>
        </p:nvSpPr>
        <p:spPr/>
        <p:txBody>
          <a:bodyPr/>
          <a:lstStyle/>
          <a:p>
            <a:endParaRPr lang="en-US"/>
          </a:p>
        </p:txBody>
      </p:sp>
      <p:sp>
        <p:nvSpPr>
          <p:cNvPr id="2" name="Title 1"/>
          <p:cNvSpPr>
            <a:spLocks noGrp="1"/>
          </p:cNvSpPr>
          <p:nvPr>
            <p:ph type="title"/>
          </p:nvPr>
        </p:nvSpPr>
        <p:spPr>
          <a:xfrm>
            <a:off x="516073" y="300164"/>
            <a:ext cx="11156680" cy="781198"/>
          </a:xfrm>
        </p:spPr>
        <p:txBody>
          <a:bodyPr/>
          <a:lstStyle/>
          <a:p>
            <a:r>
              <a:rPr lang="en-US" altLang="en-US" dirty="0"/>
              <a:t>What is SLB?</a:t>
            </a:r>
            <a:br>
              <a:rPr lang="en-US" altLang="en-US" dirty="0"/>
            </a:br>
            <a:r>
              <a:rPr lang="en-US" altLang="en-US" dirty="0"/>
              <a:t>(former Schlumberger)</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212070" y="4418792"/>
            <a:ext cx="2506470" cy="1708958"/>
          </a:xfrm>
          <a:prstGeom prst="rect">
            <a:avLst/>
          </a:prstGeom>
          <a:ln>
            <a:noFill/>
          </a:ln>
          <a:effectLst>
            <a:outerShdw blurRad="190500" algn="tl" rotWithShape="0">
              <a:srgbClr val="000000">
                <a:alpha val="70000"/>
              </a:srgbClr>
            </a:outerShdw>
          </a:effectLst>
        </p:spPr>
      </p:pic>
      <p:pic>
        <p:nvPicPr>
          <p:cNvPr id="11" name="Picture 4" descr="0076_pcd0040">
            <a:extLst>
              <a:ext uri="{FF2B5EF4-FFF2-40B4-BE49-F238E27FC236}">
                <a16:creationId xmlns:a16="http://schemas.microsoft.com/office/drawing/2014/main" id="{CBA624B0-2ABA-406D-82DD-EAA6F2B0DA5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9557065" y="481396"/>
            <a:ext cx="2161475" cy="3298053"/>
          </a:xfrm>
          <a:prstGeom prst="rect">
            <a:avLst/>
          </a:prstGeom>
          <a:ln>
            <a:noFill/>
          </a:ln>
          <a:effectLst>
            <a:outerShdw blurRad="190500" algn="tl" rotWithShape="0">
              <a:srgbClr val="000000">
                <a:alpha val="70000"/>
              </a:srgbClr>
            </a:outerShdw>
          </a:effectLst>
        </p:spPr>
      </p:pic>
      <p:pic>
        <p:nvPicPr>
          <p:cNvPr id="1026" name="Picture 2">
            <a:extLst>
              <a:ext uri="{FF2B5EF4-FFF2-40B4-BE49-F238E27FC236}">
                <a16:creationId xmlns:a16="http://schemas.microsoft.com/office/drawing/2014/main" id="{7D2A9271-B86E-FA25-971B-5128FD54EEE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252803" y="2629271"/>
            <a:ext cx="2720781" cy="408258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B65E4881-3B54-1047-5EEF-5AA4898AFFDE}"/>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987706" y="481396"/>
            <a:ext cx="3113092" cy="2072378"/>
          </a:xfrm>
          <a:prstGeom prst="rect">
            <a:avLst/>
          </a:prstGeom>
          <a:ln>
            <a:noFill/>
          </a:ln>
          <a:effectLst>
            <a:outerShdw blurRad="190500" algn="tl" rotWithShape="0">
              <a:srgbClr val="000000">
                <a:alpha val="70000"/>
              </a:srgbClr>
            </a:outerShdw>
          </a:effectLst>
        </p:spPr>
      </p:pic>
      <p:pic>
        <p:nvPicPr>
          <p:cNvPr id="17" name="Picture 16">
            <a:extLst>
              <a:ext uri="{FF2B5EF4-FFF2-40B4-BE49-F238E27FC236}">
                <a16:creationId xmlns:a16="http://schemas.microsoft.com/office/drawing/2014/main" id="{A4EA9B28-FD66-7BC2-237C-BCE0D10B007F}"/>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987707" y="3144193"/>
            <a:ext cx="3113092" cy="200801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7415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p:txBody>
          <a:bodyPr/>
          <a:lstStyle/>
          <a:p>
            <a:r>
              <a:rPr lang="en-US" altLang="en-US" dirty="0"/>
              <a:t>Founded by a physicist and an engineer in 1926 to conduct the first geophysical measurements of rock formations </a:t>
            </a:r>
          </a:p>
          <a:p>
            <a:endParaRPr lang="en-US" altLang="en-US" dirty="0"/>
          </a:p>
          <a:p>
            <a:r>
              <a:rPr lang="en-US" altLang="en-US" dirty="0"/>
              <a:t>Now a global technology company driving innovation and transformation across the energy industry and beyond.</a:t>
            </a:r>
          </a:p>
          <a:p>
            <a:endParaRPr lang="en-US" altLang="en-US" dirty="0"/>
          </a:p>
          <a:p>
            <a:pPr lvl="1"/>
            <a:r>
              <a:rPr lang="en-US" altLang="en-US" dirty="0"/>
              <a:t>98,000+ employees</a:t>
            </a:r>
          </a:p>
          <a:p>
            <a:pPr lvl="2"/>
            <a:r>
              <a:rPr lang="en-US" altLang="en-US" dirty="0"/>
              <a:t>172 nationalities working in 120 countries</a:t>
            </a:r>
          </a:p>
          <a:p>
            <a:pPr lvl="1"/>
            <a:r>
              <a:rPr lang="en-US" altLang="en-US" dirty="0"/>
              <a:t>71 research and engineering centers worldwide</a:t>
            </a:r>
          </a:p>
          <a:p>
            <a:pPr lvl="1"/>
            <a:endParaRPr lang="en-US" altLang="en-US" dirty="0"/>
          </a:p>
        </p:txBody>
      </p:sp>
      <p:sp>
        <p:nvSpPr>
          <p:cNvPr id="5" name="Content Placeholder 4">
            <a:extLst>
              <a:ext uri="{FF2B5EF4-FFF2-40B4-BE49-F238E27FC236}">
                <a16:creationId xmlns:a16="http://schemas.microsoft.com/office/drawing/2014/main" id="{EA827C8D-FA60-D2E0-1115-6DF500A2EA51}"/>
              </a:ext>
            </a:extLst>
          </p:cNvPr>
          <p:cNvSpPr>
            <a:spLocks noGrp="1"/>
          </p:cNvSpPr>
          <p:nvPr>
            <p:ph sz="quarter" idx="12"/>
          </p:nvPr>
        </p:nvSpPr>
        <p:spPr/>
        <p:txBody>
          <a:bodyPr/>
          <a:lstStyle/>
          <a:p>
            <a:endParaRPr lang="en-US" dirty="0"/>
          </a:p>
        </p:txBody>
      </p:sp>
      <p:sp>
        <p:nvSpPr>
          <p:cNvPr id="2" name="Title 1"/>
          <p:cNvSpPr>
            <a:spLocks noGrp="1"/>
          </p:cNvSpPr>
          <p:nvPr>
            <p:ph type="title"/>
          </p:nvPr>
        </p:nvSpPr>
        <p:spPr>
          <a:xfrm>
            <a:off x="516073" y="300164"/>
            <a:ext cx="11156680" cy="781198"/>
          </a:xfrm>
        </p:spPr>
        <p:txBody>
          <a:bodyPr/>
          <a:lstStyle/>
          <a:p>
            <a:r>
              <a:rPr lang="en-US" altLang="en-US" dirty="0"/>
              <a:t>What is SLB?</a:t>
            </a:r>
            <a:br>
              <a:rPr lang="en-US" altLang="en-US" dirty="0"/>
            </a:br>
            <a:r>
              <a:rPr lang="en-US" altLang="en-US" dirty="0"/>
              <a:t>(former Schlumberger)</a:t>
            </a:r>
            <a:endParaRPr lang="en-US" dirty="0"/>
          </a:p>
        </p:txBody>
      </p:sp>
      <p:sp>
        <p:nvSpPr>
          <p:cNvPr id="13" name="AutoShape 18">
            <a:extLst>
              <a:ext uri="{FF2B5EF4-FFF2-40B4-BE49-F238E27FC236}">
                <a16:creationId xmlns:a16="http://schemas.microsoft.com/office/drawing/2014/main" id="{0B181173-7F64-BB83-C840-D384068544FD}"/>
              </a:ext>
            </a:extLst>
          </p:cNvPr>
          <p:cNvSpPr>
            <a:spLocks noChangeAspect="1" noChangeArrowheads="1"/>
          </p:cNvSpPr>
          <p:nvPr/>
        </p:nvSpPr>
        <p:spPr bwMode="auto">
          <a:xfrm>
            <a:off x="5943600" y="3276600"/>
            <a:ext cx="2003898" cy="200389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6" name="Picture 15">
            <a:extLst>
              <a:ext uri="{FF2B5EF4-FFF2-40B4-BE49-F238E27FC236}">
                <a16:creationId xmlns:a16="http://schemas.microsoft.com/office/drawing/2014/main" id="{386C45BC-16CA-A458-5628-69A1DED425B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589" t="1172" r="888" b="1336"/>
          <a:stretch/>
        </p:blipFill>
        <p:spPr>
          <a:xfrm>
            <a:off x="6316922" y="2286253"/>
            <a:ext cx="5362183" cy="298639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44103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CTive family illustration.">
            <a:extLst>
              <a:ext uri="{FF2B5EF4-FFF2-40B4-BE49-F238E27FC236}">
                <a16:creationId xmlns:a16="http://schemas.microsoft.com/office/drawing/2014/main" id="{E7EF06C0-EB98-43B4-8298-52AA46EEBC08}"/>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513531" y="1270583"/>
            <a:ext cx="4542483" cy="344151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513532" y="1270583"/>
            <a:ext cx="4558971" cy="4008095"/>
          </a:xfrm>
          <a:prstGeom prst="rect">
            <a:avLst/>
          </a:prstGeom>
          <a:ln>
            <a:noFill/>
          </a:ln>
          <a:effectLst>
            <a:outerShdw blurRad="190500" algn="tl" rotWithShape="0">
              <a:srgbClr val="000000">
                <a:alpha val="70000"/>
              </a:srgbClr>
            </a:outerShdw>
          </a:effectLst>
        </p:spPr>
      </p:pic>
      <p:sp>
        <p:nvSpPr>
          <p:cNvPr id="3" name="Content Placeholder 2"/>
          <p:cNvSpPr>
            <a:spLocks noGrp="1"/>
          </p:cNvSpPr>
          <p:nvPr>
            <p:ph sz="quarter" idx="11"/>
          </p:nvPr>
        </p:nvSpPr>
        <p:spPr>
          <a:xfrm>
            <a:off x="517661" y="1431148"/>
            <a:ext cx="6734478" cy="4696602"/>
          </a:xfrm>
        </p:spPr>
        <p:txBody>
          <a:bodyPr numCol="2" spcCol="182880"/>
          <a:lstStyle/>
          <a:p>
            <a:r>
              <a:rPr lang="en-US" dirty="0"/>
              <a:t>We develop tools and provide</a:t>
            </a:r>
            <a:br>
              <a:rPr lang="en-US" dirty="0"/>
            </a:br>
            <a:r>
              <a:rPr lang="en-US" dirty="0"/>
              <a:t>hydrocarbon exploration measurements and data.</a:t>
            </a:r>
          </a:p>
          <a:p>
            <a:pPr lvl="1"/>
            <a:r>
              <a:rPr lang="en-US" dirty="0"/>
              <a:t>Where are the hydrocarbons?</a:t>
            </a:r>
          </a:p>
          <a:p>
            <a:pPr lvl="1"/>
            <a:r>
              <a:rPr lang="en-US" dirty="0"/>
              <a:t>What kind—oil or gas?</a:t>
            </a:r>
          </a:p>
          <a:p>
            <a:pPr lvl="1"/>
            <a:r>
              <a:rPr lang="en-US" dirty="0"/>
              <a:t>How much can be extracted?</a:t>
            </a:r>
          </a:p>
          <a:p>
            <a:pPr lvl="1"/>
            <a:endParaRPr lang="en-US" dirty="0"/>
          </a:p>
          <a:p>
            <a:pPr lvl="1"/>
            <a:endParaRPr lang="en-US" dirty="0"/>
          </a:p>
          <a:p>
            <a:pPr lvl="1"/>
            <a:endParaRPr lang="en-US" dirty="0"/>
          </a:p>
          <a:p>
            <a:pPr lvl="1"/>
            <a:endParaRPr lang="en-US" dirty="0"/>
          </a:p>
          <a:p>
            <a:pPr lvl="1"/>
            <a:endParaRPr lang="en-US" dirty="0"/>
          </a:p>
          <a:p>
            <a:r>
              <a:rPr lang="en-US" dirty="0"/>
              <a:t>Use nuclear physics methods to measure</a:t>
            </a:r>
          </a:p>
          <a:p>
            <a:pPr lvl="1"/>
            <a:r>
              <a:rPr lang="en-US" dirty="0"/>
              <a:t>Natural radioactivity</a:t>
            </a:r>
          </a:p>
          <a:p>
            <a:pPr lvl="1"/>
            <a:r>
              <a:rPr lang="en-US" dirty="0"/>
              <a:t>Rock density</a:t>
            </a:r>
          </a:p>
          <a:p>
            <a:pPr lvl="1"/>
            <a:r>
              <a:rPr lang="en-US" dirty="0"/>
              <a:t>Hydrogen index, porosity</a:t>
            </a:r>
          </a:p>
          <a:p>
            <a:pPr lvl="1"/>
            <a:r>
              <a:rPr lang="en-US" u="sng" dirty="0"/>
              <a:t>Rock matrix and pore fluid composition</a:t>
            </a:r>
          </a:p>
          <a:p>
            <a:pPr lvl="1"/>
            <a:r>
              <a:rPr lang="en-US" dirty="0"/>
              <a:t>Wellbore diameter</a:t>
            </a:r>
          </a:p>
          <a:p>
            <a:pPr lvl="1"/>
            <a:endParaRPr lang="en-US" dirty="0"/>
          </a:p>
          <a:p>
            <a:r>
              <a:rPr lang="en-US" dirty="0">
                <a:sym typeface="Wingdings" panose="05000000000000000000" pitchFamily="2" charset="2"/>
              </a:rPr>
              <a:t>Provide full characterization of the reservoir</a:t>
            </a:r>
            <a:endParaRPr lang="en-US" dirty="0"/>
          </a:p>
          <a:p>
            <a:pPr lvl="1"/>
            <a:endParaRPr lang="en-US" dirty="0"/>
          </a:p>
        </p:txBody>
      </p:sp>
      <p:sp>
        <p:nvSpPr>
          <p:cNvPr id="2" name="Title 1"/>
          <p:cNvSpPr>
            <a:spLocks noGrp="1"/>
          </p:cNvSpPr>
          <p:nvPr>
            <p:ph type="title"/>
          </p:nvPr>
        </p:nvSpPr>
        <p:spPr>
          <a:xfrm>
            <a:off x="516073" y="300164"/>
            <a:ext cx="11156680" cy="781198"/>
          </a:xfrm>
        </p:spPr>
        <p:txBody>
          <a:bodyPr/>
          <a:lstStyle/>
          <a:p>
            <a:r>
              <a:rPr lang="en-US" dirty="0"/>
              <a:t>What We Do in Oil and Gas?</a:t>
            </a:r>
          </a:p>
        </p:txBody>
      </p:sp>
      <p:pic>
        <p:nvPicPr>
          <p:cNvPr id="4" name="Picture 3">
            <a:extLst>
              <a:ext uri="{FF2B5EF4-FFF2-40B4-BE49-F238E27FC236}">
                <a16:creationId xmlns:a16="http://schemas.microsoft.com/office/drawing/2014/main" id="{410BF5E6-9BCF-467F-B909-EDB6C86AA2D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513533" y="3583369"/>
            <a:ext cx="1644321" cy="255574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95666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0" end="1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1" end="1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2" end="1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3" end="1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4" end="1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6" end="1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xit" presetSubtype="0" fill="hold" nodeType="withEffect">
                                  <p:stCondLst>
                                    <p:cond delay="0"/>
                                  </p:stCondLst>
                                  <p:childTnLst>
                                    <p:set>
                                      <p:cBhvr>
                                        <p:cTn id="22"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3"/>
          <p:cNvSpPr>
            <a:spLocks noGrp="1" noChangeArrowheads="1"/>
          </p:cNvSpPr>
          <p:nvPr>
            <p:ph sz="quarter" idx="11"/>
          </p:nvPr>
        </p:nvSpPr>
        <p:spPr>
          <a:xfrm>
            <a:off x="517659" y="1431148"/>
            <a:ext cx="6793447" cy="4696602"/>
          </a:xfrm>
        </p:spPr>
        <p:txBody>
          <a:bodyPr/>
          <a:lstStyle/>
          <a:p>
            <a:r>
              <a:rPr lang="en-US" dirty="0"/>
              <a:t>Formation Rock = Matrix + Pores</a:t>
            </a:r>
          </a:p>
          <a:p>
            <a:endParaRPr lang="en-US" sz="1050" dirty="0"/>
          </a:p>
          <a:p>
            <a:r>
              <a:rPr lang="en-US" dirty="0"/>
              <a:t>Typical matrix materials</a:t>
            </a:r>
          </a:p>
          <a:p>
            <a:pPr lvl="1"/>
            <a:r>
              <a:rPr lang="en-US" dirty="0"/>
              <a:t>In the reservoir — </a:t>
            </a:r>
            <a:br>
              <a:rPr lang="en-US" dirty="0"/>
            </a:br>
            <a:r>
              <a:rPr lang="en-US" dirty="0"/>
              <a:t>sandstone (SiO</a:t>
            </a:r>
            <a:r>
              <a:rPr lang="en-US" baseline="-25000" dirty="0"/>
              <a:t>2</a:t>
            </a:r>
            <a:r>
              <a:rPr lang="en-US" dirty="0"/>
              <a:t>), limestone (CaCO</a:t>
            </a:r>
            <a:r>
              <a:rPr lang="en-US" baseline="-25000" dirty="0"/>
              <a:t>3</a:t>
            </a:r>
            <a:r>
              <a:rPr lang="en-US" dirty="0"/>
              <a:t>), dolomite (CaMg(CO</a:t>
            </a:r>
            <a:r>
              <a:rPr lang="en-US" baseline="-25000" dirty="0"/>
              <a:t>3</a:t>
            </a:r>
            <a:r>
              <a:rPr lang="en-US" dirty="0"/>
              <a:t>)</a:t>
            </a:r>
            <a:r>
              <a:rPr lang="en-US" baseline="-25000" dirty="0"/>
              <a:t>2</a:t>
            </a:r>
            <a:r>
              <a:rPr lang="en-US" dirty="0"/>
              <a:t>)</a:t>
            </a:r>
          </a:p>
          <a:p>
            <a:pPr lvl="1"/>
            <a:r>
              <a:rPr lang="en-US" dirty="0"/>
              <a:t>Everywhere else — “shale” (e.g., aluminosilicates)</a:t>
            </a:r>
          </a:p>
          <a:p>
            <a:pPr lvl="1"/>
            <a:endParaRPr lang="en-US" sz="1100" dirty="0"/>
          </a:p>
          <a:p>
            <a:r>
              <a:rPr lang="en-US" dirty="0"/>
              <a:t>Typical pore fluids</a:t>
            </a:r>
          </a:p>
          <a:p>
            <a:pPr lvl="1"/>
            <a:r>
              <a:rPr lang="en-US" dirty="0"/>
              <a:t>Saltwater (NaCl brine)</a:t>
            </a:r>
          </a:p>
          <a:p>
            <a:pPr lvl="1"/>
            <a:r>
              <a:rPr lang="en-US" dirty="0"/>
              <a:t>Hydrocarbons (oil or gas, </a:t>
            </a:r>
            <a:r>
              <a:rPr lang="en-US" dirty="0" err="1"/>
              <a:t>C</a:t>
            </a:r>
            <a:r>
              <a:rPr lang="en-US" baseline="-25000" dirty="0" err="1"/>
              <a:t>n</a:t>
            </a:r>
            <a:r>
              <a:rPr lang="en-US" dirty="0" err="1"/>
              <a:t>H</a:t>
            </a:r>
            <a:r>
              <a:rPr lang="en-US" baseline="-25000" dirty="0" err="1"/>
              <a:t>m</a:t>
            </a:r>
            <a:r>
              <a:rPr lang="en-US" dirty="0"/>
              <a:t>)</a:t>
            </a:r>
          </a:p>
        </p:txBody>
      </p:sp>
      <p:sp>
        <p:nvSpPr>
          <p:cNvPr id="15362" name="Rectangle 2"/>
          <p:cNvSpPr>
            <a:spLocks noGrp="1" noChangeArrowheads="1"/>
          </p:cNvSpPr>
          <p:nvPr>
            <p:ph type="title"/>
          </p:nvPr>
        </p:nvSpPr>
        <p:spPr>
          <a:xfrm>
            <a:off x="516073" y="300164"/>
            <a:ext cx="11156680" cy="781198"/>
          </a:xfrm>
        </p:spPr>
        <p:txBody>
          <a:bodyPr/>
          <a:lstStyle/>
          <a:p>
            <a:r>
              <a:rPr lang="en-US" dirty="0"/>
              <a:t>Rocks Are Composed of What?</a:t>
            </a:r>
          </a:p>
        </p:txBody>
      </p:sp>
      <p:pic>
        <p:nvPicPr>
          <p:cNvPr id="2050" name="Picture 2" descr="Carbon services site selection.">
            <a:extLst>
              <a:ext uri="{FF2B5EF4-FFF2-40B4-BE49-F238E27FC236}">
                <a16:creationId xmlns:a16="http://schemas.microsoft.com/office/drawing/2014/main" id="{6B8A5EF9-4274-4632-9FF1-ADA85047F966}"/>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625479" y="1431148"/>
            <a:ext cx="4047274" cy="469660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330366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49B7508A-F577-1C83-69F8-116DD4C847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641321" y="1474039"/>
            <a:ext cx="3997365" cy="1274934"/>
          </a:xfrm>
          <a:prstGeom prst="rect">
            <a:avLst/>
          </a:prstGeom>
        </p:spPr>
      </p:pic>
      <p:sp>
        <p:nvSpPr>
          <p:cNvPr id="3" name="Title 2">
            <a:extLst>
              <a:ext uri="{FF2B5EF4-FFF2-40B4-BE49-F238E27FC236}">
                <a16:creationId xmlns:a16="http://schemas.microsoft.com/office/drawing/2014/main" id="{11A9FEC3-197D-CA27-3AD9-6E89A92D814C}"/>
              </a:ext>
            </a:extLst>
          </p:cNvPr>
          <p:cNvSpPr>
            <a:spLocks noGrp="1"/>
          </p:cNvSpPr>
          <p:nvPr>
            <p:ph type="title"/>
          </p:nvPr>
        </p:nvSpPr>
        <p:spPr/>
        <p:txBody>
          <a:bodyPr/>
          <a:lstStyle/>
          <a:p>
            <a:r>
              <a:rPr lang="en-US" dirty="0"/>
              <a:t>Measurement Principles</a:t>
            </a:r>
          </a:p>
        </p:txBody>
      </p:sp>
      <p:grpSp>
        <p:nvGrpSpPr>
          <p:cNvPr id="4" name="Group 3">
            <a:extLst>
              <a:ext uri="{FF2B5EF4-FFF2-40B4-BE49-F238E27FC236}">
                <a16:creationId xmlns:a16="http://schemas.microsoft.com/office/drawing/2014/main" id="{00D862AA-9312-CC92-21F5-9D694CC1F285}"/>
              </a:ext>
            </a:extLst>
          </p:cNvPr>
          <p:cNvGrpSpPr>
            <a:grpSpLocks noChangeAspect="1"/>
          </p:cNvGrpSpPr>
          <p:nvPr/>
        </p:nvGrpSpPr>
        <p:grpSpPr>
          <a:xfrm>
            <a:off x="272560" y="4291569"/>
            <a:ext cx="6360555" cy="1488340"/>
            <a:chOff x="1301397" y="2114550"/>
            <a:chExt cx="9299928" cy="2176139"/>
          </a:xfrm>
        </p:grpSpPr>
        <p:sp>
          <p:nvSpPr>
            <p:cNvPr id="5" name="Rectangle 4">
              <a:extLst>
                <a:ext uri="{FF2B5EF4-FFF2-40B4-BE49-F238E27FC236}">
                  <a16:creationId xmlns:a16="http://schemas.microsoft.com/office/drawing/2014/main" id="{058936DF-F690-92A0-2D23-D633DA55EEF1}"/>
                </a:ext>
              </a:extLst>
            </p:cNvPr>
            <p:cNvSpPr/>
            <p:nvPr/>
          </p:nvSpPr>
          <p:spPr>
            <a:xfrm>
              <a:off x="1304925" y="2544959"/>
              <a:ext cx="9296400" cy="56338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D947D9F6-B094-2F0D-8802-CF0C0BB9F3AA}"/>
                </a:ext>
              </a:extLst>
            </p:cNvPr>
            <p:cNvGrpSpPr/>
            <p:nvPr/>
          </p:nvGrpSpPr>
          <p:grpSpPr>
            <a:xfrm>
              <a:off x="1304925" y="2564934"/>
              <a:ext cx="3293745" cy="497205"/>
              <a:chOff x="1171575" y="5407194"/>
              <a:chExt cx="3293745" cy="497205"/>
            </a:xfrm>
          </p:grpSpPr>
          <p:sp>
            <p:nvSpPr>
              <p:cNvPr id="30" name="Rectangle 29">
                <a:extLst>
                  <a:ext uri="{FF2B5EF4-FFF2-40B4-BE49-F238E27FC236}">
                    <a16:creationId xmlns:a16="http://schemas.microsoft.com/office/drawing/2014/main" id="{04B87796-B6EB-9195-24F1-58B092221ED1}"/>
                  </a:ext>
                </a:extLst>
              </p:cNvPr>
              <p:cNvSpPr/>
              <p:nvPr/>
            </p:nvSpPr>
            <p:spPr>
              <a:xfrm>
                <a:off x="1171575" y="5407194"/>
                <a:ext cx="3293745" cy="49720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un 30">
                <a:extLst>
                  <a:ext uri="{FF2B5EF4-FFF2-40B4-BE49-F238E27FC236}">
                    <a16:creationId xmlns:a16="http://schemas.microsoft.com/office/drawing/2014/main" id="{7F1507C1-CE28-2F6B-E95C-666EEE00AB09}"/>
                  </a:ext>
                </a:extLst>
              </p:cNvPr>
              <p:cNvSpPr>
                <a:spLocks noChangeAspect="1"/>
              </p:cNvSpPr>
              <p:nvPr/>
            </p:nvSpPr>
            <p:spPr>
              <a:xfrm>
                <a:off x="3451860" y="5472916"/>
                <a:ext cx="365760" cy="365760"/>
              </a:xfrm>
              <a:prstGeom prst="sun">
                <a:avLst>
                  <a:gd name="adj" fmla="val 34375"/>
                </a:avLst>
              </a:prstGeom>
              <a:solidFill>
                <a:srgbClr val="FF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D912C439-FF04-BE7B-1B31-6FB9C1E26509}"/>
                </a:ext>
              </a:extLst>
            </p:cNvPr>
            <p:cNvGrpSpPr/>
            <p:nvPr/>
          </p:nvGrpSpPr>
          <p:grpSpPr>
            <a:xfrm>
              <a:off x="1304925" y="3146911"/>
              <a:ext cx="9296400" cy="685800"/>
              <a:chOff x="1171575" y="5394811"/>
              <a:chExt cx="9296400" cy="685800"/>
            </a:xfrm>
          </p:grpSpPr>
          <p:sp>
            <p:nvSpPr>
              <p:cNvPr id="28" name="Rectangle 27">
                <a:extLst>
                  <a:ext uri="{FF2B5EF4-FFF2-40B4-BE49-F238E27FC236}">
                    <a16:creationId xmlns:a16="http://schemas.microsoft.com/office/drawing/2014/main" id="{1760C065-4202-2AE4-431B-B64152A59F65}"/>
                  </a:ext>
                </a:extLst>
              </p:cNvPr>
              <p:cNvSpPr/>
              <p:nvPr/>
            </p:nvSpPr>
            <p:spPr>
              <a:xfrm>
                <a:off x="1171575" y="5394811"/>
                <a:ext cx="9296400" cy="6858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63E3D680-16BD-9DEC-21BB-85F68DBD89B0}"/>
                  </a:ext>
                </a:extLst>
              </p:cNvPr>
              <p:cNvSpPr/>
              <p:nvPr/>
            </p:nvSpPr>
            <p:spPr>
              <a:xfrm>
                <a:off x="1171575" y="5494019"/>
                <a:ext cx="9296400" cy="48006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id="{2B9D4184-B89E-0424-69BA-4AB529986B08}"/>
                </a:ext>
              </a:extLst>
            </p:cNvPr>
            <p:cNvSpPr/>
            <p:nvPr/>
          </p:nvSpPr>
          <p:spPr>
            <a:xfrm>
              <a:off x="4678680" y="2564933"/>
              <a:ext cx="994410" cy="4972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9D8145-0079-20F4-4B29-ACC753ADA6B9}"/>
                </a:ext>
              </a:extLst>
            </p:cNvPr>
            <p:cNvSpPr/>
            <p:nvPr/>
          </p:nvSpPr>
          <p:spPr>
            <a:xfrm>
              <a:off x="5775009" y="2564933"/>
              <a:ext cx="1945005" cy="4972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E8B2AF3-9590-CFBD-FB58-F08CC599A38E}"/>
                </a:ext>
              </a:extLst>
            </p:cNvPr>
            <p:cNvSpPr/>
            <p:nvPr/>
          </p:nvSpPr>
          <p:spPr>
            <a:xfrm>
              <a:off x="7783833" y="2564009"/>
              <a:ext cx="220670" cy="4972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4C5EAEB7-E50F-5828-F10B-398C063CE8FF}"/>
                </a:ext>
              </a:extLst>
            </p:cNvPr>
            <p:cNvGrpSpPr/>
            <p:nvPr/>
          </p:nvGrpSpPr>
          <p:grpSpPr>
            <a:xfrm>
              <a:off x="8068323" y="2619225"/>
              <a:ext cx="1622734" cy="390675"/>
              <a:chOff x="7934973" y="4867125"/>
              <a:chExt cx="1622734" cy="390675"/>
            </a:xfrm>
          </p:grpSpPr>
          <p:sp>
            <p:nvSpPr>
              <p:cNvPr id="21" name="Rectangle 20">
                <a:extLst>
                  <a:ext uri="{FF2B5EF4-FFF2-40B4-BE49-F238E27FC236}">
                    <a16:creationId xmlns:a16="http://schemas.microsoft.com/office/drawing/2014/main" id="{5C210EFE-0B4F-F6E9-CC9A-F15EE8EAD7D2}"/>
                  </a:ext>
                </a:extLst>
              </p:cNvPr>
              <p:cNvSpPr/>
              <p:nvPr/>
            </p:nvSpPr>
            <p:spPr>
              <a:xfrm>
                <a:off x="7934973" y="4867125"/>
                <a:ext cx="1003288" cy="3906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2C3D3EEC-6EB7-5C0E-AC9C-233936B0A5B1}"/>
                  </a:ext>
                </a:extLst>
              </p:cNvPr>
              <p:cNvGrpSpPr/>
              <p:nvPr/>
            </p:nvGrpSpPr>
            <p:grpSpPr>
              <a:xfrm>
                <a:off x="8950960" y="4873475"/>
                <a:ext cx="606747" cy="377191"/>
                <a:chOff x="9052560" y="4867125"/>
                <a:chExt cx="606747" cy="377191"/>
              </a:xfrm>
            </p:grpSpPr>
            <p:grpSp>
              <p:nvGrpSpPr>
                <p:cNvPr id="23" name="Group 22">
                  <a:extLst>
                    <a:ext uri="{FF2B5EF4-FFF2-40B4-BE49-F238E27FC236}">
                      <a16:creationId xmlns:a16="http://schemas.microsoft.com/office/drawing/2014/main" id="{E41D5EF4-9BD7-8CD4-6CEF-77312D99E23D}"/>
                    </a:ext>
                  </a:extLst>
                </p:cNvPr>
                <p:cNvGrpSpPr/>
                <p:nvPr/>
              </p:nvGrpSpPr>
              <p:grpSpPr>
                <a:xfrm>
                  <a:off x="9052560" y="4867125"/>
                  <a:ext cx="606747" cy="377191"/>
                  <a:chOff x="9052560" y="4867125"/>
                  <a:chExt cx="606747" cy="377191"/>
                </a:xfrm>
              </p:grpSpPr>
              <p:sp>
                <p:nvSpPr>
                  <p:cNvPr id="26" name="Rectangle 25">
                    <a:extLst>
                      <a:ext uri="{FF2B5EF4-FFF2-40B4-BE49-F238E27FC236}">
                        <a16:creationId xmlns:a16="http://schemas.microsoft.com/office/drawing/2014/main" id="{4741E126-79C5-5E5A-9E43-9D2429F0E0EE}"/>
                      </a:ext>
                    </a:extLst>
                  </p:cNvPr>
                  <p:cNvSpPr/>
                  <p:nvPr/>
                </p:nvSpPr>
                <p:spPr>
                  <a:xfrm>
                    <a:off x="9052560" y="4867125"/>
                    <a:ext cx="274320" cy="3771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434BA79-BC3E-7BAA-2264-3504272D55BA}"/>
                      </a:ext>
                    </a:extLst>
                  </p:cNvPr>
                  <p:cNvSpPr/>
                  <p:nvPr/>
                </p:nvSpPr>
                <p:spPr>
                  <a:xfrm>
                    <a:off x="9326880" y="4958565"/>
                    <a:ext cx="332427" cy="1943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70157A0E-46B8-2811-229D-3F800943E717}"/>
                    </a:ext>
                  </a:extLst>
                </p:cNvPr>
                <p:cNvSpPr/>
                <p:nvPr/>
              </p:nvSpPr>
              <p:spPr>
                <a:xfrm>
                  <a:off x="9333230" y="4875382"/>
                  <a:ext cx="326077" cy="4698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697A7D7-6568-5A86-AA69-FC2D0C71601F}"/>
                    </a:ext>
                  </a:extLst>
                </p:cNvPr>
                <p:cNvSpPr/>
                <p:nvPr/>
              </p:nvSpPr>
              <p:spPr>
                <a:xfrm>
                  <a:off x="9333230" y="5189092"/>
                  <a:ext cx="326077" cy="4698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Rectangle 11">
              <a:extLst>
                <a:ext uri="{FF2B5EF4-FFF2-40B4-BE49-F238E27FC236}">
                  <a16:creationId xmlns:a16="http://schemas.microsoft.com/office/drawing/2014/main" id="{B0EF4B20-08AF-2BB4-B798-0832AEDA3C55}"/>
                </a:ext>
              </a:extLst>
            </p:cNvPr>
            <p:cNvSpPr/>
            <p:nvPr/>
          </p:nvSpPr>
          <p:spPr>
            <a:xfrm>
              <a:off x="1304925" y="3866683"/>
              <a:ext cx="9296400" cy="2921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D202183-F258-BB9F-E05D-F6538AD8AD71}"/>
                </a:ext>
              </a:extLst>
            </p:cNvPr>
            <p:cNvSpPr/>
            <p:nvPr/>
          </p:nvSpPr>
          <p:spPr>
            <a:xfrm>
              <a:off x="1304925" y="2227915"/>
              <a:ext cx="9296400" cy="2921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BFD1A3E-66D1-5039-B8E8-62EA0DB0BA1D}"/>
                </a:ext>
              </a:extLst>
            </p:cNvPr>
            <p:cNvSpPr/>
            <p:nvPr/>
          </p:nvSpPr>
          <p:spPr>
            <a:xfrm>
              <a:off x="8068323" y="2240746"/>
              <a:ext cx="1015987" cy="1055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1076710-89E1-29C9-8138-7AC56EECAA81}"/>
                </a:ext>
              </a:extLst>
            </p:cNvPr>
            <p:cNvSpPr/>
            <p:nvPr/>
          </p:nvSpPr>
          <p:spPr>
            <a:xfrm>
              <a:off x="8068323" y="4053690"/>
              <a:ext cx="1015987" cy="1055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667148E-D29B-B363-E3A5-697364E43FA4}"/>
                </a:ext>
              </a:extLst>
            </p:cNvPr>
            <p:cNvSpPr/>
            <p:nvPr/>
          </p:nvSpPr>
          <p:spPr>
            <a:xfrm>
              <a:off x="7783833" y="2114550"/>
              <a:ext cx="1574797" cy="9571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EB5C22D-982D-E45A-7559-CEDC14E7561E}"/>
                </a:ext>
              </a:extLst>
            </p:cNvPr>
            <p:cNvSpPr/>
            <p:nvPr/>
          </p:nvSpPr>
          <p:spPr>
            <a:xfrm>
              <a:off x="1301397" y="2240633"/>
              <a:ext cx="1945005" cy="1918150"/>
            </a:xfrm>
            <a:prstGeom prst="rect">
              <a:avLst/>
            </a:prstGeom>
            <a:solidFill>
              <a:srgbClr val="767171">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02A6147-DCC2-53CA-9C5A-2BCFA331D138}"/>
                </a:ext>
              </a:extLst>
            </p:cNvPr>
            <p:cNvSpPr/>
            <p:nvPr/>
          </p:nvSpPr>
          <p:spPr>
            <a:xfrm>
              <a:off x="9622631" y="2227915"/>
              <a:ext cx="972503" cy="1930868"/>
            </a:xfrm>
            <a:prstGeom prst="rect">
              <a:avLst/>
            </a:prstGeom>
            <a:solidFill>
              <a:srgbClr val="767171">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796A59A-1F63-8A28-197F-5EFD4DAFED9D}"/>
                </a:ext>
              </a:extLst>
            </p:cNvPr>
            <p:cNvSpPr/>
            <p:nvPr/>
          </p:nvSpPr>
          <p:spPr>
            <a:xfrm>
              <a:off x="7782568" y="4194974"/>
              <a:ext cx="1574797" cy="9571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9693500-5DA0-433C-4445-E69586657491}"/>
                </a:ext>
              </a:extLst>
            </p:cNvPr>
            <p:cNvSpPr/>
            <p:nvPr/>
          </p:nvSpPr>
          <p:spPr>
            <a:xfrm>
              <a:off x="7756204" y="3097029"/>
              <a:ext cx="1608776"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5" name="Straight Arrow Connector 34">
            <a:extLst>
              <a:ext uri="{FF2B5EF4-FFF2-40B4-BE49-F238E27FC236}">
                <a16:creationId xmlns:a16="http://schemas.microsoft.com/office/drawing/2014/main" id="{B267E85D-D3AA-ADAA-F86E-8608B0A7067F}"/>
              </a:ext>
            </a:extLst>
          </p:cNvPr>
          <p:cNvCxnSpPr>
            <a:cxnSpLocks/>
            <a:stCxn id="83" idx="5"/>
          </p:cNvCxnSpPr>
          <p:nvPr/>
        </p:nvCxnSpPr>
        <p:spPr>
          <a:xfrm>
            <a:off x="4409747" y="3031358"/>
            <a:ext cx="819383" cy="1719742"/>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0E8C00EB-B6CB-6DC6-4900-AB2F299ABB5F}"/>
              </a:ext>
            </a:extLst>
          </p:cNvPr>
          <p:cNvSpPr/>
          <p:nvPr/>
        </p:nvSpPr>
        <p:spPr>
          <a:xfrm>
            <a:off x="2329959" y="2512678"/>
            <a:ext cx="570894" cy="1154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a:extLst>
              <a:ext uri="{FF2B5EF4-FFF2-40B4-BE49-F238E27FC236}">
                <a16:creationId xmlns:a16="http://schemas.microsoft.com/office/drawing/2014/main" id="{D0A977F1-D538-EBEB-D6E4-5EC1A8AD66DB}"/>
              </a:ext>
            </a:extLst>
          </p:cNvPr>
          <p:cNvSpPr txBox="1"/>
          <p:nvPr/>
        </p:nvSpPr>
        <p:spPr>
          <a:xfrm>
            <a:off x="3220777" y="3483338"/>
            <a:ext cx="1438407" cy="369332"/>
          </a:xfrm>
          <a:prstGeom prst="rect">
            <a:avLst/>
          </a:prstGeom>
          <a:noFill/>
        </p:spPr>
        <p:txBody>
          <a:bodyPr wrap="none" rtlCol="0">
            <a:spAutoFit/>
          </a:bodyPr>
          <a:lstStyle/>
          <a:p>
            <a:r>
              <a:rPr lang="en-US" dirty="0"/>
              <a:t>Slow neutron</a:t>
            </a:r>
          </a:p>
        </p:txBody>
      </p:sp>
      <p:sp>
        <p:nvSpPr>
          <p:cNvPr id="89" name="TextBox 88">
            <a:extLst>
              <a:ext uri="{FF2B5EF4-FFF2-40B4-BE49-F238E27FC236}">
                <a16:creationId xmlns:a16="http://schemas.microsoft.com/office/drawing/2014/main" id="{BA5369F9-E3CB-5624-A715-D3EF04C80E2F}"/>
              </a:ext>
            </a:extLst>
          </p:cNvPr>
          <p:cNvSpPr txBox="1"/>
          <p:nvPr/>
        </p:nvSpPr>
        <p:spPr>
          <a:xfrm>
            <a:off x="4804225" y="3481346"/>
            <a:ext cx="1259255" cy="369332"/>
          </a:xfrm>
          <a:prstGeom prst="rect">
            <a:avLst/>
          </a:prstGeom>
          <a:noFill/>
        </p:spPr>
        <p:txBody>
          <a:bodyPr wrap="none" rtlCol="0">
            <a:spAutoFit/>
          </a:bodyPr>
          <a:lstStyle/>
          <a:p>
            <a:r>
              <a:rPr lang="en-US" dirty="0"/>
              <a:t>Gamma ray</a:t>
            </a:r>
          </a:p>
        </p:txBody>
      </p:sp>
      <p:grpSp>
        <p:nvGrpSpPr>
          <p:cNvPr id="40" name="Group 39">
            <a:extLst>
              <a:ext uri="{FF2B5EF4-FFF2-40B4-BE49-F238E27FC236}">
                <a16:creationId xmlns:a16="http://schemas.microsoft.com/office/drawing/2014/main" id="{319D439E-758E-5D26-9E44-44EFC7384FC8}"/>
              </a:ext>
            </a:extLst>
          </p:cNvPr>
          <p:cNvGrpSpPr/>
          <p:nvPr/>
        </p:nvGrpSpPr>
        <p:grpSpPr>
          <a:xfrm>
            <a:off x="1307265" y="2595409"/>
            <a:ext cx="2644619" cy="1034403"/>
            <a:chOff x="1307265" y="2595409"/>
            <a:chExt cx="2644619" cy="1034403"/>
          </a:xfrm>
        </p:grpSpPr>
        <p:sp>
          <p:nvSpPr>
            <p:cNvPr id="74" name="Oval 73">
              <a:extLst>
                <a:ext uri="{FF2B5EF4-FFF2-40B4-BE49-F238E27FC236}">
                  <a16:creationId xmlns:a16="http://schemas.microsoft.com/office/drawing/2014/main" id="{26276438-BCF0-E98A-A1B8-83709E61E9FE}"/>
                </a:ext>
              </a:extLst>
            </p:cNvPr>
            <p:cNvSpPr>
              <a:spLocks noChangeAspect="1"/>
            </p:cNvSpPr>
            <p:nvPr/>
          </p:nvSpPr>
          <p:spPr>
            <a:xfrm>
              <a:off x="3280092" y="3067932"/>
              <a:ext cx="274320" cy="274320"/>
            </a:xfrm>
            <a:prstGeom prst="ellipse">
              <a:avLst/>
            </a:prstGeom>
            <a:gradFill flip="none" rotWithShape="1">
              <a:gsLst>
                <a:gs pos="17000">
                  <a:schemeClr val="accent1">
                    <a:lumMod val="45000"/>
                    <a:lumOff val="55000"/>
                    <a:alpha val="0"/>
                  </a:schemeClr>
                </a:gs>
                <a:gs pos="46000">
                  <a:schemeClr val="accent1">
                    <a:lumMod val="45000"/>
                    <a:lumOff val="55000"/>
                  </a:schemeClr>
                </a:gs>
                <a:gs pos="72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2179AE41-E4C5-9070-6D13-6A67296E65D3}"/>
                </a:ext>
              </a:extLst>
            </p:cNvPr>
            <p:cNvSpPr>
              <a:spLocks noChangeAspect="1"/>
            </p:cNvSpPr>
            <p:nvPr/>
          </p:nvSpPr>
          <p:spPr>
            <a:xfrm>
              <a:off x="2854734" y="3355492"/>
              <a:ext cx="274320" cy="274320"/>
            </a:xfrm>
            <a:prstGeom prst="ellipse">
              <a:avLst/>
            </a:prstGeom>
            <a:gradFill flip="none" rotWithShape="1">
              <a:gsLst>
                <a:gs pos="17000">
                  <a:schemeClr val="accent1">
                    <a:lumMod val="45000"/>
                    <a:lumOff val="55000"/>
                    <a:alpha val="0"/>
                  </a:schemeClr>
                </a:gs>
                <a:gs pos="46000">
                  <a:schemeClr val="accent1">
                    <a:lumMod val="45000"/>
                    <a:lumOff val="55000"/>
                  </a:schemeClr>
                </a:gs>
                <a:gs pos="72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BE0ECE21-FAE2-60C1-F496-012FB74D9458}"/>
                </a:ext>
              </a:extLst>
            </p:cNvPr>
            <p:cNvSpPr>
              <a:spLocks noChangeAspect="1"/>
            </p:cNvSpPr>
            <p:nvPr/>
          </p:nvSpPr>
          <p:spPr>
            <a:xfrm>
              <a:off x="2442602" y="2930772"/>
              <a:ext cx="274320" cy="274320"/>
            </a:xfrm>
            <a:prstGeom prst="ellipse">
              <a:avLst/>
            </a:prstGeom>
            <a:gradFill flip="none" rotWithShape="1">
              <a:gsLst>
                <a:gs pos="17000">
                  <a:schemeClr val="accent1">
                    <a:lumMod val="45000"/>
                    <a:lumOff val="55000"/>
                    <a:alpha val="0"/>
                  </a:schemeClr>
                </a:gs>
                <a:gs pos="46000">
                  <a:schemeClr val="accent1">
                    <a:lumMod val="45000"/>
                    <a:lumOff val="55000"/>
                  </a:schemeClr>
                </a:gs>
                <a:gs pos="72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0E6A5C70-8D9C-695A-1E4A-5D92AEB34428}"/>
                </a:ext>
              </a:extLst>
            </p:cNvPr>
            <p:cNvSpPr>
              <a:spLocks noChangeAspect="1"/>
            </p:cNvSpPr>
            <p:nvPr/>
          </p:nvSpPr>
          <p:spPr>
            <a:xfrm>
              <a:off x="2014354" y="3107438"/>
              <a:ext cx="274320" cy="274320"/>
            </a:xfrm>
            <a:prstGeom prst="ellipse">
              <a:avLst/>
            </a:prstGeom>
            <a:gradFill flip="none" rotWithShape="1">
              <a:gsLst>
                <a:gs pos="17000">
                  <a:schemeClr val="accent1">
                    <a:lumMod val="45000"/>
                    <a:lumOff val="55000"/>
                    <a:alpha val="0"/>
                  </a:schemeClr>
                </a:gs>
                <a:gs pos="46000">
                  <a:schemeClr val="accent1">
                    <a:lumMod val="45000"/>
                    <a:lumOff val="55000"/>
                  </a:schemeClr>
                </a:gs>
                <a:gs pos="72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8AC958C6-1A6B-FCC9-9F2D-AA5E04C21388}"/>
                </a:ext>
              </a:extLst>
            </p:cNvPr>
            <p:cNvCxnSpPr>
              <a:cxnSpLocks/>
            </p:cNvCxnSpPr>
            <p:nvPr/>
          </p:nvCxnSpPr>
          <p:spPr>
            <a:xfrm flipV="1">
              <a:off x="2994754" y="3199521"/>
              <a:ext cx="389973" cy="285144"/>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6C2BB91-3CC4-3D4C-EA43-1BDE457ECB15}"/>
                </a:ext>
              </a:extLst>
            </p:cNvPr>
            <p:cNvCxnSpPr>
              <a:cxnSpLocks/>
            </p:cNvCxnSpPr>
            <p:nvPr/>
          </p:nvCxnSpPr>
          <p:spPr>
            <a:xfrm>
              <a:off x="2572280" y="3073282"/>
              <a:ext cx="395347" cy="396135"/>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43AF79C-21D7-A9B4-549C-40FE2A340EBC}"/>
                </a:ext>
              </a:extLst>
            </p:cNvPr>
            <p:cNvCxnSpPr>
              <a:cxnSpLocks/>
            </p:cNvCxnSpPr>
            <p:nvPr/>
          </p:nvCxnSpPr>
          <p:spPr>
            <a:xfrm flipV="1">
              <a:off x="2155158" y="3067932"/>
              <a:ext cx="401893" cy="16389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71A68532-836C-AEF6-86A4-C0C42034FC73}"/>
                </a:ext>
              </a:extLst>
            </p:cNvPr>
            <p:cNvSpPr>
              <a:spLocks noChangeAspect="1"/>
            </p:cNvSpPr>
            <p:nvPr/>
          </p:nvSpPr>
          <p:spPr>
            <a:xfrm>
              <a:off x="3677564" y="3247970"/>
              <a:ext cx="274320" cy="274320"/>
            </a:xfrm>
            <a:prstGeom prst="ellipse">
              <a:avLst/>
            </a:prstGeom>
            <a:gradFill flip="none" rotWithShape="1">
              <a:gsLst>
                <a:gs pos="17000">
                  <a:schemeClr val="accent1">
                    <a:lumMod val="45000"/>
                    <a:lumOff val="55000"/>
                    <a:alpha val="0"/>
                  </a:schemeClr>
                </a:gs>
                <a:gs pos="46000">
                  <a:schemeClr val="accent1">
                    <a:lumMod val="45000"/>
                    <a:lumOff val="55000"/>
                  </a:schemeClr>
                </a:gs>
                <a:gs pos="72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Arrow Connector 75">
              <a:extLst>
                <a:ext uri="{FF2B5EF4-FFF2-40B4-BE49-F238E27FC236}">
                  <a16:creationId xmlns:a16="http://schemas.microsoft.com/office/drawing/2014/main" id="{AB751A66-617A-EF7A-8F5F-7295FBA897BF}"/>
                </a:ext>
              </a:extLst>
            </p:cNvPr>
            <p:cNvCxnSpPr>
              <a:cxnSpLocks/>
            </p:cNvCxnSpPr>
            <p:nvPr/>
          </p:nvCxnSpPr>
          <p:spPr>
            <a:xfrm>
              <a:off x="3410710" y="3181636"/>
              <a:ext cx="404014" cy="18385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545A8BFB-184F-06E2-FEE0-A4261D66CDC0}"/>
                </a:ext>
              </a:extLst>
            </p:cNvPr>
            <p:cNvSpPr txBox="1"/>
            <p:nvPr/>
          </p:nvSpPr>
          <p:spPr>
            <a:xfrm>
              <a:off x="1307265" y="2595409"/>
              <a:ext cx="1128707" cy="369332"/>
            </a:xfrm>
            <a:prstGeom prst="rect">
              <a:avLst/>
            </a:prstGeom>
            <a:noFill/>
          </p:spPr>
          <p:txBody>
            <a:bodyPr wrap="none" rtlCol="0">
              <a:spAutoFit/>
            </a:bodyPr>
            <a:lstStyle/>
            <a:p>
              <a:r>
                <a:rPr lang="en-US" dirty="0"/>
                <a:t>Scattering</a:t>
              </a:r>
            </a:p>
          </p:txBody>
        </p:sp>
      </p:grpSp>
      <p:sp>
        <p:nvSpPr>
          <p:cNvPr id="37" name="Rectangle: Rounded Corners 36">
            <a:extLst>
              <a:ext uri="{FF2B5EF4-FFF2-40B4-BE49-F238E27FC236}">
                <a16:creationId xmlns:a16="http://schemas.microsoft.com/office/drawing/2014/main" id="{8C97CBDE-EB82-217F-D604-B458CF9A1E56}"/>
              </a:ext>
            </a:extLst>
          </p:cNvPr>
          <p:cNvSpPr/>
          <p:nvPr/>
        </p:nvSpPr>
        <p:spPr>
          <a:xfrm>
            <a:off x="281325" y="990107"/>
            <a:ext cx="2361022" cy="457200"/>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b="1" dirty="0"/>
              <a:t>Spectral acquisition</a:t>
            </a:r>
          </a:p>
        </p:txBody>
      </p:sp>
      <p:sp>
        <p:nvSpPr>
          <p:cNvPr id="56" name="TextBox 55">
            <a:extLst>
              <a:ext uri="{FF2B5EF4-FFF2-40B4-BE49-F238E27FC236}">
                <a16:creationId xmlns:a16="http://schemas.microsoft.com/office/drawing/2014/main" id="{98204F07-EC3B-1FFF-F7C7-7197DE29AB80}"/>
              </a:ext>
            </a:extLst>
          </p:cNvPr>
          <p:cNvSpPr txBox="1"/>
          <p:nvPr/>
        </p:nvSpPr>
        <p:spPr>
          <a:xfrm>
            <a:off x="4534421" y="2671124"/>
            <a:ext cx="930832" cy="369332"/>
          </a:xfrm>
          <a:prstGeom prst="rect">
            <a:avLst/>
          </a:prstGeom>
          <a:noFill/>
        </p:spPr>
        <p:txBody>
          <a:bodyPr wrap="none" rtlCol="0">
            <a:spAutoFit/>
          </a:bodyPr>
          <a:lstStyle/>
          <a:p>
            <a:r>
              <a:rPr lang="en-US" dirty="0"/>
              <a:t>Capture</a:t>
            </a:r>
          </a:p>
        </p:txBody>
      </p:sp>
      <p:grpSp>
        <p:nvGrpSpPr>
          <p:cNvPr id="42" name="Group 41">
            <a:extLst>
              <a:ext uri="{FF2B5EF4-FFF2-40B4-BE49-F238E27FC236}">
                <a16:creationId xmlns:a16="http://schemas.microsoft.com/office/drawing/2014/main" id="{531034A3-B8BC-ABCC-FE8C-F278777F3117}"/>
              </a:ext>
            </a:extLst>
          </p:cNvPr>
          <p:cNvGrpSpPr/>
          <p:nvPr/>
        </p:nvGrpSpPr>
        <p:grpSpPr>
          <a:xfrm>
            <a:off x="3820425" y="2797211"/>
            <a:ext cx="629495" cy="580347"/>
            <a:chOff x="3820425" y="2797211"/>
            <a:chExt cx="629495" cy="580347"/>
          </a:xfrm>
        </p:grpSpPr>
        <p:sp>
          <p:nvSpPr>
            <p:cNvPr id="79" name="Oval 78">
              <a:extLst>
                <a:ext uri="{FF2B5EF4-FFF2-40B4-BE49-F238E27FC236}">
                  <a16:creationId xmlns:a16="http://schemas.microsoft.com/office/drawing/2014/main" id="{B0A7EDA5-BEDC-B95E-86E9-E9E3C747E22C}"/>
                </a:ext>
              </a:extLst>
            </p:cNvPr>
            <p:cNvSpPr>
              <a:spLocks noChangeAspect="1"/>
            </p:cNvSpPr>
            <p:nvPr/>
          </p:nvSpPr>
          <p:spPr>
            <a:xfrm>
              <a:off x="3907714" y="2970278"/>
              <a:ext cx="274320" cy="274320"/>
            </a:xfrm>
            <a:prstGeom prst="ellipse">
              <a:avLst/>
            </a:prstGeom>
            <a:gradFill flip="none" rotWithShape="1">
              <a:gsLst>
                <a:gs pos="17000">
                  <a:schemeClr val="accent1">
                    <a:lumMod val="45000"/>
                    <a:lumOff val="55000"/>
                    <a:alpha val="0"/>
                  </a:schemeClr>
                </a:gs>
                <a:gs pos="46000">
                  <a:schemeClr val="accent1">
                    <a:lumMod val="45000"/>
                    <a:lumOff val="55000"/>
                  </a:schemeClr>
                </a:gs>
                <a:gs pos="72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CB05151B-049F-A364-78BA-47FE285F71F0}"/>
                </a:ext>
              </a:extLst>
            </p:cNvPr>
            <p:cNvSpPr>
              <a:spLocks noChangeAspect="1"/>
            </p:cNvSpPr>
            <p:nvPr/>
          </p:nvSpPr>
          <p:spPr>
            <a:xfrm>
              <a:off x="4175600" y="2797211"/>
              <a:ext cx="274320" cy="274320"/>
            </a:xfrm>
            <a:prstGeom prst="ellipse">
              <a:avLst/>
            </a:prstGeom>
            <a:gradFill flip="none" rotWithShape="1">
              <a:gsLst>
                <a:gs pos="17000">
                  <a:schemeClr val="accent1">
                    <a:lumMod val="45000"/>
                    <a:lumOff val="55000"/>
                    <a:alpha val="0"/>
                  </a:schemeClr>
                </a:gs>
                <a:gs pos="46000">
                  <a:schemeClr val="accent1">
                    <a:lumMod val="45000"/>
                    <a:lumOff val="55000"/>
                  </a:schemeClr>
                </a:gs>
                <a:gs pos="72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4" name="Straight Arrow Connector 83">
              <a:extLst>
                <a:ext uri="{FF2B5EF4-FFF2-40B4-BE49-F238E27FC236}">
                  <a16:creationId xmlns:a16="http://schemas.microsoft.com/office/drawing/2014/main" id="{98B96974-3A76-C3C0-A611-47A3EDF5C2CA}"/>
                </a:ext>
              </a:extLst>
            </p:cNvPr>
            <p:cNvCxnSpPr>
              <a:cxnSpLocks/>
            </p:cNvCxnSpPr>
            <p:nvPr/>
          </p:nvCxnSpPr>
          <p:spPr>
            <a:xfrm flipV="1">
              <a:off x="4046737" y="2916516"/>
              <a:ext cx="271287" cy="196544"/>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7D0808A7-AAF8-9F51-754C-3ADFABB15B25}"/>
                </a:ext>
              </a:extLst>
            </p:cNvPr>
            <p:cNvCxnSpPr>
              <a:cxnSpLocks/>
            </p:cNvCxnSpPr>
            <p:nvPr/>
          </p:nvCxnSpPr>
          <p:spPr>
            <a:xfrm flipV="1">
              <a:off x="3820425" y="3082880"/>
              <a:ext cx="220611" cy="29467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8A3B8EFB-3323-5A45-244F-64939B039C29}"/>
              </a:ext>
            </a:extLst>
          </p:cNvPr>
          <p:cNvGrpSpPr/>
          <p:nvPr/>
        </p:nvGrpSpPr>
        <p:grpSpPr>
          <a:xfrm>
            <a:off x="716695" y="3235806"/>
            <a:ext cx="1437709" cy="1430829"/>
            <a:chOff x="716695" y="3235806"/>
            <a:chExt cx="1437709" cy="1430829"/>
          </a:xfrm>
        </p:grpSpPr>
        <p:cxnSp>
          <p:nvCxnSpPr>
            <p:cNvPr id="32" name="Straight Arrow Connector 31">
              <a:extLst>
                <a:ext uri="{FF2B5EF4-FFF2-40B4-BE49-F238E27FC236}">
                  <a16:creationId xmlns:a16="http://schemas.microsoft.com/office/drawing/2014/main" id="{102D815E-4AC8-7344-B9A1-DF1856E69D58}"/>
                </a:ext>
              </a:extLst>
            </p:cNvPr>
            <p:cNvCxnSpPr>
              <a:cxnSpLocks/>
            </p:cNvCxnSpPr>
            <p:nvPr/>
          </p:nvCxnSpPr>
          <p:spPr>
            <a:xfrm flipV="1">
              <a:off x="1973001" y="3235806"/>
              <a:ext cx="181403" cy="1430829"/>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0BE63FE-CB3C-C7DD-155D-1D26645BA19D}"/>
                </a:ext>
              </a:extLst>
            </p:cNvPr>
            <p:cNvSpPr txBox="1"/>
            <p:nvPr/>
          </p:nvSpPr>
          <p:spPr>
            <a:xfrm>
              <a:off x="716695" y="3735446"/>
              <a:ext cx="1368003" cy="369332"/>
            </a:xfrm>
            <a:prstGeom prst="rect">
              <a:avLst/>
            </a:prstGeom>
            <a:noFill/>
          </p:spPr>
          <p:txBody>
            <a:bodyPr wrap="none" rtlCol="0">
              <a:spAutoFit/>
            </a:bodyPr>
            <a:lstStyle/>
            <a:p>
              <a:r>
                <a:rPr lang="en-US" dirty="0"/>
                <a:t>Fast neutron</a:t>
              </a:r>
            </a:p>
          </p:txBody>
        </p:sp>
      </p:grpSp>
      <p:sp>
        <p:nvSpPr>
          <p:cNvPr id="43" name="Rectangle 42">
            <a:extLst>
              <a:ext uri="{FF2B5EF4-FFF2-40B4-BE49-F238E27FC236}">
                <a16:creationId xmlns:a16="http://schemas.microsoft.com/office/drawing/2014/main" id="{FA84EFFF-A51F-9AA5-D16E-4EB656E9A455}"/>
              </a:ext>
            </a:extLst>
          </p:cNvPr>
          <p:cNvSpPr/>
          <p:nvPr/>
        </p:nvSpPr>
        <p:spPr>
          <a:xfrm>
            <a:off x="47025" y="1495121"/>
            <a:ext cx="6814038" cy="4305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5" name="Picture 1">
            <a:extLst>
              <a:ext uri="{FF2B5EF4-FFF2-40B4-BE49-F238E27FC236}">
                <a16:creationId xmlns:a16="http://schemas.microsoft.com/office/drawing/2014/main" id="{0B41CAA5-F36A-1E1E-DE2E-0B5114F7ECB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295749" y="2270417"/>
            <a:ext cx="4592038" cy="344402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Rounded Corners 35">
            <a:extLst>
              <a:ext uri="{FF2B5EF4-FFF2-40B4-BE49-F238E27FC236}">
                <a16:creationId xmlns:a16="http://schemas.microsoft.com/office/drawing/2014/main" id="{39826A48-9FCD-32CC-C2BC-59EE8FCD6B3E}"/>
              </a:ext>
            </a:extLst>
          </p:cNvPr>
          <p:cNvSpPr/>
          <p:nvPr/>
        </p:nvSpPr>
        <p:spPr>
          <a:xfrm>
            <a:off x="281325" y="1564258"/>
            <a:ext cx="2361022" cy="604173"/>
          </a:xfrm>
          <a:prstGeom prst="roundRect">
            <a:avLst/>
          </a:prstGeom>
          <a:noFill/>
          <a:ln>
            <a:solidFill>
              <a:srgbClr val="4472C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1400" dirty="0">
                <a:solidFill>
                  <a:schemeClr val="tx1"/>
                </a:solidFill>
              </a:rPr>
              <a:t>Capture gamma ray spectrum</a:t>
            </a:r>
          </a:p>
        </p:txBody>
      </p:sp>
    </p:spTree>
    <p:extLst>
      <p:ext uri="{BB962C8B-B14F-4D97-AF65-F5344CB8AC3E}">
        <p14:creationId xmlns:p14="http://schemas.microsoft.com/office/powerpoint/2010/main" val="3032961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42" presetClass="path" presetSubtype="0" accel="50000" decel="50000" fill="hold" nodeType="withEffect">
                                  <p:stCondLst>
                                    <p:cond delay="0"/>
                                  </p:stCondLst>
                                  <p:childTnLst>
                                    <p:animMotion origin="layout" path="M 1.25E-6 4.07407E-6 L -0.6638 -0.01922 " pathEditMode="relative" rAng="0" ptsTypes="AA">
                                      <p:cBhvr>
                                        <p:cTn id="12" dur="2000" fill="hold"/>
                                        <p:tgtEl>
                                          <p:spTgt spid="1025"/>
                                        </p:tgtEl>
                                        <p:attrNameLst>
                                          <p:attrName>ppt_x</p:attrName>
                                          <p:attrName>ppt_y</p:attrName>
                                        </p:attrNameLst>
                                      </p:cBhvr>
                                      <p:rCtr x="-33190" y="-972"/>
                                    </p:animMotion>
                                  </p:childTnLst>
                                </p:cTn>
                              </p:par>
                              <p:par>
                                <p:cTn id="13" presetID="6" presetClass="emph" presetSubtype="0" fill="hold" nodeType="withEffect">
                                  <p:stCondLst>
                                    <p:cond delay="0"/>
                                  </p:stCondLst>
                                  <p:childTnLst>
                                    <p:animScale>
                                      <p:cBhvr>
                                        <p:cTn id="14" dur="2000" fill="hold"/>
                                        <p:tgtEl>
                                          <p:spTgt spid="1025"/>
                                        </p:tgtEl>
                                      </p:cBhvr>
                                      <p:by x="60000" y="60000"/>
                                    </p:animScale>
                                  </p:childTnLst>
                                </p:cTn>
                              </p:par>
                            </p:childTnLst>
                          </p:cTn>
                        </p:par>
                        <p:par>
                          <p:cTn id="15" fill="hold">
                            <p:stCondLst>
                              <p:cond delay="2000"/>
                            </p:stCondLst>
                            <p:childTnLst>
                              <p:par>
                                <p:cTn id="16" presetID="1" presetClass="entr" presetSubtype="0"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A9FEC3-197D-CA27-3AD9-6E89A92D814C}"/>
              </a:ext>
            </a:extLst>
          </p:cNvPr>
          <p:cNvSpPr>
            <a:spLocks noGrp="1"/>
          </p:cNvSpPr>
          <p:nvPr>
            <p:ph type="title"/>
          </p:nvPr>
        </p:nvSpPr>
        <p:spPr/>
        <p:txBody>
          <a:bodyPr/>
          <a:lstStyle/>
          <a:p>
            <a:r>
              <a:rPr lang="en-US" dirty="0"/>
              <a:t>Measurement Principles</a:t>
            </a:r>
          </a:p>
        </p:txBody>
      </p:sp>
      <p:pic>
        <p:nvPicPr>
          <p:cNvPr id="1025" name="Picture 1">
            <a:extLst>
              <a:ext uri="{FF2B5EF4-FFF2-40B4-BE49-F238E27FC236}">
                <a16:creationId xmlns:a16="http://schemas.microsoft.com/office/drawing/2014/main" id="{0B41CAA5-F36A-1E1E-DE2E-0B5114F7ECB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9913" y="2827031"/>
            <a:ext cx="2754641" cy="2065981"/>
          </a:xfrm>
          <a:prstGeom prst="rect">
            <a:avLst/>
          </a:prstGeom>
          <a:solidFill>
            <a:srgbClr val="FFFFFF">
              <a:shade val="85000"/>
            </a:srgbClr>
          </a:solidFill>
          <a:ln w="88900" cap="sq">
            <a:solidFill>
              <a:srgbClr val="FFFFFF"/>
            </a:solidFill>
            <a:miter lim="800000"/>
          </a:ln>
          <a:effectLst/>
        </p:spPr>
      </p:pic>
      <p:sp>
        <p:nvSpPr>
          <p:cNvPr id="37" name="Rectangle: Rounded Corners 36">
            <a:extLst>
              <a:ext uri="{FF2B5EF4-FFF2-40B4-BE49-F238E27FC236}">
                <a16:creationId xmlns:a16="http://schemas.microsoft.com/office/drawing/2014/main" id="{8C97CBDE-EB82-217F-D604-B458CF9A1E56}"/>
              </a:ext>
            </a:extLst>
          </p:cNvPr>
          <p:cNvSpPr/>
          <p:nvPr/>
        </p:nvSpPr>
        <p:spPr>
          <a:xfrm>
            <a:off x="281325" y="990107"/>
            <a:ext cx="2361022" cy="457200"/>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b="1" dirty="0"/>
              <a:t>Spectral acquisition</a:t>
            </a:r>
          </a:p>
        </p:txBody>
      </p:sp>
      <p:sp>
        <p:nvSpPr>
          <p:cNvPr id="2" name="Rectangle: Rounded Corners 1">
            <a:extLst>
              <a:ext uri="{FF2B5EF4-FFF2-40B4-BE49-F238E27FC236}">
                <a16:creationId xmlns:a16="http://schemas.microsoft.com/office/drawing/2014/main" id="{79563ABB-0E4F-B1EB-6DDC-592D6AD3FA16}"/>
              </a:ext>
            </a:extLst>
          </p:cNvPr>
          <p:cNvSpPr/>
          <p:nvPr/>
        </p:nvSpPr>
        <p:spPr>
          <a:xfrm>
            <a:off x="3324834" y="985237"/>
            <a:ext cx="2361022" cy="457200"/>
          </a:xfrm>
          <a:prstGeom prst="roundRect">
            <a:avLst/>
          </a:prstGeom>
          <a:solidFill>
            <a:srgbClr val="C0000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b="1" dirty="0"/>
              <a:t>Spectral stripping</a:t>
            </a:r>
          </a:p>
        </p:txBody>
      </p:sp>
      <p:sp>
        <p:nvSpPr>
          <p:cNvPr id="36" name="Rectangle: Rounded Corners 35">
            <a:extLst>
              <a:ext uri="{FF2B5EF4-FFF2-40B4-BE49-F238E27FC236}">
                <a16:creationId xmlns:a16="http://schemas.microsoft.com/office/drawing/2014/main" id="{1B7290A4-F4A3-D543-A300-C04AEFE5C0FD}"/>
              </a:ext>
            </a:extLst>
          </p:cNvPr>
          <p:cNvSpPr/>
          <p:nvPr/>
        </p:nvSpPr>
        <p:spPr>
          <a:xfrm>
            <a:off x="6368343" y="986008"/>
            <a:ext cx="2361022" cy="457200"/>
          </a:xfrm>
          <a:prstGeom prst="roundRect">
            <a:avLst/>
          </a:prstGeom>
          <a:solidFill>
            <a:srgbClr val="141B3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b="1" dirty="0"/>
              <a:t>Closure</a:t>
            </a:r>
          </a:p>
        </p:txBody>
      </p:sp>
      <p:sp>
        <p:nvSpPr>
          <p:cNvPr id="38" name="Rectangle: Rounded Corners 37">
            <a:extLst>
              <a:ext uri="{FF2B5EF4-FFF2-40B4-BE49-F238E27FC236}">
                <a16:creationId xmlns:a16="http://schemas.microsoft.com/office/drawing/2014/main" id="{C237C974-F56D-0A61-39F8-BDF640817EAA}"/>
              </a:ext>
            </a:extLst>
          </p:cNvPr>
          <p:cNvSpPr/>
          <p:nvPr/>
        </p:nvSpPr>
        <p:spPr>
          <a:xfrm>
            <a:off x="9411851" y="1008746"/>
            <a:ext cx="2361022" cy="457200"/>
          </a:xfrm>
          <a:prstGeom prst="roundRect">
            <a:avLst/>
          </a:prstGeom>
          <a:solidFill>
            <a:srgbClr val="7030A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b="1" dirty="0"/>
              <a:t>Interpretation</a:t>
            </a:r>
          </a:p>
        </p:txBody>
      </p:sp>
      <p:pic>
        <p:nvPicPr>
          <p:cNvPr id="5" name="Picture 4">
            <a:extLst>
              <a:ext uri="{FF2B5EF4-FFF2-40B4-BE49-F238E27FC236}">
                <a16:creationId xmlns:a16="http://schemas.microsoft.com/office/drawing/2014/main" id="{B9046F32-2D8F-1E9B-1023-E3D4A1C81FFB}"/>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2975451" y="2055428"/>
            <a:ext cx="5533293" cy="4149969"/>
          </a:xfrm>
          <a:prstGeom prst="rect">
            <a:avLst/>
          </a:prstGeom>
        </p:spPr>
      </p:pic>
      <p:grpSp>
        <p:nvGrpSpPr>
          <p:cNvPr id="6" name="Group 5">
            <a:extLst>
              <a:ext uri="{FF2B5EF4-FFF2-40B4-BE49-F238E27FC236}">
                <a16:creationId xmlns:a16="http://schemas.microsoft.com/office/drawing/2014/main" id="{A69D903C-21BF-1F86-94D4-6808079A64EC}"/>
              </a:ext>
            </a:extLst>
          </p:cNvPr>
          <p:cNvGrpSpPr/>
          <p:nvPr/>
        </p:nvGrpSpPr>
        <p:grpSpPr>
          <a:xfrm>
            <a:off x="6303273" y="1745807"/>
            <a:ext cx="2491161" cy="4574296"/>
            <a:chOff x="5340108" y="1391690"/>
            <a:chExt cx="2491161" cy="4574296"/>
          </a:xfrm>
        </p:grpSpPr>
        <p:pic>
          <p:nvPicPr>
            <p:cNvPr id="7" name="Picture 6">
              <a:extLst>
                <a:ext uri="{FF2B5EF4-FFF2-40B4-BE49-F238E27FC236}">
                  <a16:creationId xmlns:a16="http://schemas.microsoft.com/office/drawing/2014/main" id="{70E78E8F-67F3-FFF4-F6C8-2D236930371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340108" y="1586607"/>
              <a:ext cx="2491161" cy="4379379"/>
            </a:xfrm>
            <a:prstGeom prst="rect">
              <a:avLst/>
            </a:prstGeom>
          </p:spPr>
        </p:pic>
        <p:grpSp>
          <p:nvGrpSpPr>
            <p:cNvPr id="8" name="Group 7">
              <a:extLst>
                <a:ext uri="{FF2B5EF4-FFF2-40B4-BE49-F238E27FC236}">
                  <a16:creationId xmlns:a16="http://schemas.microsoft.com/office/drawing/2014/main" id="{3F3DEB74-5F3A-8A82-368A-2E7CC608C4D5}"/>
                </a:ext>
              </a:extLst>
            </p:cNvPr>
            <p:cNvGrpSpPr/>
            <p:nvPr/>
          </p:nvGrpSpPr>
          <p:grpSpPr>
            <a:xfrm>
              <a:off x="5344872" y="1391690"/>
              <a:ext cx="2481229" cy="245272"/>
              <a:chOff x="5344872" y="1391690"/>
              <a:chExt cx="2481229" cy="245272"/>
            </a:xfrm>
          </p:grpSpPr>
          <p:sp>
            <p:nvSpPr>
              <p:cNvPr id="9" name="TextBox 8">
                <a:extLst>
                  <a:ext uri="{FF2B5EF4-FFF2-40B4-BE49-F238E27FC236}">
                    <a16:creationId xmlns:a16="http://schemas.microsoft.com/office/drawing/2014/main" id="{F0294875-91FB-7D15-0377-5DF4B04BFAD7}"/>
                  </a:ext>
                </a:extLst>
              </p:cNvPr>
              <p:cNvSpPr txBox="1"/>
              <p:nvPr/>
            </p:nvSpPr>
            <p:spPr>
              <a:xfrm>
                <a:off x="5344872" y="1391693"/>
                <a:ext cx="310896" cy="245269"/>
              </a:xfrm>
              <a:prstGeom prst="rect">
                <a:avLst/>
              </a:prstGeom>
              <a:solidFill>
                <a:schemeClr val="bg1"/>
              </a:solidFill>
              <a:ln>
                <a:solidFill>
                  <a:schemeClr val="accent6"/>
                </a:solidFill>
              </a:ln>
            </p:spPr>
            <p:txBody>
              <a:bodyPr vert="horz" wrap="none" lIns="0" tIns="0" rIns="0" bIns="0" rtlCol="0" anchor="t" anchorCtr="0">
                <a:noAutofit/>
              </a:bodyPr>
              <a:lstStyle/>
              <a:p>
                <a:pPr algn="ctr">
                  <a:lnSpc>
                    <a:spcPts val="1880"/>
                  </a:lnSpc>
                </a:pPr>
                <a:r>
                  <a:rPr lang="en-US">
                    <a:solidFill>
                      <a:srgbClr val="B2AFA6"/>
                    </a:solidFill>
                    <a:latin typeface="Arial Narrow" charset="0"/>
                    <a:ea typeface="Arial Narrow" charset="0"/>
                    <a:cs typeface="Arial Narrow" charset="0"/>
                  </a:rPr>
                  <a:t>Al</a:t>
                </a:r>
              </a:p>
            </p:txBody>
          </p:sp>
          <p:sp>
            <p:nvSpPr>
              <p:cNvPr id="10" name="TextBox 9">
                <a:extLst>
                  <a:ext uri="{FF2B5EF4-FFF2-40B4-BE49-F238E27FC236}">
                    <a16:creationId xmlns:a16="http://schemas.microsoft.com/office/drawing/2014/main" id="{FEDDB94B-D0C9-0039-37F0-367BE014F850}"/>
                  </a:ext>
                </a:extLst>
              </p:cNvPr>
              <p:cNvSpPr txBox="1"/>
              <p:nvPr/>
            </p:nvSpPr>
            <p:spPr>
              <a:xfrm>
                <a:off x="5655768" y="1391693"/>
                <a:ext cx="310896" cy="245269"/>
              </a:xfrm>
              <a:prstGeom prst="rect">
                <a:avLst/>
              </a:prstGeom>
              <a:solidFill>
                <a:schemeClr val="bg1"/>
              </a:solidFill>
              <a:ln>
                <a:solidFill>
                  <a:schemeClr val="accent6"/>
                </a:solidFill>
              </a:ln>
            </p:spPr>
            <p:txBody>
              <a:bodyPr vert="horz" wrap="none" lIns="0" tIns="0" rIns="0" bIns="0" rtlCol="0" anchor="t" anchorCtr="0">
                <a:noAutofit/>
              </a:bodyPr>
              <a:lstStyle/>
              <a:p>
                <a:pPr algn="ctr">
                  <a:lnSpc>
                    <a:spcPts val="1880"/>
                  </a:lnSpc>
                </a:pPr>
                <a:r>
                  <a:rPr lang="en-US">
                    <a:solidFill>
                      <a:srgbClr val="FFFF00"/>
                    </a:solidFill>
                    <a:latin typeface="Arial Narrow" charset="0"/>
                    <a:ea typeface="Arial Narrow" charset="0"/>
                    <a:cs typeface="Arial Narrow" charset="0"/>
                  </a:rPr>
                  <a:t>Si</a:t>
                </a:r>
              </a:p>
            </p:txBody>
          </p:sp>
          <p:sp>
            <p:nvSpPr>
              <p:cNvPr id="11" name="TextBox 10">
                <a:extLst>
                  <a:ext uri="{FF2B5EF4-FFF2-40B4-BE49-F238E27FC236}">
                    <a16:creationId xmlns:a16="http://schemas.microsoft.com/office/drawing/2014/main" id="{39213D14-EAD8-D16D-AD02-CEF2BA924EE8}"/>
                  </a:ext>
                </a:extLst>
              </p:cNvPr>
              <p:cNvSpPr txBox="1"/>
              <p:nvPr/>
            </p:nvSpPr>
            <p:spPr>
              <a:xfrm>
                <a:off x="5969450" y="1391692"/>
                <a:ext cx="310896" cy="245269"/>
              </a:xfrm>
              <a:prstGeom prst="rect">
                <a:avLst/>
              </a:prstGeom>
              <a:solidFill>
                <a:schemeClr val="bg1"/>
              </a:solidFill>
              <a:ln>
                <a:solidFill>
                  <a:schemeClr val="accent6"/>
                </a:solidFill>
              </a:ln>
            </p:spPr>
            <p:txBody>
              <a:bodyPr vert="horz" wrap="none" lIns="0" tIns="0" rIns="0" bIns="0" rtlCol="0" anchor="t" anchorCtr="0">
                <a:noAutofit/>
              </a:bodyPr>
              <a:lstStyle/>
              <a:p>
                <a:pPr algn="ctr">
                  <a:lnSpc>
                    <a:spcPts val="1880"/>
                  </a:lnSpc>
                </a:pPr>
                <a:r>
                  <a:rPr lang="en-US">
                    <a:solidFill>
                      <a:srgbClr val="2ECD71"/>
                    </a:solidFill>
                    <a:latin typeface="Arial Narrow" charset="0"/>
                    <a:ea typeface="Arial Narrow" charset="0"/>
                    <a:cs typeface="Arial Narrow" charset="0"/>
                  </a:rPr>
                  <a:t>Mg</a:t>
                </a:r>
              </a:p>
            </p:txBody>
          </p:sp>
          <p:sp>
            <p:nvSpPr>
              <p:cNvPr id="12" name="TextBox 11">
                <a:extLst>
                  <a:ext uri="{FF2B5EF4-FFF2-40B4-BE49-F238E27FC236}">
                    <a16:creationId xmlns:a16="http://schemas.microsoft.com/office/drawing/2014/main" id="{35C52E8A-AF3E-30A4-4594-8C5963037376}"/>
                  </a:ext>
                </a:extLst>
              </p:cNvPr>
              <p:cNvSpPr txBox="1"/>
              <p:nvPr/>
            </p:nvSpPr>
            <p:spPr>
              <a:xfrm>
                <a:off x="6274792" y="1391692"/>
                <a:ext cx="310896" cy="245269"/>
              </a:xfrm>
              <a:prstGeom prst="rect">
                <a:avLst/>
              </a:prstGeom>
              <a:solidFill>
                <a:schemeClr val="bg1"/>
              </a:solidFill>
              <a:ln>
                <a:solidFill>
                  <a:schemeClr val="accent6"/>
                </a:solidFill>
              </a:ln>
            </p:spPr>
            <p:txBody>
              <a:bodyPr vert="horz" wrap="none" lIns="0" tIns="0" rIns="0" bIns="0" rtlCol="0" anchor="t" anchorCtr="0">
                <a:noAutofit/>
              </a:bodyPr>
              <a:lstStyle/>
              <a:p>
                <a:pPr algn="ctr">
                  <a:lnSpc>
                    <a:spcPts val="1880"/>
                  </a:lnSpc>
                </a:pPr>
                <a:r>
                  <a:rPr lang="en-US">
                    <a:solidFill>
                      <a:srgbClr val="00BFFF"/>
                    </a:solidFill>
                    <a:latin typeface="Arial Narrow" charset="0"/>
                    <a:ea typeface="Arial Narrow" charset="0"/>
                    <a:cs typeface="Arial Narrow" charset="0"/>
                  </a:rPr>
                  <a:t>Ca</a:t>
                </a:r>
              </a:p>
            </p:txBody>
          </p:sp>
          <p:sp>
            <p:nvSpPr>
              <p:cNvPr id="13" name="TextBox 12">
                <a:extLst>
                  <a:ext uri="{FF2B5EF4-FFF2-40B4-BE49-F238E27FC236}">
                    <a16:creationId xmlns:a16="http://schemas.microsoft.com/office/drawing/2014/main" id="{CC2C4B92-5F2B-DAAF-F0AD-F46C44E2C61B}"/>
                  </a:ext>
                </a:extLst>
              </p:cNvPr>
              <p:cNvSpPr txBox="1"/>
              <p:nvPr/>
            </p:nvSpPr>
            <p:spPr>
              <a:xfrm>
                <a:off x="6588070" y="1391692"/>
                <a:ext cx="310896" cy="245269"/>
              </a:xfrm>
              <a:prstGeom prst="rect">
                <a:avLst/>
              </a:prstGeom>
              <a:solidFill>
                <a:schemeClr val="bg1"/>
              </a:solidFill>
              <a:ln>
                <a:solidFill>
                  <a:schemeClr val="accent6"/>
                </a:solidFill>
              </a:ln>
            </p:spPr>
            <p:txBody>
              <a:bodyPr vert="horz" wrap="none" lIns="0" tIns="0" rIns="0" bIns="0" rtlCol="0" anchor="t" anchorCtr="0">
                <a:noAutofit/>
              </a:bodyPr>
              <a:lstStyle/>
              <a:p>
                <a:pPr algn="ctr">
                  <a:lnSpc>
                    <a:spcPts val="1880"/>
                  </a:lnSpc>
                </a:pPr>
                <a:r>
                  <a:rPr lang="en-US">
                    <a:solidFill>
                      <a:srgbClr val="7F0000"/>
                    </a:solidFill>
                    <a:latin typeface="Arial Narrow" charset="0"/>
                    <a:ea typeface="Arial Narrow" charset="0"/>
                    <a:cs typeface="Arial Narrow" charset="0"/>
                  </a:rPr>
                  <a:t>Fe</a:t>
                </a:r>
              </a:p>
            </p:txBody>
          </p:sp>
          <p:sp>
            <p:nvSpPr>
              <p:cNvPr id="14" name="TextBox 13">
                <a:extLst>
                  <a:ext uri="{FF2B5EF4-FFF2-40B4-BE49-F238E27FC236}">
                    <a16:creationId xmlns:a16="http://schemas.microsoft.com/office/drawing/2014/main" id="{ADCF3708-C6CB-D6AF-AA9D-D9952EA3500F}"/>
                  </a:ext>
                </a:extLst>
              </p:cNvPr>
              <p:cNvSpPr txBox="1"/>
              <p:nvPr/>
            </p:nvSpPr>
            <p:spPr>
              <a:xfrm>
                <a:off x="6898966" y="1391691"/>
                <a:ext cx="310896" cy="245269"/>
              </a:xfrm>
              <a:prstGeom prst="rect">
                <a:avLst/>
              </a:prstGeom>
              <a:solidFill>
                <a:schemeClr val="bg1"/>
              </a:solidFill>
              <a:ln>
                <a:solidFill>
                  <a:schemeClr val="accent6"/>
                </a:solidFill>
              </a:ln>
            </p:spPr>
            <p:txBody>
              <a:bodyPr vert="horz" wrap="none" lIns="0" tIns="0" rIns="0" bIns="0" rtlCol="0" anchor="t" anchorCtr="0">
                <a:noAutofit/>
              </a:bodyPr>
              <a:lstStyle/>
              <a:p>
                <a:pPr algn="ctr">
                  <a:lnSpc>
                    <a:spcPts val="1880"/>
                  </a:lnSpc>
                </a:pPr>
                <a:r>
                  <a:rPr lang="en-US">
                    <a:solidFill>
                      <a:srgbClr val="7F007F"/>
                    </a:solidFill>
                    <a:latin typeface="Arial Narrow" charset="0"/>
                    <a:ea typeface="Arial Narrow" charset="0"/>
                    <a:cs typeface="Arial Narrow" charset="0"/>
                  </a:rPr>
                  <a:t>S</a:t>
                </a:r>
              </a:p>
            </p:txBody>
          </p:sp>
          <p:sp>
            <p:nvSpPr>
              <p:cNvPr id="15" name="TextBox 14">
                <a:extLst>
                  <a:ext uri="{FF2B5EF4-FFF2-40B4-BE49-F238E27FC236}">
                    <a16:creationId xmlns:a16="http://schemas.microsoft.com/office/drawing/2014/main" id="{2F0331D7-322C-19D6-84DF-648DA47D8A49}"/>
                  </a:ext>
                </a:extLst>
              </p:cNvPr>
              <p:cNvSpPr txBox="1"/>
              <p:nvPr/>
            </p:nvSpPr>
            <p:spPr>
              <a:xfrm>
                <a:off x="7209070" y="1391690"/>
                <a:ext cx="310896" cy="245269"/>
              </a:xfrm>
              <a:prstGeom prst="rect">
                <a:avLst/>
              </a:prstGeom>
              <a:solidFill>
                <a:schemeClr val="bg1"/>
              </a:solidFill>
              <a:ln>
                <a:solidFill>
                  <a:schemeClr val="accent6"/>
                </a:solidFill>
              </a:ln>
            </p:spPr>
            <p:txBody>
              <a:bodyPr vert="horz" wrap="none" lIns="0" tIns="0" rIns="0" bIns="0" rtlCol="0" anchor="t" anchorCtr="0">
                <a:noAutofit/>
              </a:bodyPr>
              <a:lstStyle/>
              <a:p>
                <a:pPr algn="ctr">
                  <a:lnSpc>
                    <a:spcPts val="1880"/>
                  </a:lnSpc>
                </a:pPr>
                <a:r>
                  <a:rPr lang="en-US" err="1">
                    <a:solidFill>
                      <a:srgbClr val="FA0000"/>
                    </a:solidFill>
                    <a:latin typeface="Arial Narrow" charset="0"/>
                    <a:ea typeface="Arial Narrow" charset="0"/>
                    <a:cs typeface="Arial Narrow" charset="0"/>
                  </a:rPr>
                  <a:t>Ti</a:t>
                </a:r>
                <a:endParaRPr lang="en-US">
                  <a:solidFill>
                    <a:srgbClr val="FA0000"/>
                  </a:solidFill>
                  <a:latin typeface="Arial Narrow" charset="0"/>
                  <a:ea typeface="Arial Narrow" charset="0"/>
                  <a:cs typeface="Arial Narrow" charset="0"/>
                </a:endParaRPr>
              </a:p>
            </p:txBody>
          </p:sp>
          <p:sp>
            <p:nvSpPr>
              <p:cNvPr id="16" name="TextBox 15">
                <a:extLst>
                  <a:ext uri="{FF2B5EF4-FFF2-40B4-BE49-F238E27FC236}">
                    <a16:creationId xmlns:a16="http://schemas.microsoft.com/office/drawing/2014/main" id="{FFA298AE-65B2-41CB-ED63-4561CBF8352A}"/>
                  </a:ext>
                </a:extLst>
              </p:cNvPr>
              <p:cNvSpPr txBox="1"/>
              <p:nvPr/>
            </p:nvSpPr>
            <p:spPr>
              <a:xfrm>
                <a:off x="7515205" y="1391690"/>
                <a:ext cx="310896" cy="245269"/>
              </a:xfrm>
              <a:prstGeom prst="rect">
                <a:avLst/>
              </a:prstGeom>
              <a:solidFill>
                <a:schemeClr val="bg1"/>
              </a:solidFill>
              <a:ln>
                <a:solidFill>
                  <a:schemeClr val="accent6"/>
                </a:solidFill>
              </a:ln>
            </p:spPr>
            <p:txBody>
              <a:bodyPr vert="horz" wrap="none" lIns="0" tIns="0" rIns="0" bIns="0" rtlCol="0" anchor="t" anchorCtr="0">
                <a:noAutofit/>
              </a:bodyPr>
              <a:lstStyle/>
              <a:p>
                <a:pPr algn="ctr">
                  <a:lnSpc>
                    <a:spcPts val="1880"/>
                  </a:lnSpc>
                </a:pPr>
                <a:r>
                  <a:rPr lang="en-US">
                    <a:solidFill>
                      <a:srgbClr val="004C00"/>
                    </a:solidFill>
                    <a:latin typeface="Arial Narrow" charset="0"/>
                    <a:ea typeface="Arial Narrow" charset="0"/>
                    <a:cs typeface="Arial Narrow" charset="0"/>
                  </a:rPr>
                  <a:t>Gd</a:t>
                </a:r>
              </a:p>
            </p:txBody>
          </p:sp>
        </p:grpSp>
      </p:grpSp>
      <p:pic>
        <p:nvPicPr>
          <p:cNvPr id="26" name="Picture 25">
            <a:extLst>
              <a:ext uri="{FF2B5EF4-FFF2-40B4-BE49-F238E27FC236}">
                <a16:creationId xmlns:a16="http://schemas.microsoft.com/office/drawing/2014/main" id="{FFADC49E-64CD-CA59-8AB6-36534F57498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830905" y="1660023"/>
            <a:ext cx="1732185" cy="4638731"/>
          </a:xfrm>
          <a:prstGeom prst="rect">
            <a:avLst/>
          </a:prstGeom>
        </p:spPr>
      </p:pic>
      <p:sp>
        <p:nvSpPr>
          <p:cNvPr id="27" name="Rectangle: Rounded Corners 26">
            <a:extLst>
              <a:ext uri="{FF2B5EF4-FFF2-40B4-BE49-F238E27FC236}">
                <a16:creationId xmlns:a16="http://schemas.microsoft.com/office/drawing/2014/main" id="{3F0383BC-24B1-D74F-DFB2-71BB0ED64D50}"/>
              </a:ext>
            </a:extLst>
          </p:cNvPr>
          <p:cNvSpPr/>
          <p:nvPr/>
        </p:nvSpPr>
        <p:spPr>
          <a:xfrm>
            <a:off x="281325" y="1564258"/>
            <a:ext cx="2361022" cy="604173"/>
          </a:xfrm>
          <a:prstGeom prst="roundRect">
            <a:avLst/>
          </a:prstGeom>
          <a:noFill/>
          <a:ln>
            <a:solidFill>
              <a:srgbClr val="4472C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1400" dirty="0">
                <a:solidFill>
                  <a:schemeClr val="tx1"/>
                </a:solidFill>
              </a:rPr>
              <a:t>Capture gamma ray spectrum</a:t>
            </a:r>
          </a:p>
        </p:txBody>
      </p:sp>
      <p:sp>
        <p:nvSpPr>
          <p:cNvPr id="28" name="Rectangle: Rounded Corners 27">
            <a:extLst>
              <a:ext uri="{FF2B5EF4-FFF2-40B4-BE49-F238E27FC236}">
                <a16:creationId xmlns:a16="http://schemas.microsoft.com/office/drawing/2014/main" id="{DF6820A2-428D-46A9-9D0A-5E34001E6A96}"/>
              </a:ext>
            </a:extLst>
          </p:cNvPr>
          <p:cNvSpPr/>
          <p:nvPr/>
        </p:nvSpPr>
        <p:spPr>
          <a:xfrm>
            <a:off x="3342112" y="1566140"/>
            <a:ext cx="2361022" cy="604173"/>
          </a:xfrm>
          <a:prstGeom prst="round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1400" dirty="0">
                <a:solidFill>
                  <a:schemeClr val="tx1"/>
                </a:solidFill>
              </a:rPr>
              <a:t>Elemental yields</a:t>
            </a:r>
          </a:p>
        </p:txBody>
      </p:sp>
      <p:sp>
        <p:nvSpPr>
          <p:cNvPr id="29" name="Rectangle: Rounded Corners 28">
            <a:extLst>
              <a:ext uri="{FF2B5EF4-FFF2-40B4-BE49-F238E27FC236}">
                <a16:creationId xmlns:a16="http://schemas.microsoft.com/office/drawing/2014/main" id="{ABC39B8A-08D8-5F38-F434-6E3B3A5FACD4}"/>
              </a:ext>
            </a:extLst>
          </p:cNvPr>
          <p:cNvSpPr/>
          <p:nvPr/>
        </p:nvSpPr>
        <p:spPr>
          <a:xfrm>
            <a:off x="6368343" y="1563487"/>
            <a:ext cx="2361022" cy="606827"/>
          </a:xfrm>
          <a:prstGeom prst="roundRect">
            <a:avLst/>
          </a:prstGeom>
          <a:noFill/>
          <a:ln>
            <a:solidFill>
              <a:srgbClr val="141B3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1400" dirty="0">
                <a:solidFill>
                  <a:schemeClr val="tx1"/>
                </a:solidFill>
              </a:rPr>
              <a:t>Elemental weight fractions</a:t>
            </a:r>
          </a:p>
        </p:txBody>
      </p:sp>
      <p:sp>
        <p:nvSpPr>
          <p:cNvPr id="30" name="Rectangle: Rounded Corners 29">
            <a:extLst>
              <a:ext uri="{FF2B5EF4-FFF2-40B4-BE49-F238E27FC236}">
                <a16:creationId xmlns:a16="http://schemas.microsoft.com/office/drawing/2014/main" id="{8E84A927-ABEF-08F0-EEFC-86725AEFA885}"/>
              </a:ext>
            </a:extLst>
          </p:cNvPr>
          <p:cNvSpPr/>
          <p:nvPr/>
        </p:nvSpPr>
        <p:spPr>
          <a:xfrm>
            <a:off x="9415511" y="1563924"/>
            <a:ext cx="2361022" cy="606828"/>
          </a:xfrm>
          <a:prstGeom prst="roundRect">
            <a:avLst/>
          </a:prstGeom>
          <a:noFill/>
          <a:ln>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1400" dirty="0">
                <a:solidFill>
                  <a:schemeClr val="tx1"/>
                </a:solidFill>
              </a:rPr>
              <a:t>Minerals</a:t>
            </a:r>
          </a:p>
          <a:p>
            <a:pPr marL="0" indent="0" algn="ctr">
              <a:buNone/>
            </a:pPr>
            <a:r>
              <a:rPr lang="en-US" sz="1400" dirty="0">
                <a:solidFill>
                  <a:schemeClr val="tx1"/>
                </a:solidFill>
              </a:rPr>
              <a:t>matrix properties</a:t>
            </a:r>
          </a:p>
        </p:txBody>
      </p:sp>
      <p:pic>
        <p:nvPicPr>
          <p:cNvPr id="4" name="Picture 3" descr="A picture containing histogram&#10;&#10;Description automatically generated">
            <a:extLst>
              <a:ext uri="{FF2B5EF4-FFF2-40B4-BE49-F238E27FC236}">
                <a16:creationId xmlns:a16="http://schemas.microsoft.com/office/drawing/2014/main" id="{041424D5-A8EC-6B2D-7DFC-68F2A2424EC3}"/>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971884" y="2075954"/>
            <a:ext cx="5533293" cy="4149970"/>
          </a:xfrm>
          <a:prstGeom prst="rect">
            <a:avLst/>
          </a:prstGeom>
        </p:spPr>
      </p:pic>
    </p:spTree>
    <p:extLst>
      <p:ext uri="{BB962C8B-B14F-4D97-AF65-F5344CB8AC3E}">
        <p14:creationId xmlns:p14="http://schemas.microsoft.com/office/powerpoint/2010/main" val="1482057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6" presetClass="emph" presetSubtype="0" fill="hold" nodeType="withEffect">
                                  <p:stCondLst>
                                    <p:cond delay="0"/>
                                  </p:stCondLst>
                                  <p:childTnLst>
                                    <p:animScale>
                                      <p:cBhvr>
                                        <p:cTn id="10" dur="1000" fill="hold"/>
                                        <p:tgtEl>
                                          <p:spTgt spid="4"/>
                                        </p:tgtEl>
                                      </p:cBhvr>
                                      <p:by x="50000" y="50000"/>
                                    </p:animScale>
                                  </p:childTnLst>
                                </p:cTn>
                              </p:par>
                              <p:par>
                                <p:cTn id="11" presetID="42" presetClass="path" presetSubtype="0" accel="50000" decel="50000" fill="hold" nodeType="withEffect">
                                  <p:stCondLst>
                                    <p:cond delay="0"/>
                                  </p:stCondLst>
                                  <p:childTnLst>
                                    <p:animMotion origin="layout" path="M -3.125E-6 -4.07407E-6 L -0.09635 -0.04444 " pathEditMode="relative" rAng="0" ptsTypes="AA">
                                      <p:cBhvr>
                                        <p:cTn id="12" dur="1000" fill="hold"/>
                                        <p:tgtEl>
                                          <p:spTgt spid="4"/>
                                        </p:tgtEl>
                                        <p:attrNameLst>
                                          <p:attrName>ppt_x</p:attrName>
                                          <p:attrName>ppt_y</p:attrName>
                                        </p:attrNameLst>
                                      </p:cBhvr>
                                      <p:rCtr x="-4818" y="-2222"/>
                                    </p:animMotion>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2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36"/>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6" presetClass="emph" presetSubtype="0" fill="hold" nodeType="clickEffect">
                                  <p:stCondLst>
                                    <p:cond delay="0"/>
                                  </p:stCondLst>
                                  <p:childTnLst>
                                    <p:animScale>
                                      <p:cBhvr>
                                        <p:cTn id="25" dur="1000" fill="hold"/>
                                        <p:tgtEl>
                                          <p:spTgt spid="6"/>
                                        </p:tgtEl>
                                      </p:cBhvr>
                                      <p:by x="65000" y="65000"/>
                                    </p:animScale>
                                  </p:childTnLst>
                                </p:cTn>
                              </p:par>
                            </p:childTnLst>
                          </p:cTn>
                        </p:par>
                        <p:par>
                          <p:cTn id="26" fill="hold">
                            <p:stCondLst>
                              <p:cond delay="1000"/>
                            </p:stCondLst>
                            <p:childTnLst>
                              <p:par>
                                <p:cTn id="27" presetID="1" presetClass="entr" presetSubtype="0" fill="hold" grpId="0" nodeType="after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6" presetClass="emph" presetSubtype="0" fill="hold" nodeType="clickEffect">
                                  <p:stCondLst>
                                    <p:cond delay="0"/>
                                  </p:stCondLst>
                                  <p:childTnLst>
                                    <p:animScale>
                                      <p:cBhvr>
                                        <p:cTn id="38" dur="1000" fill="hold"/>
                                        <p:tgtEl>
                                          <p:spTgt spid="26"/>
                                        </p:tgtEl>
                                      </p:cBhvr>
                                      <p:by x="65000" y="65000"/>
                                    </p:animScale>
                                  </p:childTnLst>
                                </p:cTn>
                              </p:par>
                            </p:childTnLst>
                          </p:cTn>
                        </p:par>
                        <p:par>
                          <p:cTn id="39" fill="hold">
                            <p:stCondLst>
                              <p:cond delay="1000"/>
                            </p:stCondLst>
                            <p:childTnLst>
                              <p:par>
                                <p:cTn id="40" presetID="1" presetClass="entr" presetSubtype="0" fill="hold" grpId="0" nodeType="afterEffect">
                                  <p:stCondLst>
                                    <p:cond delay="0"/>
                                  </p:stCondLst>
                                  <p:childTnLst>
                                    <p:set>
                                      <p:cBhvr>
                                        <p:cTn id="41"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8" grpId="0" animBg="1"/>
      <p:bldP spid="28" grpId="0" animBg="1"/>
      <p:bldP spid="29" grpId="0" animBg="1"/>
      <p:bldP spid="3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847626-C86D-E2C3-0A06-0E59A000E5FA}"/>
              </a:ext>
            </a:extLst>
          </p:cNvPr>
          <p:cNvSpPr>
            <a:spLocks noGrp="1"/>
          </p:cNvSpPr>
          <p:nvPr>
            <p:ph sz="quarter" idx="11"/>
          </p:nvPr>
        </p:nvSpPr>
        <p:spPr>
          <a:xfrm>
            <a:off x="517660" y="1643974"/>
            <a:ext cx="5951234" cy="4483776"/>
          </a:xfrm>
        </p:spPr>
        <p:txBody>
          <a:bodyPr/>
          <a:lstStyle/>
          <a:p>
            <a:pPr lvl="1"/>
            <a:r>
              <a:rPr lang="en-US" dirty="0"/>
              <a:t>1970s: 	Carbon Oxygen ratio (PNG, NaI)</a:t>
            </a:r>
          </a:p>
          <a:p>
            <a:pPr lvl="1"/>
            <a:r>
              <a:rPr lang="en-US" dirty="0"/>
              <a:t>1980s: 	First capture spectroscopy tool (PNG, NaI)</a:t>
            </a:r>
          </a:p>
          <a:p>
            <a:pPr lvl="1"/>
            <a:r>
              <a:rPr lang="en-US" dirty="0"/>
              <a:t>1990s: 	Capture spectroscopy improvement 	(AmBe, BGO)</a:t>
            </a:r>
          </a:p>
          <a:p>
            <a:endParaRPr lang="en-US" dirty="0"/>
          </a:p>
        </p:txBody>
      </p:sp>
      <p:sp>
        <p:nvSpPr>
          <p:cNvPr id="3" name="Content Placeholder 2">
            <a:extLst>
              <a:ext uri="{FF2B5EF4-FFF2-40B4-BE49-F238E27FC236}">
                <a16:creationId xmlns:a16="http://schemas.microsoft.com/office/drawing/2014/main" id="{C0093EB6-6965-C018-55D1-C29317020A7D}"/>
              </a:ext>
            </a:extLst>
          </p:cNvPr>
          <p:cNvSpPr>
            <a:spLocks noGrp="1"/>
          </p:cNvSpPr>
          <p:nvPr>
            <p:ph sz="quarter" idx="12"/>
          </p:nvPr>
        </p:nvSpPr>
        <p:spPr/>
        <p:txBody>
          <a:bodyPr/>
          <a:lstStyle/>
          <a:p>
            <a:endParaRPr lang="en-US" dirty="0"/>
          </a:p>
        </p:txBody>
      </p:sp>
      <p:sp>
        <p:nvSpPr>
          <p:cNvPr id="4" name="Title 3">
            <a:extLst>
              <a:ext uri="{FF2B5EF4-FFF2-40B4-BE49-F238E27FC236}">
                <a16:creationId xmlns:a16="http://schemas.microsoft.com/office/drawing/2014/main" id="{E2149442-CF15-0797-58A4-C676547CCE3B}"/>
              </a:ext>
            </a:extLst>
          </p:cNvPr>
          <p:cNvSpPr>
            <a:spLocks noGrp="1"/>
          </p:cNvSpPr>
          <p:nvPr>
            <p:ph type="title"/>
          </p:nvPr>
        </p:nvSpPr>
        <p:spPr>
          <a:xfrm>
            <a:off x="516073" y="300164"/>
            <a:ext cx="11156680" cy="781198"/>
          </a:xfrm>
        </p:spPr>
        <p:txBody>
          <a:bodyPr/>
          <a:lstStyle/>
          <a:p>
            <a:r>
              <a:rPr lang="en-US" dirty="0"/>
              <a:t>History of Gamma Ray Spectroscopy in </a:t>
            </a:r>
            <a:br>
              <a:rPr lang="en-US" dirty="0"/>
            </a:br>
            <a:r>
              <a:rPr lang="en-US" dirty="0"/>
              <a:t>Oilfield</a:t>
            </a:r>
          </a:p>
        </p:txBody>
      </p:sp>
      <p:pic>
        <p:nvPicPr>
          <p:cNvPr id="6" name="Picture 5">
            <a:extLst>
              <a:ext uri="{FF2B5EF4-FFF2-40B4-BE49-F238E27FC236}">
                <a16:creationId xmlns:a16="http://schemas.microsoft.com/office/drawing/2014/main" id="{0044997A-3EAE-82C4-A6DC-332FC5AAA00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4413" y="3429000"/>
            <a:ext cx="3151872" cy="3291840"/>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52EE2EDC-763C-186D-4D94-77C4619AA14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795704" y="76242"/>
            <a:ext cx="3151871" cy="329184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945580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847626-C86D-E2C3-0A06-0E59A000E5FA}"/>
              </a:ext>
            </a:extLst>
          </p:cNvPr>
          <p:cNvSpPr>
            <a:spLocks noGrp="1"/>
          </p:cNvSpPr>
          <p:nvPr>
            <p:ph sz="quarter" idx="11"/>
          </p:nvPr>
        </p:nvSpPr>
        <p:spPr>
          <a:xfrm>
            <a:off x="517660" y="1643974"/>
            <a:ext cx="5951234" cy="4483776"/>
          </a:xfrm>
        </p:spPr>
        <p:txBody>
          <a:bodyPr/>
          <a:lstStyle/>
          <a:p>
            <a:pPr lvl="1"/>
            <a:r>
              <a:rPr lang="en-US" dirty="0"/>
              <a:t>1970s: 	Carbon Oxygen ratio (PNG, NaI)</a:t>
            </a:r>
          </a:p>
          <a:p>
            <a:pPr lvl="1"/>
            <a:r>
              <a:rPr lang="en-US" dirty="0"/>
              <a:t>1980s: 	First capture spectroscopy tool (PNG, NaI)</a:t>
            </a:r>
          </a:p>
          <a:p>
            <a:pPr lvl="1"/>
            <a:r>
              <a:rPr lang="en-US" dirty="0"/>
              <a:t>1990s: 	Capture spectroscopy improvement 	(AmBe, BGO)</a:t>
            </a:r>
          </a:p>
          <a:p>
            <a:r>
              <a:rPr lang="en-US" dirty="0"/>
              <a:t>2006: 	First capture spectroscopy tool while 	drilling (PNG, NaI)</a:t>
            </a:r>
          </a:p>
          <a:p>
            <a:pPr lvl="1"/>
            <a:r>
              <a:rPr lang="en-US" dirty="0"/>
              <a:t>2012: 	Capture and inelastic spectroscopy 	improvement (PNG, LaBr</a:t>
            </a:r>
            <a:r>
              <a:rPr lang="en-US" baseline="-25000" dirty="0"/>
              <a:t>3</a:t>
            </a:r>
            <a:r>
              <a:rPr lang="en-US" dirty="0"/>
              <a:t>)</a:t>
            </a:r>
          </a:p>
          <a:p>
            <a:r>
              <a:rPr lang="en-US" dirty="0"/>
              <a:t>2023: 	Capture spectroscopy improvement 	while drilling (PNG, LaBr</a:t>
            </a:r>
            <a:r>
              <a:rPr lang="en-US" baseline="-25000" dirty="0"/>
              <a:t>3</a:t>
            </a:r>
            <a:r>
              <a:rPr lang="en-US" dirty="0"/>
              <a:t>)</a:t>
            </a:r>
          </a:p>
          <a:p>
            <a:endParaRPr lang="en-US" dirty="0"/>
          </a:p>
        </p:txBody>
      </p:sp>
      <p:sp>
        <p:nvSpPr>
          <p:cNvPr id="3" name="Content Placeholder 2">
            <a:extLst>
              <a:ext uri="{FF2B5EF4-FFF2-40B4-BE49-F238E27FC236}">
                <a16:creationId xmlns:a16="http://schemas.microsoft.com/office/drawing/2014/main" id="{C0093EB6-6965-C018-55D1-C29317020A7D}"/>
              </a:ext>
            </a:extLst>
          </p:cNvPr>
          <p:cNvSpPr>
            <a:spLocks noGrp="1"/>
          </p:cNvSpPr>
          <p:nvPr>
            <p:ph sz="quarter" idx="12"/>
          </p:nvPr>
        </p:nvSpPr>
        <p:spPr/>
        <p:txBody>
          <a:bodyPr/>
          <a:lstStyle/>
          <a:p>
            <a:endParaRPr lang="en-US" dirty="0"/>
          </a:p>
        </p:txBody>
      </p:sp>
      <p:sp>
        <p:nvSpPr>
          <p:cNvPr id="4" name="Title 3">
            <a:extLst>
              <a:ext uri="{FF2B5EF4-FFF2-40B4-BE49-F238E27FC236}">
                <a16:creationId xmlns:a16="http://schemas.microsoft.com/office/drawing/2014/main" id="{E2149442-CF15-0797-58A4-C676547CCE3B}"/>
              </a:ext>
            </a:extLst>
          </p:cNvPr>
          <p:cNvSpPr>
            <a:spLocks noGrp="1"/>
          </p:cNvSpPr>
          <p:nvPr>
            <p:ph type="title"/>
          </p:nvPr>
        </p:nvSpPr>
        <p:spPr>
          <a:xfrm>
            <a:off x="516073" y="300164"/>
            <a:ext cx="11156680" cy="781198"/>
          </a:xfrm>
        </p:spPr>
        <p:txBody>
          <a:bodyPr/>
          <a:lstStyle/>
          <a:p>
            <a:r>
              <a:rPr lang="en-US" dirty="0"/>
              <a:t>History of Gamma Ray Spectroscopy in </a:t>
            </a:r>
            <a:br>
              <a:rPr lang="en-US" dirty="0"/>
            </a:br>
            <a:r>
              <a:rPr lang="en-US" dirty="0"/>
              <a:t>Oilfield</a:t>
            </a:r>
          </a:p>
        </p:txBody>
      </p:sp>
      <p:pic>
        <p:nvPicPr>
          <p:cNvPr id="5" name="Content Placeholder 53">
            <a:extLst>
              <a:ext uri="{FF2B5EF4-FFF2-40B4-BE49-F238E27FC236}">
                <a16:creationId xmlns:a16="http://schemas.microsoft.com/office/drawing/2014/main" id="{C71608A8-05AA-3B4F-24EA-582F0EBB8F3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98882" y="-114886"/>
            <a:ext cx="3435092" cy="4504056"/>
          </a:xfrm>
          <a:prstGeom prst="rect">
            <a:avLst/>
          </a:prstGeom>
          <a:ln>
            <a:noFill/>
          </a:ln>
          <a:effectLst>
            <a:outerShdw blurRad="190500" algn="tl" rotWithShape="0">
              <a:srgbClr val="000000">
                <a:alpha val="70000"/>
              </a:srgbClr>
            </a:outerShdw>
          </a:effectLst>
        </p:spPr>
      </p:pic>
      <p:grpSp>
        <p:nvGrpSpPr>
          <p:cNvPr id="8" name="Group 7">
            <a:extLst>
              <a:ext uri="{FF2B5EF4-FFF2-40B4-BE49-F238E27FC236}">
                <a16:creationId xmlns:a16="http://schemas.microsoft.com/office/drawing/2014/main" id="{D791233B-D3AC-6726-D612-AE48D28F9145}"/>
              </a:ext>
            </a:extLst>
          </p:cNvPr>
          <p:cNvGrpSpPr>
            <a:grpSpLocks noChangeAspect="1"/>
          </p:cNvGrpSpPr>
          <p:nvPr/>
        </p:nvGrpSpPr>
        <p:grpSpPr>
          <a:xfrm>
            <a:off x="5727871" y="2359150"/>
            <a:ext cx="3427696" cy="4498850"/>
            <a:chOff x="352235" y="0"/>
            <a:chExt cx="5225143" cy="6858000"/>
          </a:xfrm>
        </p:grpSpPr>
        <p:pic>
          <p:nvPicPr>
            <p:cNvPr id="9" name="Picture 8">
              <a:extLst>
                <a:ext uri="{FF2B5EF4-FFF2-40B4-BE49-F238E27FC236}">
                  <a16:creationId xmlns:a16="http://schemas.microsoft.com/office/drawing/2014/main" id="{D3BC064A-179C-4D16-A30A-2A7C30B901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52235" y="0"/>
              <a:ext cx="5225143" cy="6858000"/>
            </a:xfrm>
            <a:prstGeom prst="rect">
              <a:avLst/>
            </a:prstGeom>
            <a:ln>
              <a:noFill/>
            </a:ln>
            <a:effectLst>
              <a:outerShdw blurRad="190500" algn="tl" rotWithShape="0">
                <a:srgbClr val="000000">
                  <a:alpha val="70000"/>
                </a:srgbClr>
              </a:outerShdw>
            </a:effectLst>
          </p:spPr>
        </p:pic>
        <p:sp>
          <p:nvSpPr>
            <p:cNvPr id="10" name="TextBox 9">
              <a:extLst>
                <a:ext uri="{FF2B5EF4-FFF2-40B4-BE49-F238E27FC236}">
                  <a16:creationId xmlns:a16="http://schemas.microsoft.com/office/drawing/2014/main" id="{959262FE-2F6A-DDB8-E957-86E04C0EACC1}"/>
                </a:ext>
              </a:extLst>
            </p:cNvPr>
            <p:cNvSpPr txBox="1"/>
            <p:nvPr/>
          </p:nvSpPr>
          <p:spPr>
            <a:xfrm>
              <a:off x="1120658" y="572985"/>
              <a:ext cx="579622" cy="398796"/>
            </a:xfrm>
            <a:prstGeom prst="rect">
              <a:avLst/>
            </a:prstGeom>
            <a:solidFill>
              <a:schemeClr val="bg1"/>
            </a:solidFill>
          </p:spPr>
          <p:txBody>
            <a:bodyPr wrap="none" rtlCol="0">
              <a:spAutoFit/>
            </a:bodyPr>
            <a:lstStyle/>
            <a:p>
              <a:r>
                <a:rPr lang="en-US" sz="1100" dirty="0">
                  <a:latin typeface="Arial" panose="020B0604020202020204" pitchFamily="34" charset="0"/>
                  <a:cs typeface="Arial" panose="020B0604020202020204" pitchFamily="34" charset="0"/>
                </a:rPr>
                <a:t>Mg</a:t>
              </a:r>
            </a:p>
          </p:txBody>
        </p:sp>
        <p:sp>
          <p:nvSpPr>
            <p:cNvPr id="11" name="TextBox 10">
              <a:extLst>
                <a:ext uri="{FF2B5EF4-FFF2-40B4-BE49-F238E27FC236}">
                  <a16:creationId xmlns:a16="http://schemas.microsoft.com/office/drawing/2014/main" id="{80B4E6D2-6CB0-BE3F-3398-D3167AF39DD5}"/>
                </a:ext>
              </a:extLst>
            </p:cNvPr>
            <p:cNvSpPr txBox="1"/>
            <p:nvPr/>
          </p:nvSpPr>
          <p:spPr>
            <a:xfrm>
              <a:off x="1120658" y="1531522"/>
              <a:ext cx="474548" cy="398796"/>
            </a:xfrm>
            <a:prstGeom prst="rect">
              <a:avLst/>
            </a:prstGeom>
            <a:solidFill>
              <a:schemeClr val="bg1"/>
            </a:solidFill>
          </p:spPr>
          <p:txBody>
            <a:bodyPr wrap="none" rtlCol="0">
              <a:spAutoFit/>
            </a:bodyPr>
            <a:lstStyle/>
            <a:p>
              <a:r>
                <a:rPr lang="en-US" sz="1100" dirty="0">
                  <a:latin typeface="Arial" panose="020B0604020202020204" pitchFamily="34" charset="0"/>
                  <a:cs typeface="Arial" panose="020B0604020202020204" pitchFamily="34" charset="0"/>
                </a:rPr>
                <a:t>Si</a:t>
              </a:r>
            </a:p>
          </p:txBody>
        </p:sp>
        <p:sp>
          <p:nvSpPr>
            <p:cNvPr id="12" name="TextBox 11">
              <a:extLst>
                <a:ext uri="{FF2B5EF4-FFF2-40B4-BE49-F238E27FC236}">
                  <a16:creationId xmlns:a16="http://schemas.microsoft.com/office/drawing/2014/main" id="{C2C7BD21-1BEA-B26D-23DC-05C7A4267C1A}"/>
                </a:ext>
              </a:extLst>
            </p:cNvPr>
            <p:cNvSpPr txBox="1"/>
            <p:nvPr/>
          </p:nvSpPr>
          <p:spPr>
            <a:xfrm>
              <a:off x="1120658" y="2302885"/>
              <a:ext cx="557631" cy="398796"/>
            </a:xfrm>
            <a:prstGeom prst="rect">
              <a:avLst/>
            </a:prstGeom>
            <a:solidFill>
              <a:schemeClr val="bg1"/>
            </a:solidFill>
          </p:spPr>
          <p:txBody>
            <a:bodyPr wrap="none" rtlCol="0">
              <a:spAutoFit/>
            </a:bodyPr>
            <a:lstStyle/>
            <a:p>
              <a:r>
                <a:rPr lang="en-US" sz="1100" dirty="0">
                  <a:latin typeface="Arial" panose="020B0604020202020204" pitchFamily="34" charset="0"/>
                  <a:cs typeface="Arial" panose="020B0604020202020204" pitchFamily="34" charset="0"/>
                </a:rPr>
                <a:t>Ca</a:t>
              </a:r>
            </a:p>
          </p:txBody>
        </p:sp>
        <p:sp>
          <p:nvSpPr>
            <p:cNvPr id="13" name="TextBox 12">
              <a:extLst>
                <a:ext uri="{FF2B5EF4-FFF2-40B4-BE49-F238E27FC236}">
                  <a16:creationId xmlns:a16="http://schemas.microsoft.com/office/drawing/2014/main" id="{AFDE69B4-DD35-6C54-3B5A-1F7FEF2A9E44}"/>
                </a:ext>
              </a:extLst>
            </p:cNvPr>
            <p:cNvSpPr txBox="1"/>
            <p:nvPr/>
          </p:nvSpPr>
          <p:spPr>
            <a:xfrm>
              <a:off x="1120658" y="3605852"/>
              <a:ext cx="425677" cy="398796"/>
            </a:xfrm>
            <a:prstGeom prst="rect">
              <a:avLst/>
            </a:prstGeom>
            <a:solidFill>
              <a:schemeClr val="bg1"/>
            </a:solidFill>
          </p:spPr>
          <p:txBody>
            <a:bodyPr wrap="none" rtlCol="0">
              <a:spAutoFit/>
            </a:bodyPr>
            <a:lstStyle/>
            <a:p>
              <a:r>
                <a:rPr lang="en-US" sz="1100" dirty="0">
                  <a:latin typeface="Arial" panose="020B0604020202020204" pitchFamily="34" charset="0"/>
                  <a:cs typeface="Arial" panose="020B0604020202020204" pitchFamily="34" charset="0"/>
                </a:rPr>
                <a:t>S</a:t>
              </a:r>
            </a:p>
          </p:txBody>
        </p:sp>
        <p:sp>
          <p:nvSpPr>
            <p:cNvPr id="14" name="TextBox 13">
              <a:extLst>
                <a:ext uri="{FF2B5EF4-FFF2-40B4-BE49-F238E27FC236}">
                  <a16:creationId xmlns:a16="http://schemas.microsoft.com/office/drawing/2014/main" id="{4C87492E-301D-C134-85C8-668D6BB74E81}"/>
                </a:ext>
              </a:extLst>
            </p:cNvPr>
            <p:cNvSpPr txBox="1"/>
            <p:nvPr/>
          </p:nvSpPr>
          <p:spPr>
            <a:xfrm>
              <a:off x="1120658" y="4304965"/>
              <a:ext cx="437893" cy="398796"/>
            </a:xfrm>
            <a:prstGeom prst="rect">
              <a:avLst/>
            </a:prstGeom>
            <a:solidFill>
              <a:schemeClr val="bg1"/>
            </a:solidFill>
          </p:spPr>
          <p:txBody>
            <a:bodyPr wrap="none" rtlCol="0">
              <a:spAutoFit/>
            </a:bodyPr>
            <a:lstStyle/>
            <a:p>
              <a:r>
                <a:rPr lang="en-US" sz="1100" dirty="0">
                  <a:latin typeface="Arial" panose="020B0604020202020204" pitchFamily="34" charset="0"/>
                  <a:cs typeface="Arial" panose="020B0604020202020204" pitchFamily="34" charset="0"/>
                </a:rPr>
                <a:t>H</a:t>
              </a:r>
            </a:p>
          </p:txBody>
        </p:sp>
        <p:sp>
          <p:nvSpPr>
            <p:cNvPr id="15" name="TextBox 14">
              <a:extLst>
                <a:ext uri="{FF2B5EF4-FFF2-40B4-BE49-F238E27FC236}">
                  <a16:creationId xmlns:a16="http://schemas.microsoft.com/office/drawing/2014/main" id="{445E6131-83FD-EA0A-27F2-ABA8063ADABD}"/>
                </a:ext>
              </a:extLst>
            </p:cNvPr>
            <p:cNvSpPr txBox="1"/>
            <p:nvPr/>
          </p:nvSpPr>
          <p:spPr>
            <a:xfrm>
              <a:off x="2195165" y="542297"/>
              <a:ext cx="2869277" cy="656840"/>
            </a:xfrm>
            <a:prstGeom prst="rect">
              <a:avLst/>
            </a:prstGeom>
            <a:noFill/>
          </p:spPr>
          <p:txBody>
            <a:bodyPr wrap="none" rtlCol="0">
              <a:spAutoFit/>
            </a:bodyPr>
            <a:lstStyle/>
            <a:p>
              <a:pPr algn="r"/>
              <a:r>
                <a:rPr lang="en-US" sz="1100" dirty="0">
                  <a:solidFill>
                    <a:srgbClr val="0101CC"/>
                  </a:solidFill>
                  <a:latin typeface="Arial" panose="020B0604020202020204" pitchFamily="34" charset="0"/>
                  <a:cs typeface="Arial" panose="020B0604020202020204" pitchFamily="34" charset="0"/>
                </a:rPr>
                <a:t>LaBr</a:t>
              </a:r>
              <a:r>
                <a:rPr lang="en-US" sz="1100" baseline="-25000" dirty="0">
                  <a:solidFill>
                    <a:srgbClr val="0101CC"/>
                  </a:solidFill>
                  <a:latin typeface="Arial" panose="020B0604020202020204" pitchFamily="34" charset="0"/>
                  <a:cs typeface="Arial" panose="020B0604020202020204" pitchFamily="34" charset="0"/>
                </a:rPr>
                <a:t>3</a:t>
              </a:r>
              <a:r>
                <a:rPr lang="en-US" sz="1100" dirty="0">
                  <a:solidFill>
                    <a:srgbClr val="0101CC"/>
                  </a:solidFill>
                  <a:latin typeface="Arial" panose="020B0604020202020204" pitchFamily="34" charset="0"/>
                  <a:cs typeface="Arial" panose="020B0604020202020204" pitchFamily="34" charset="0"/>
                </a:rPr>
                <a:t>:Ce </a:t>
              </a:r>
              <a:r>
                <a:rPr lang="en-US" sz="1100" dirty="0">
                  <a:latin typeface="Arial" panose="020B0604020202020204" pitchFamily="34" charset="0"/>
                  <a:cs typeface="Arial" panose="020B0604020202020204" pitchFamily="34" charset="0"/>
                </a:rPr>
                <a:t>vs. </a:t>
              </a:r>
              <a:r>
                <a:rPr lang="en-US" sz="1100" dirty="0">
                  <a:solidFill>
                    <a:srgbClr val="CF1010"/>
                  </a:solidFill>
                  <a:latin typeface="Arial" panose="020B0604020202020204" pitchFamily="34" charset="0"/>
                  <a:cs typeface="Arial" panose="020B0604020202020204" pitchFamily="34" charset="0"/>
                </a:rPr>
                <a:t>Legacy </a:t>
              </a:r>
              <a:r>
                <a:rPr lang="en-US" sz="1100" dirty="0" err="1">
                  <a:solidFill>
                    <a:srgbClr val="CF1010"/>
                  </a:solidFill>
                  <a:latin typeface="Arial" panose="020B0604020202020204" pitchFamily="34" charset="0"/>
                  <a:cs typeface="Arial" panose="020B0604020202020204" pitchFamily="34" charset="0"/>
                </a:rPr>
                <a:t>NaI:Tl</a:t>
              </a:r>
              <a:endParaRPr lang="en-US" sz="1100" dirty="0">
                <a:solidFill>
                  <a:srgbClr val="CF1010"/>
                </a:solidFill>
                <a:latin typeface="Arial" panose="020B0604020202020204" pitchFamily="34" charset="0"/>
                <a:cs typeface="Arial" panose="020B0604020202020204" pitchFamily="34" charset="0"/>
              </a:endParaRPr>
            </a:p>
            <a:p>
              <a:pPr algn="r"/>
              <a:r>
                <a:rPr lang="en-US" sz="1100" dirty="0">
                  <a:latin typeface="Arial" panose="020B0604020202020204" pitchFamily="34" charset="0"/>
                  <a:cs typeface="Arial" panose="020B0604020202020204" pitchFamily="34" charset="0"/>
                </a:rPr>
                <a:t>150degC</a:t>
              </a:r>
            </a:p>
          </p:txBody>
        </p:sp>
      </p:grpSp>
    </p:spTree>
    <p:extLst>
      <p:ext uri="{BB962C8B-B14F-4D97-AF65-F5344CB8AC3E}">
        <p14:creationId xmlns:p14="http://schemas.microsoft.com/office/powerpoint/2010/main" val="2014131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B Blue">
  <a:themeElements>
    <a:clrScheme name="SLB Blue">
      <a:dk1>
        <a:srgbClr val="000000"/>
      </a:dk1>
      <a:lt1>
        <a:srgbClr val="0014DB"/>
      </a:lt1>
      <a:dk2>
        <a:srgbClr val="32323C"/>
      </a:dk2>
      <a:lt2>
        <a:srgbClr val="DCE1E1"/>
      </a:lt2>
      <a:accent1>
        <a:srgbClr val="FEFFFF"/>
      </a:accent1>
      <a:accent2>
        <a:srgbClr val="00D2DC"/>
      </a:accent2>
      <a:accent3>
        <a:srgbClr val="1E1464"/>
      </a:accent3>
      <a:accent4>
        <a:srgbClr val="6E8CC8"/>
      </a:accent4>
      <a:accent5>
        <a:srgbClr val="AFBEE1"/>
      </a:accent5>
      <a:accent6>
        <a:srgbClr val="AAAAAA"/>
      </a:accent6>
      <a:hlink>
        <a:srgbClr val="000000"/>
      </a:hlink>
      <a:folHlink>
        <a:srgbClr val="000000"/>
      </a:folHlink>
    </a:clrScheme>
    <a:fontScheme name="SLB Sans">
      <a:majorFont>
        <a:latin typeface="SLB Sans Light"/>
        <a:ea typeface=""/>
        <a:cs typeface=""/>
      </a:majorFont>
      <a:minorFont>
        <a:latin typeface="SLB 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1"/>
          </a:solidFill>
          <a:round/>
          <a:headEnd type="none" w="med" len="med"/>
          <a:tailEnd type="arrow" w="med" len="sm"/>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LB_BlueTemplate_v2-6" id="{2746A33A-BD88-194E-B64C-F88DBB112733}" vid="{ACFE8D1F-8FC8-BD41-ABC1-F52646C9646F}"/>
    </a:ext>
  </a:extLst>
</a:theme>
</file>

<file path=ppt/theme/theme2.xml><?xml version="1.0" encoding="utf-8"?>
<a:theme xmlns:a="http://schemas.openxmlformats.org/drawingml/2006/main" name="1_SLB White">
  <a:themeElements>
    <a:clrScheme name="SLB">
      <a:dk1>
        <a:srgbClr val="000000"/>
      </a:dk1>
      <a:lt1>
        <a:srgbClr val="FFFFFF"/>
      </a:lt1>
      <a:dk2>
        <a:srgbClr val="32323C"/>
      </a:dk2>
      <a:lt2>
        <a:srgbClr val="DCE1E1"/>
      </a:lt2>
      <a:accent1>
        <a:srgbClr val="0014DC"/>
      </a:accent1>
      <a:accent2>
        <a:srgbClr val="00D2DC"/>
      </a:accent2>
      <a:accent3>
        <a:srgbClr val="1E1464"/>
      </a:accent3>
      <a:accent4>
        <a:srgbClr val="6E8CC8"/>
      </a:accent4>
      <a:accent5>
        <a:srgbClr val="AFBEE1"/>
      </a:accent5>
      <a:accent6>
        <a:srgbClr val="AAAAAA"/>
      </a:accent6>
      <a:hlink>
        <a:srgbClr val="000000"/>
      </a:hlink>
      <a:folHlink>
        <a:srgbClr val="000000"/>
      </a:folHlink>
    </a:clrScheme>
    <a:fontScheme name="SLB Sans">
      <a:majorFont>
        <a:latin typeface="SLB Sans Light"/>
        <a:ea typeface=""/>
        <a:cs typeface=""/>
      </a:majorFont>
      <a:minorFont>
        <a:latin typeface="SLB 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1"/>
          </a:solidFill>
          <a:round/>
          <a:headEnd type="none" w="med" len="med"/>
          <a:tailEnd type="arrow" w="med" len="sm"/>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LB_WhiteTemplate_v2-6" id="{AC9FB05B-4062-F14F-8C44-D59B85A9B02B}" vid="{203E99A3-8E03-4A4A-8A2F-458D4D053FA9}"/>
    </a:ext>
  </a:extLst>
</a:theme>
</file>

<file path=ppt/theme/theme3.xml><?xml version="1.0" encoding="utf-8"?>
<a:theme xmlns:a="http://schemas.openxmlformats.org/drawingml/2006/main" name="SLB White">
  <a:themeElements>
    <a:clrScheme name="SLB">
      <a:dk1>
        <a:srgbClr val="000000"/>
      </a:dk1>
      <a:lt1>
        <a:srgbClr val="FFFFFF"/>
      </a:lt1>
      <a:dk2>
        <a:srgbClr val="32323C"/>
      </a:dk2>
      <a:lt2>
        <a:srgbClr val="DCE1E1"/>
      </a:lt2>
      <a:accent1>
        <a:srgbClr val="0014DC"/>
      </a:accent1>
      <a:accent2>
        <a:srgbClr val="00D2DC"/>
      </a:accent2>
      <a:accent3>
        <a:srgbClr val="1E1464"/>
      </a:accent3>
      <a:accent4>
        <a:srgbClr val="6E8CC8"/>
      </a:accent4>
      <a:accent5>
        <a:srgbClr val="AFBEE1"/>
      </a:accent5>
      <a:accent6>
        <a:srgbClr val="AAAAAA"/>
      </a:accent6>
      <a:hlink>
        <a:srgbClr val="000000"/>
      </a:hlink>
      <a:folHlink>
        <a:srgbClr val="000000"/>
      </a:folHlink>
    </a:clrScheme>
    <a:fontScheme name="SLB Sans">
      <a:majorFont>
        <a:latin typeface="SLB Sans Light"/>
        <a:ea typeface=""/>
        <a:cs typeface=""/>
      </a:majorFont>
      <a:minorFont>
        <a:latin typeface="SLB 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1"/>
          </a:solidFill>
          <a:round/>
          <a:headEnd type="none" w="med" len="med"/>
          <a:tailEnd type="arrow" w="med" len="sm"/>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LB_WhiteTemplate_v2-6" id="{AC9FB05B-4062-F14F-8C44-D59B85A9B02B}" vid="{203E99A3-8E03-4A4A-8A2F-458D4D053FA9}"/>
    </a:ext>
  </a:extLst>
</a:theme>
</file>

<file path=ppt/theme/theme4.xml><?xml version="1.0" encoding="utf-8"?>
<a:theme xmlns:a="http://schemas.openxmlformats.org/drawingml/2006/main" name="2_SLB White">
  <a:themeElements>
    <a:clrScheme name="SLB">
      <a:dk1>
        <a:srgbClr val="000000"/>
      </a:dk1>
      <a:lt1>
        <a:srgbClr val="FFFFFF"/>
      </a:lt1>
      <a:dk2>
        <a:srgbClr val="32323C"/>
      </a:dk2>
      <a:lt2>
        <a:srgbClr val="DCE1E1"/>
      </a:lt2>
      <a:accent1>
        <a:srgbClr val="0014DC"/>
      </a:accent1>
      <a:accent2>
        <a:srgbClr val="00D2DC"/>
      </a:accent2>
      <a:accent3>
        <a:srgbClr val="1E1464"/>
      </a:accent3>
      <a:accent4>
        <a:srgbClr val="6E8CC8"/>
      </a:accent4>
      <a:accent5>
        <a:srgbClr val="AFBEE1"/>
      </a:accent5>
      <a:accent6>
        <a:srgbClr val="AAAAAA"/>
      </a:accent6>
      <a:hlink>
        <a:srgbClr val="000000"/>
      </a:hlink>
      <a:folHlink>
        <a:srgbClr val="000000"/>
      </a:folHlink>
    </a:clrScheme>
    <a:fontScheme name="SLB Sans">
      <a:majorFont>
        <a:latin typeface="SLB Sans Light"/>
        <a:ea typeface=""/>
        <a:cs typeface=""/>
      </a:majorFont>
      <a:minorFont>
        <a:latin typeface="SLB 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1"/>
          </a:solidFill>
          <a:round/>
          <a:headEnd type="none" w="med" len="med"/>
          <a:tailEnd type="arrow" w="med" len="sm"/>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LB_WhiteTemplate_v2-6" id="{AC9FB05B-4062-F14F-8C44-D59B85A9B02B}" vid="{203E99A3-8E03-4A4A-8A2F-458D4D053FA9}"/>
    </a:ext>
  </a:extLst>
</a:theme>
</file>

<file path=ppt/theme/theme5.xml><?xml version="1.0" encoding="utf-8"?>
<a:theme xmlns:a="http://schemas.openxmlformats.org/drawingml/2006/main" name="1_SLB Blue">
  <a:themeElements>
    <a:clrScheme name="SLB Blue">
      <a:dk1>
        <a:srgbClr val="000000"/>
      </a:dk1>
      <a:lt1>
        <a:srgbClr val="0014DB"/>
      </a:lt1>
      <a:dk2>
        <a:srgbClr val="32323C"/>
      </a:dk2>
      <a:lt2>
        <a:srgbClr val="DCE1E1"/>
      </a:lt2>
      <a:accent1>
        <a:srgbClr val="FEFFFF"/>
      </a:accent1>
      <a:accent2>
        <a:srgbClr val="00D2DC"/>
      </a:accent2>
      <a:accent3>
        <a:srgbClr val="1E1464"/>
      </a:accent3>
      <a:accent4>
        <a:srgbClr val="6E8CC8"/>
      </a:accent4>
      <a:accent5>
        <a:srgbClr val="AFBEE1"/>
      </a:accent5>
      <a:accent6>
        <a:srgbClr val="AAAAAA"/>
      </a:accent6>
      <a:hlink>
        <a:srgbClr val="000000"/>
      </a:hlink>
      <a:folHlink>
        <a:srgbClr val="000000"/>
      </a:folHlink>
    </a:clrScheme>
    <a:fontScheme name="SLB Sans">
      <a:majorFont>
        <a:latin typeface="SLB Sans Light"/>
        <a:ea typeface=""/>
        <a:cs typeface=""/>
      </a:majorFont>
      <a:minorFont>
        <a:latin typeface="SLB 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1"/>
          </a:solidFill>
          <a:round/>
          <a:headEnd type="none" w="med" len="med"/>
          <a:tailEnd type="arrow" w="med" len="sm"/>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LB_BlueTemplate_v2-6" id="{2746A33A-BD88-194E-B64C-F88DBB112733}" vid="{ACFE8D1F-8FC8-BD41-ABC1-F52646C9646F}"/>
    </a:ext>
  </a:extLst>
</a:theme>
</file>

<file path=ppt/theme/theme6.xml><?xml version="1.0" encoding="utf-8"?>
<a:theme xmlns:a="http://schemas.openxmlformats.org/drawingml/2006/main" name="3_SLB White">
  <a:themeElements>
    <a:clrScheme name="SLB">
      <a:dk1>
        <a:srgbClr val="000000"/>
      </a:dk1>
      <a:lt1>
        <a:srgbClr val="FFFFFF"/>
      </a:lt1>
      <a:dk2>
        <a:srgbClr val="32323C"/>
      </a:dk2>
      <a:lt2>
        <a:srgbClr val="DCE1E1"/>
      </a:lt2>
      <a:accent1>
        <a:srgbClr val="0014DC"/>
      </a:accent1>
      <a:accent2>
        <a:srgbClr val="00D2DC"/>
      </a:accent2>
      <a:accent3>
        <a:srgbClr val="1E1464"/>
      </a:accent3>
      <a:accent4>
        <a:srgbClr val="6E8CC8"/>
      </a:accent4>
      <a:accent5>
        <a:srgbClr val="AFBEE1"/>
      </a:accent5>
      <a:accent6>
        <a:srgbClr val="AAAAAA"/>
      </a:accent6>
      <a:hlink>
        <a:srgbClr val="000000"/>
      </a:hlink>
      <a:folHlink>
        <a:srgbClr val="000000"/>
      </a:folHlink>
    </a:clrScheme>
    <a:fontScheme name="SLB Sans">
      <a:majorFont>
        <a:latin typeface="SLB Sans Light"/>
        <a:ea typeface=""/>
        <a:cs typeface=""/>
      </a:majorFont>
      <a:minorFont>
        <a:latin typeface="SLB 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1"/>
          </a:solidFill>
          <a:round/>
          <a:headEnd type="none" w="med" len="med"/>
          <a:tailEnd type="arrow" w="med" len="sm"/>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LB_WhiteTemplate_v3-2" id="{5EFC58DE-9633-0344-B8F1-0459EDF83BF2}" vid="{3986A82A-5192-3F4B-8D11-09F4A0859E91}"/>
    </a:ext>
  </a:extLst>
</a:theme>
</file>

<file path=ppt/theme/theme7.xml><?xml version="1.0" encoding="utf-8"?>
<a:theme xmlns:a="http://schemas.openxmlformats.org/drawingml/2006/main" name="2_SLB Blue">
  <a:themeElements>
    <a:clrScheme name="SLB Blue">
      <a:dk1>
        <a:srgbClr val="000000"/>
      </a:dk1>
      <a:lt1>
        <a:srgbClr val="0014DB"/>
      </a:lt1>
      <a:dk2>
        <a:srgbClr val="32323C"/>
      </a:dk2>
      <a:lt2>
        <a:srgbClr val="DCE1E1"/>
      </a:lt2>
      <a:accent1>
        <a:srgbClr val="FEFFFF"/>
      </a:accent1>
      <a:accent2>
        <a:srgbClr val="00D2DC"/>
      </a:accent2>
      <a:accent3>
        <a:srgbClr val="1E1464"/>
      </a:accent3>
      <a:accent4>
        <a:srgbClr val="6E8CC8"/>
      </a:accent4>
      <a:accent5>
        <a:srgbClr val="AFBEE1"/>
      </a:accent5>
      <a:accent6>
        <a:srgbClr val="AAAAAA"/>
      </a:accent6>
      <a:hlink>
        <a:srgbClr val="000000"/>
      </a:hlink>
      <a:folHlink>
        <a:srgbClr val="000000"/>
      </a:folHlink>
    </a:clrScheme>
    <a:fontScheme name="SLB Sans">
      <a:majorFont>
        <a:latin typeface="SLB Sans Light"/>
        <a:ea typeface=""/>
        <a:cs typeface=""/>
      </a:majorFont>
      <a:minorFont>
        <a:latin typeface="SLB 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1"/>
          </a:solidFill>
          <a:round/>
          <a:headEnd type="none" w="med" len="med"/>
          <a:tailEnd type="arrow" w="med" len="sm"/>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501FE79E-4065-4866-83F2-7AAA0C2FED5A}" vid="{D5978E2F-74E7-47ED-931F-1431D897FE74}"/>
    </a:ext>
  </a:extLst>
</a:theme>
</file>

<file path=ppt/theme/theme8.xml><?xml version="1.0" encoding="utf-8"?>
<a:theme xmlns:a="http://schemas.openxmlformats.org/drawingml/2006/main" name="3_SLB Blue">
  <a:themeElements>
    <a:clrScheme name="SLB Blue">
      <a:dk1>
        <a:srgbClr val="000000"/>
      </a:dk1>
      <a:lt1>
        <a:srgbClr val="0014DB"/>
      </a:lt1>
      <a:dk2>
        <a:srgbClr val="32323C"/>
      </a:dk2>
      <a:lt2>
        <a:srgbClr val="DCE1E1"/>
      </a:lt2>
      <a:accent1>
        <a:srgbClr val="FEFFFF"/>
      </a:accent1>
      <a:accent2>
        <a:srgbClr val="00D2DC"/>
      </a:accent2>
      <a:accent3>
        <a:srgbClr val="1E1464"/>
      </a:accent3>
      <a:accent4>
        <a:srgbClr val="6E8CC8"/>
      </a:accent4>
      <a:accent5>
        <a:srgbClr val="AFBEE1"/>
      </a:accent5>
      <a:accent6>
        <a:srgbClr val="AAAAAA"/>
      </a:accent6>
      <a:hlink>
        <a:srgbClr val="000000"/>
      </a:hlink>
      <a:folHlink>
        <a:srgbClr val="000000"/>
      </a:folHlink>
    </a:clrScheme>
    <a:fontScheme name="SLB Sans">
      <a:majorFont>
        <a:latin typeface="SLB Sans Light"/>
        <a:ea typeface=""/>
        <a:cs typeface=""/>
      </a:majorFont>
      <a:minorFont>
        <a:latin typeface="SLB 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1"/>
          </a:solidFill>
          <a:round/>
          <a:headEnd type="none" w="med" len="med"/>
          <a:tailEnd type="arrow" w="med" len="sm"/>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LB_BlueTemplate_v2-6" id="{2746A33A-BD88-194E-B64C-F88DBB112733}" vid="{ACFE8D1F-8FC8-BD41-ABC1-F52646C9646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FD62F6ABBB254699CD3FA3139D16E8" ma:contentTypeVersion="19" ma:contentTypeDescription="Create a new document." ma:contentTypeScope="" ma:versionID="7dcf80f502b236ecaaec8d1ff847df19">
  <xsd:schema xmlns:xsd="http://www.w3.org/2001/XMLSchema" xmlns:xs="http://www.w3.org/2001/XMLSchema" xmlns:p="http://schemas.microsoft.com/office/2006/metadata/properties" xmlns:ns2="06c7ce32-c06b-4ce9-8d07-ca1c82052426" xmlns:ns3="67a1d630-ca13-41fd-9274-b9a3a0302889" xmlns:ns4="3bfd3c9f-55b4-4322-bb50-41a89459c9a3" targetNamespace="http://schemas.microsoft.com/office/2006/metadata/properties" ma:root="true" ma:fieldsID="0303e9c9f841036236240074807e9243" ns2:_="" ns3:_="" ns4:_="">
    <xsd:import namespace="06c7ce32-c06b-4ce9-8d07-ca1c82052426"/>
    <xsd:import namespace="67a1d630-ca13-41fd-9274-b9a3a0302889"/>
    <xsd:import namespace="3bfd3c9f-55b4-4322-bb50-41a89459c9a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4: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c7ce32-c06b-4ce9-8d07-ca1c820524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bb6ec6bc-766d-4884-930b-9717138bd8c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a1d630-ca13-41fd-9274-b9a3a030288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bfd3c9f-55b4-4322-bb50-41a89459c9a3"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b2ce749b-0d64-4fbb-b313-5f5731a61573}" ma:internalName="TaxCatchAll" ma:showField="CatchAllData" ma:web="67a1d630-ca13-41fd-9274-b9a3a030288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6c7ce32-c06b-4ce9-8d07-ca1c82052426">
      <Terms xmlns="http://schemas.microsoft.com/office/infopath/2007/PartnerControls"/>
    </lcf76f155ced4ddcb4097134ff3c332f>
    <TaxCatchAll xmlns="3bfd3c9f-55b4-4322-bb50-41a89459c9a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59EE19-18B5-487C-B4DB-75FD4A297A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c7ce32-c06b-4ce9-8d07-ca1c82052426"/>
    <ds:schemaRef ds:uri="67a1d630-ca13-41fd-9274-b9a3a0302889"/>
    <ds:schemaRef ds:uri="3bfd3c9f-55b4-4322-bb50-41a89459c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1EDA472-0188-4411-8FCE-558F225DBD56}">
  <ds:schemaRef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purl.org/dc/terms/"/>
    <ds:schemaRef ds:uri="f8393d0d-bc01-41cc-80e2-d7458440135e"/>
    <ds:schemaRef ds:uri="http://www.w3.org/XML/1998/namespace"/>
    <ds:schemaRef ds:uri="http://purl.org/dc/dcmitype/"/>
    <ds:schemaRef ds:uri="06c7ce32-c06b-4ce9-8d07-ca1c82052426"/>
    <ds:schemaRef ds:uri="3bfd3c9f-55b4-4322-bb50-41a89459c9a3"/>
  </ds:schemaRefs>
</ds:datastoreItem>
</file>

<file path=customXml/itemProps3.xml><?xml version="1.0" encoding="utf-8"?>
<ds:datastoreItem xmlns:ds="http://schemas.openxmlformats.org/officeDocument/2006/customXml" ds:itemID="{B29D57F0-7424-4BC8-AF58-69E3EC85B4D0}">
  <ds:schemaRefs>
    <ds:schemaRef ds:uri="http://schemas.microsoft.com/sharepoint/v3/contenttype/forms"/>
  </ds:schemaRefs>
</ds:datastoreItem>
</file>

<file path=docMetadata/LabelInfo.xml><?xml version="1.0" encoding="utf-8"?>
<clbl:labelList xmlns:clbl="http://schemas.microsoft.com/office/2020/mipLabelMetadata">
  <clbl:label id="{703e2fe1-4846-4393-8cf2-1bc71a04fd88}" enabled="1" method="Privileged" siteId="{41ff26dc-250f-4b13-8981-739be8610c21}" contentBits="0" removed="0"/>
</clbl:labelList>
</file>

<file path=docProps/app.xml><?xml version="1.0" encoding="utf-8"?>
<Properties xmlns="http://schemas.openxmlformats.org/officeDocument/2006/extended-properties" xmlns:vt="http://schemas.openxmlformats.org/officeDocument/2006/docPropsVTypes">
  <Template>Default Theme</Template>
  <TotalTime>34419</TotalTime>
  <Words>2091</Words>
  <Application>Microsoft Office PowerPoint</Application>
  <PresentationFormat>Widescreen</PresentationFormat>
  <Paragraphs>233</Paragraphs>
  <Slides>19</Slides>
  <Notes>11</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19</vt:i4>
      </vt:variant>
    </vt:vector>
  </HeadingPairs>
  <TitlesOfParts>
    <vt:vector size="37" baseType="lpstr">
      <vt:lpstr>Arial</vt:lpstr>
      <vt:lpstr>Calibri</vt:lpstr>
      <vt:lpstr>SLB Sans Light</vt:lpstr>
      <vt:lpstr>SLB Sans</vt:lpstr>
      <vt:lpstr>Tahoma</vt:lpstr>
      <vt:lpstr>SLB Sans Book</vt:lpstr>
      <vt:lpstr>Arial Narrow</vt:lpstr>
      <vt:lpstr>Wingdings</vt:lpstr>
      <vt:lpstr>Univers LT Std 57 Cn</vt:lpstr>
      <vt:lpstr>SLB Blue</vt:lpstr>
      <vt:lpstr>1_SLB White</vt:lpstr>
      <vt:lpstr>SLB White</vt:lpstr>
      <vt:lpstr>2_SLB White</vt:lpstr>
      <vt:lpstr>1_SLB Blue</vt:lpstr>
      <vt:lpstr>3_SLB White</vt:lpstr>
      <vt:lpstr>2_SLB Blue</vt:lpstr>
      <vt:lpstr>3_SLB Blue</vt:lpstr>
      <vt:lpstr>think-cell Slide</vt:lpstr>
      <vt:lpstr> Gamma Ray Spectroscopy in Oilfield  </vt:lpstr>
      <vt:lpstr>What is SLB? (former Schlumberger)</vt:lpstr>
      <vt:lpstr>What is SLB? (former Schlumberger)</vt:lpstr>
      <vt:lpstr>What We Do in Oil and Gas?</vt:lpstr>
      <vt:lpstr>Rocks Are Composed of What?</vt:lpstr>
      <vt:lpstr>Measurement Principles</vt:lpstr>
      <vt:lpstr>Measurement Principles</vt:lpstr>
      <vt:lpstr>History of Gamma Ray Spectroscopy in  Oilfield</vt:lpstr>
      <vt:lpstr>History of Gamma Ray Spectroscopy in  Oilfield</vt:lpstr>
      <vt:lpstr>Tool Example—Spectroscopy Measurements</vt:lpstr>
      <vt:lpstr>Why Do We Need (accurate) Modeling and Cross Sections?</vt:lpstr>
      <vt:lpstr>Calcium Capture Spectrum</vt:lpstr>
      <vt:lpstr>Iron Capture Spectrum</vt:lpstr>
      <vt:lpstr>Manganese Capture Spectrum</vt:lpstr>
      <vt:lpstr>New Manganese Capture Cross Section</vt:lpstr>
      <vt:lpstr>Hardware Outside of Oilfield SLB-NASA Engagements</vt:lpstr>
      <vt:lpstr>Schlumberger Space Engagements — Dragonfly</vt:lpstr>
      <vt:lpstr>Conclusion</vt:lpstr>
      <vt:lpstr>Related public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our SLB PowerPoint Template</dc:title>
  <dc:creator>Guillaume Revellat</dc:creator>
  <cp:lastModifiedBy>Marie-Laure Mauborgne</cp:lastModifiedBy>
  <cp:revision>5</cp:revision>
  <dcterms:created xsi:type="dcterms:W3CDTF">2022-11-29T14:54:43Z</dcterms:created>
  <dcterms:modified xsi:type="dcterms:W3CDTF">2023-08-07T08: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FD62F6ABBB254699CD3FA3139D16E8</vt:lpwstr>
  </property>
  <property fmtid="{D5CDD505-2E9C-101B-9397-08002B2CF9AE}" pid="3" name="ClassificationContentMarkingFooterText">
    <vt:lpwstr>SLB-Private</vt:lpwstr>
  </property>
  <property fmtid="{D5CDD505-2E9C-101B-9397-08002B2CF9AE}" pid="4" name="MediaServiceImageTags">
    <vt:lpwstr/>
  </property>
</Properties>
</file>